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86" r:id="rId2"/>
    <p:sldMasterId id="2147483875" r:id="rId3"/>
    <p:sldMasterId id="2147483938" r:id="rId4"/>
    <p:sldMasterId id="2147484001" r:id="rId5"/>
    <p:sldMasterId id="2147484083" r:id="rId6"/>
  </p:sldMasterIdLst>
  <p:notesMasterIdLst>
    <p:notesMasterId r:id="rId32"/>
  </p:notesMasterIdLst>
  <p:sldIdLst>
    <p:sldId id="2147481387" r:id="rId7"/>
    <p:sldId id="2147480228" r:id="rId8"/>
    <p:sldId id="2147480271" r:id="rId9"/>
    <p:sldId id="2147482496" r:id="rId10"/>
    <p:sldId id="2147482444" r:id="rId11"/>
    <p:sldId id="2147483646" r:id="rId12"/>
    <p:sldId id="256" r:id="rId13"/>
    <p:sldId id="257" r:id="rId14"/>
    <p:sldId id="273" r:id="rId15"/>
    <p:sldId id="2147481771" r:id="rId16"/>
    <p:sldId id="2147482244" r:id="rId17"/>
    <p:sldId id="2147477230" r:id="rId18"/>
    <p:sldId id="2147483647" r:id="rId19"/>
    <p:sldId id="2147481126" r:id="rId20"/>
    <p:sldId id="2147470619" r:id="rId21"/>
    <p:sldId id="2076137165" r:id="rId22"/>
    <p:sldId id="2147482506" r:id="rId23"/>
    <p:sldId id="2147482509" r:id="rId24"/>
    <p:sldId id="2147482508" r:id="rId25"/>
    <p:sldId id="2147479826" r:id="rId26"/>
    <p:sldId id="267" r:id="rId27"/>
    <p:sldId id="258" r:id="rId28"/>
    <p:sldId id="302" r:id="rId29"/>
    <p:sldId id="2147481385" r:id="rId30"/>
    <p:sldId id="2147470272"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B68D7CF-DFA1-4839-97EA-12F7B1179BAD}" v="23" dt="2024-10-16T06:47:58.9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2" autoAdjust="0"/>
    <p:restoredTop sz="80999" autoAdjust="0"/>
  </p:normalViewPr>
  <p:slideViewPr>
    <p:cSldViewPr snapToGrid="0">
      <p:cViewPr varScale="1">
        <p:scale>
          <a:sx n="74" d="100"/>
          <a:sy n="74" d="100"/>
        </p:scale>
        <p:origin x="856" y="2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449126834030205E-3"/>
          <c:y val="4.0529051990370039E-2"/>
          <c:w val="0.97909864790078627"/>
          <c:h val="0.75245812423462854"/>
        </c:manualLayout>
      </c:layout>
      <c:barChart>
        <c:barDir val="col"/>
        <c:grouping val="clustered"/>
        <c:varyColors val="0"/>
        <c:ser>
          <c:idx val="0"/>
          <c:order val="0"/>
          <c:tx>
            <c:strRef>
              <c:f>Sheet1!$B$1</c:f>
              <c:strCache>
                <c:ptCount val="1"/>
                <c:pt idx="0">
                  <c:v>Series 1</c:v>
                </c:pt>
              </c:strCache>
            </c:strRef>
          </c:tx>
          <c:spPr>
            <a:gradFill flip="none" rotWithShape="1">
              <a:gsLst>
                <a:gs pos="68000">
                  <a:srgbClr val="3E76D4"/>
                </a:gs>
                <a:gs pos="0">
                  <a:srgbClr val="9F51DE"/>
                </a:gs>
              </a:gsLst>
              <a:lin ang="5400000" scaled="1"/>
              <a:tileRect/>
            </a:gra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4-672A-45F3-B358-A228858F3A28}"/>
              </c:ext>
            </c:extLst>
          </c:dPt>
          <c:dPt>
            <c:idx val="1"/>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0-B1D4-3C4A-88CF-D85AB935E2C9}"/>
              </c:ext>
            </c:extLst>
          </c:dPt>
          <c:dPt>
            <c:idx val="2"/>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1-B1D4-3C4A-88CF-D85AB935E2C9}"/>
              </c:ext>
            </c:extLst>
          </c:dPt>
          <c:dPt>
            <c:idx val="3"/>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2-B1D4-3C4A-88CF-D85AB935E2C9}"/>
              </c:ext>
            </c:extLst>
          </c:dPt>
          <c:dPt>
            <c:idx val="4"/>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3-B1D4-3C4A-88CF-D85AB935E2C9}"/>
              </c:ext>
            </c:extLst>
          </c:dPt>
          <c:dPt>
            <c:idx val="5"/>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4-B1D4-3C4A-88CF-D85AB935E2C9}"/>
              </c:ext>
            </c:extLst>
          </c:dPt>
          <c:dPt>
            <c:idx val="6"/>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5-B1D4-3C4A-88CF-D85AB935E2C9}"/>
              </c:ext>
            </c:extLst>
          </c:dPt>
          <c:dPt>
            <c:idx val="7"/>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6-B1D4-3C4A-88CF-D85AB935E2C9}"/>
              </c:ext>
            </c:extLst>
          </c:dPt>
          <c:dPt>
            <c:idx val="8"/>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7-B1D4-3C4A-88CF-D85AB935E2C9}"/>
              </c:ext>
            </c:extLst>
          </c:dPt>
          <c:dPt>
            <c:idx val="9"/>
            <c:invertIfNegative val="0"/>
            <c:bubble3D val="0"/>
            <c:spPr>
              <a:solidFill>
                <a:schemeClr val="accent1">
                  <a:lumMod val="20000"/>
                  <a:lumOff val="80000"/>
                  <a:alpha val="50000"/>
                </a:schemeClr>
              </a:solidFill>
              <a:ln>
                <a:noFill/>
              </a:ln>
              <a:effectLst/>
            </c:spPr>
            <c:extLst>
              <c:ext xmlns:c16="http://schemas.microsoft.com/office/drawing/2014/chart" uri="{C3380CC4-5D6E-409C-BE32-E72D297353CC}">
                <c16:uniqueId val="{00000008-B1D4-3C4A-88CF-D85AB935E2C9}"/>
              </c:ext>
            </c:extLst>
          </c:dPt>
          <c:dPt>
            <c:idx val="10"/>
            <c:invertIfNegative val="0"/>
            <c:bubble3D val="0"/>
            <c:spPr>
              <a:solidFill>
                <a:schemeClr val="tx2"/>
              </a:solidFill>
              <a:ln>
                <a:noFill/>
              </a:ln>
              <a:effectLst/>
            </c:spPr>
            <c:extLst>
              <c:ext xmlns:c16="http://schemas.microsoft.com/office/drawing/2014/chart" uri="{C3380CC4-5D6E-409C-BE32-E72D297353CC}">
                <c16:uniqueId val="{00000013-B0D4-B945-89FF-58430CC3CCCD}"/>
              </c:ext>
            </c:extLst>
          </c:dPt>
          <c:dLbls>
            <c:dLbl>
              <c:idx val="0"/>
              <c:layout>
                <c:manualLayout>
                  <c:x val="-5.2934779851188643E-18"/>
                  <c:y val="5.403873598716005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72A-45F3-B358-A228858F3A28}"/>
                </c:ext>
              </c:extLst>
            </c:dLbl>
            <c:dLbl>
              <c:idx val="1"/>
              <c:layout>
                <c:manualLayout>
                  <c:x val="0"/>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1D4-3C4A-88CF-D85AB935E2C9}"/>
                </c:ext>
              </c:extLst>
            </c:dLbl>
            <c:dLbl>
              <c:idx val="2"/>
              <c:layout>
                <c:manualLayout>
                  <c:x val="0"/>
                  <c:y val="8.105810398073983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1D4-3C4A-88CF-D85AB935E2C9}"/>
                </c:ext>
              </c:extLst>
            </c:dLbl>
            <c:dLbl>
              <c:idx val="3"/>
              <c:layout>
                <c:manualLayout>
                  <c:x val="-4.2347823880950914E-17"/>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1D4-3C4A-88CF-D85AB935E2C9}"/>
                </c:ext>
              </c:extLst>
            </c:dLbl>
            <c:dLbl>
              <c:idx val="4"/>
              <c:layout>
                <c:manualLayout>
                  <c:x val="-8.4695647761901828E-17"/>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1D4-3C4A-88CF-D85AB935E2C9}"/>
                </c:ext>
              </c:extLst>
            </c:dLbl>
            <c:dLbl>
              <c:idx val="5"/>
              <c:layout>
                <c:manualLayout>
                  <c:x val="0"/>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1D4-3C4A-88CF-D85AB935E2C9}"/>
                </c:ext>
              </c:extLst>
            </c:dLbl>
            <c:dLbl>
              <c:idx val="6"/>
              <c:layout>
                <c:manualLayout>
                  <c:x val="-8.4695647761901828E-17"/>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1D4-3C4A-88CF-D85AB935E2C9}"/>
                </c:ext>
              </c:extLst>
            </c:dLbl>
            <c:dLbl>
              <c:idx val="7"/>
              <c:layout>
                <c:manualLayout>
                  <c:x val="-8.4695647761901828E-17"/>
                  <c:y val="1.35096839967900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1D4-3C4A-88CF-D85AB935E2C9}"/>
                </c:ext>
              </c:extLst>
            </c:dLbl>
            <c:dLbl>
              <c:idx val="8"/>
              <c:layout>
                <c:manualLayout>
                  <c:x val="0"/>
                  <c:y val="1.35096839967900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D4-3C4A-88CF-D85AB935E2C9}"/>
                </c:ext>
              </c:extLst>
            </c:dLbl>
            <c:dLbl>
              <c:idx val="9"/>
              <c:layout>
                <c:manualLayout>
                  <c:x val="0"/>
                  <c:y val="8.105810398074007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D4-3C4A-88CF-D85AB935E2C9}"/>
                </c:ext>
              </c:extLst>
            </c:dLbl>
            <c:dLbl>
              <c:idx val="10"/>
              <c:layout>
                <c:manualLayout>
                  <c:x val="0"/>
                  <c:y val="8.105810398074057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B0D4-B945-89FF-58430CC3CCCD}"/>
                </c:ext>
              </c:extLst>
            </c:dLbl>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creasing employee productivity</c:v>
                </c:pt>
                <c:pt idx="1">
                  <c:v>Helping employees with necerssary, but repetitive/mundane task</c:v>
                </c:pt>
                <c:pt idx="2">
                  <c:v>Increasing employee well-being</c:v>
                </c:pt>
                <c:pt idx="3">
                  <c:v>Eliminating time-spend on low-value activities</c:v>
                </c:pt>
                <c:pt idx="4">
                  <c:v>Augmenting/enhancing human capabilities</c:v>
                </c:pt>
                <c:pt idx="5">
                  <c:v>Accelerating employee pace of work</c:v>
                </c:pt>
                <c:pt idx="6">
                  <c:v>Enabling employees to access and recall organization institutional knowledge</c:v>
                </c:pt>
                <c:pt idx="7">
                  <c:v>Helping me understand if employees work is aligned to company goals</c:v>
                </c:pt>
                <c:pt idx="8">
                  <c:v>Removing the coordination challenges of hybrid work (e.g., scheduling virtual meetings)</c:v>
                </c:pt>
                <c:pt idx="9">
                  <c:v>Increasing inclusivity</c:v>
                </c:pt>
                <c:pt idx="10">
                  <c:v>Reducing Headcount</c:v>
                </c:pt>
              </c:strCache>
            </c:strRef>
          </c:cat>
          <c:val>
            <c:numRef>
              <c:f>Sheet1!$B$2:$B$12</c:f>
              <c:numCache>
                <c:formatCode>0%</c:formatCode>
                <c:ptCount val="11"/>
                <c:pt idx="0">
                  <c:v>0.31</c:v>
                </c:pt>
                <c:pt idx="1">
                  <c:v>0.28999999999999998</c:v>
                </c:pt>
                <c:pt idx="2">
                  <c:v>0.26</c:v>
                </c:pt>
                <c:pt idx="3">
                  <c:v>0.25</c:v>
                </c:pt>
                <c:pt idx="4">
                  <c:v>0.24</c:v>
                </c:pt>
                <c:pt idx="5">
                  <c:v>0.24</c:v>
                </c:pt>
                <c:pt idx="6">
                  <c:v>0.21</c:v>
                </c:pt>
                <c:pt idx="7">
                  <c:v>0.21</c:v>
                </c:pt>
                <c:pt idx="8">
                  <c:v>0.2</c:v>
                </c:pt>
                <c:pt idx="9">
                  <c:v>0.18</c:v>
                </c:pt>
                <c:pt idx="10">
                  <c:v>0.16</c:v>
                </c:pt>
              </c:numCache>
            </c:numRef>
          </c:val>
          <c:extLst>
            <c:ext xmlns:c16="http://schemas.microsoft.com/office/drawing/2014/chart" uri="{C3380CC4-5D6E-409C-BE32-E72D297353CC}">
              <c16:uniqueId val="{00000000-7AA5-41B2-84F9-D04E19F58A5E}"/>
            </c:ext>
          </c:extLst>
        </c:ser>
        <c:dLbls>
          <c:dLblPos val="outEnd"/>
          <c:showLegendKey val="0"/>
          <c:showVal val="1"/>
          <c:showCatName val="0"/>
          <c:showSerName val="0"/>
          <c:showPercent val="0"/>
          <c:showBubbleSize val="0"/>
        </c:dLbls>
        <c:gapWidth val="47"/>
        <c:axId val="1477633136"/>
        <c:axId val="687503151"/>
      </c:barChart>
      <c:catAx>
        <c:axId val="1477633136"/>
        <c:scaling>
          <c:orientation val="minMax"/>
        </c:scaling>
        <c:delete val="1"/>
        <c:axPos val="b"/>
        <c:numFmt formatCode="General" sourceLinked="1"/>
        <c:majorTickMark val="none"/>
        <c:minorTickMark val="none"/>
        <c:tickLblPos val="nextTo"/>
        <c:crossAx val="687503151"/>
        <c:crosses val="autoZero"/>
        <c:auto val="1"/>
        <c:lblAlgn val="ctr"/>
        <c:lblOffset val="100"/>
        <c:noMultiLvlLbl val="0"/>
      </c:catAx>
      <c:valAx>
        <c:axId val="687503151"/>
        <c:scaling>
          <c:orientation val="minMax"/>
        </c:scaling>
        <c:delete val="1"/>
        <c:axPos val="l"/>
        <c:numFmt formatCode="0%" sourceLinked="1"/>
        <c:majorTickMark val="none"/>
        <c:minorTickMark val="none"/>
        <c:tickLblPos val="nextTo"/>
        <c:crossAx val="14776331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j-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inding information and answers</c:v>
                </c:pt>
                <c:pt idx="1">
                  <c:v>Summarizing meetings and action items</c:v>
                </c:pt>
                <c:pt idx="2">
                  <c:v>Analytical work</c:v>
                </c:pt>
                <c:pt idx="3">
                  <c:v>Admin tasks</c:v>
                </c:pt>
                <c:pt idx="4">
                  <c:v>Creative work</c:v>
                </c:pt>
                <c:pt idx="5">
                  <c:v>Planning their day</c:v>
                </c:pt>
              </c:strCache>
            </c:strRef>
          </c:cat>
          <c:val>
            <c:numRef>
              <c:f>Sheet1!$B$2:$B$7</c:f>
              <c:numCache>
                <c:formatCode>0%</c:formatCode>
                <c:ptCount val="6"/>
                <c:pt idx="0">
                  <c:v>0.86</c:v>
                </c:pt>
                <c:pt idx="1">
                  <c:v>0.8</c:v>
                </c:pt>
                <c:pt idx="2">
                  <c:v>0.79</c:v>
                </c:pt>
                <c:pt idx="3">
                  <c:v>0.76</c:v>
                </c:pt>
                <c:pt idx="4">
                  <c:v>0.73</c:v>
                </c:pt>
                <c:pt idx="5">
                  <c:v>0.7</c:v>
                </c:pt>
              </c:numCache>
            </c:numRef>
          </c:val>
          <c:extLst>
            <c:ext xmlns:c16="http://schemas.microsoft.com/office/drawing/2014/chart" uri="{C3380CC4-5D6E-409C-BE32-E72D297353CC}">
              <c16:uniqueId val="{00000000-7224-FB48-8A76-E1400E2E8039}"/>
            </c:ext>
          </c:extLst>
        </c:ser>
        <c:dLbls>
          <c:showLegendKey val="0"/>
          <c:showVal val="0"/>
          <c:showCatName val="0"/>
          <c:showSerName val="0"/>
          <c:showPercent val="0"/>
          <c:showBubbleSize val="0"/>
        </c:dLbls>
        <c:gapWidth val="103"/>
        <c:axId val="646535231"/>
        <c:axId val="1549328528"/>
      </c:barChart>
      <c:catAx>
        <c:axId val="646535231"/>
        <c:scaling>
          <c:orientation val="minMax"/>
        </c:scaling>
        <c:delete val="1"/>
        <c:axPos val="b"/>
        <c:numFmt formatCode="General" sourceLinked="1"/>
        <c:majorTickMark val="none"/>
        <c:minorTickMark val="none"/>
        <c:tickLblPos val="nextTo"/>
        <c:crossAx val="1549328528"/>
        <c:crosses val="autoZero"/>
        <c:auto val="1"/>
        <c:lblAlgn val="ctr"/>
        <c:lblOffset val="100"/>
        <c:noMultiLvlLbl val="0"/>
      </c:catAx>
      <c:valAx>
        <c:axId val="1549328528"/>
        <c:scaling>
          <c:orientation val="minMax"/>
        </c:scaling>
        <c:delete val="1"/>
        <c:axPos val="l"/>
        <c:numFmt formatCode="0%" sourceLinked="1"/>
        <c:majorTickMark val="none"/>
        <c:minorTickMark val="none"/>
        <c:tickLblPos val="nextTo"/>
        <c:crossAx val="6465352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AFBCE96-B3E2-4270-9019-619F45FAC464}" type="datetimeFigureOut">
              <a:rPr lang="en-US" smtClean="0"/>
              <a:t>10/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69CF1C-3848-42A1-86CB-755808A63607}" type="slidenum">
              <a:rPr lang="en-US" smtClean="0"/>
              <a:t>‹#›</a:t>
            </a:fld>
            <a:endParaRPr lang="en-US"/>
          </a:p>
        </p:txBody>
      </p:sp>
    </p:spTree>
    <p:extLst>
      <p:ext uri="{BB962C8B-B14F-4D97-AF65-F5344CB8AC3E}">
        <p14:creationId xmlns:p14="http://schemas.microsoft.com/office/powerpoint/2010/main" val="691494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swift.com/" TargetMode="External"/><Relationship Id="rId3" Type="http://schemas.openxmlformats.org/officeDocument/2006/relationships/hyperlink" Target="https://github.com/Azure-Samples/azure-ml-federated-learning" TargetMode="External"/><Relationship Id="rId7" Type="http://schemas.openxmlformats.org/officeDocument/2006/relationships/hyperlink" Target="https://www.microsoft.com/en-us/security/business/zero-trust"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azure.microsoft.com/en-us/products/purview/" TargetMode="External"/><Relationship Id="rId11" Type="http://schemas.openxmlformats.org/officeDocument/2006/relationships/hyperlink" Target="https://www.linkedin.com/company/swift/" TargetMode="External"/><Relationship Id="rId5" Type="http://schemas.openxmlformats.org/officeDocument/2006/relationships/hyperlink" Target="https://azure.microsoft.com/en-us/solutions/confidential-compute/" TargetMode="External"/><Relationship Id="rId10" Type="http://schemas.openxmlformats.org/officeDocument/2006/relationships/hyperlink" Target="https://www.facebook.com/SWIFT/" TargetMode="External"/><Relationship Id="rId4" Type="http://schemas.openxmlformats.org/officeDocument/2006/relationships/hyperlink" Target="https://azure.microsoft.com/en-us/products/machine-learning/" TargetMode="External"/><Relationship Id="rId9" Type="http://schemas.openxmlformats.org/officeDocument/2006/relationships/hyperlink" Target="https://twitter.com/swiftcommunity"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010">
              <a:spcAft>
                <a:spcPts val="345"/>
              </a:spcAft>
              <a:defRPr/>
            </a:pPr>
            <a:r>
              <a:rPr lang="en-US" sz="1900" kern="100">
                <a:latin typeface="Calibri" panose="020F0502020204030204" pitchFamily="34" charset="0"/>
                <a:ea typeface="Calibri" panose="020F0502020204030204" pitchFamily="34" charset="0"/>
                <a:cs typeface="Arial" panose="020B0604020202020204" pitchFamily="34" charset="0"/>
              </a:rPr>
              <a:t>This is one place where employees and leaders agree. Our data shows managers are two times more likely to say they’re looking to empower people with AI, rather than replace them. In fact, reducing headcount was last on their list. Their top hopes for AI? Increasing productivity, automating tasks, increasing employee well-being and enabling employees to focus on impactful work. </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FBA149-1F8A-4F0D-9BE3-ABB092FB3BC1}"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16331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7000"/>
              </a:lnSpc>
              <a:spcBef>
                <a:spcPts val="0"/>
              </a:spcBef>
              <a:spcAft>
                <a:spcPts val="800"/>
              </a:spcAft>
              <a:buFont typeface="Symbol" panose="05050102010706020507" pitchFamily="18" charset="2"/>
              <a:buNone/>
            </a:pPr>
            <a:r>
              <a:rPr lang="en-US" sz="1800" kern="100">
                <a:effectLst/>
                <a:latin typeface="Aptos" panose="020B0004020202020204" pitchFamily="34" charset="0"/>
                <a:ea typeface="Aptos" panose="020B0004020202020204" pitchFamily="34" charset="0"/>
                <a:cs typeface="Arial" panose="020B0604020202020204" pitchFamily="34" charset="0"/>
              </a:rPr>
              <a:t>Before the release of Microsoft 365 Copilot and Microsoft Copilot Studio in November 2023, customers had a small number of Copilots to choose from – Azure OpenAI service, sales, and service copilots. Now there are more choices to choose from – this slide shows how you can choose the right solution for a given use case. </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 </a:t>
            </a:r>
          </a:p>
          <a:p>
            <a:pPr marL="0" marR="0">
              <a:lnSpc>
                <a:spcPct val="107000"/>
              </a:lnSpc>
              <a:spcBef>
                <a:spcPts val="0"/>
              </a:spcBef>
              <a:spcAft>
                <a:spcPts val="800"/>
              </a:spcAft>
            </a:pPr>
            <a:r>
              <a:rPr lang="en-US" sz="1800" kern="100">
                <a:effectLst/>
                <a:latin typeface="Aptos" panose="020B0004020202020204" pitchFamily="34" charset="0"/>
                <a:ea typeface="Aptos" panose="020B0004020202020204" pitchFamily="34" charset="0"/>
                <a:cs typeface="Arial" panose="020B0604020202020204" pitchFamily="34" charset="0"/>
              </a:rPr>
              <a:t>Start with framing the business problem and scenario. Next see if the scenario can be delivered with one of the ‘out of the box’ Microsoft Copilots such as Sales, Service. For core productivity scenarios deploy Microsoft 365 Copilot. If the scenario requirements do not fit, then explore how you can build your own copilot. Microsoft Copilot is ideal for use cases that fit use cases that are small in scope and can be delivered with low code/no code. Enterprise-wide use cases that need custom development/integration and more choice of foundational models should be built with Azure AI Studio. </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6/2024 1: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40758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arrative/talk track:</a:t>
            </a:r>
            <a:endParaRPr lang="en-US">
              <a:cs typeface="Calibri"/>
            </a:endParaRPr>
          </a:p>
          <a:p>
            <a:pPr algn="l"/>
            <a:r>
              <a:rPr lang="en-US" b="0" i="0">
                <a:solidFill>
                  <a:srgbClr val="D1D5DB"/>
                </a:solidFill>
                <a:effectLst/>
                <a:latin typeface="Söhne"/>
              </a:rPr>
              <a:t>Azure AI is a collection of artificial intelligence services offered by Microsoft as part of its Azure cloud platform. The Azure AI services are designed to make it easy for developers and organizations to add AI capabilities to their applications, without the need for extensive expertise in AI.</a:t>
            </a:r>
          </a:p>
          <a:p>
            <a:pPr algn="l"/>
            <a:r>
              <a:rPr lang="en-US" b="0" i="0">
                <a:solidFill>
                  <a:srgbClr val="D1D5DB"/>
                </a:solidFill>
                <a:effectLst/>
                <a:latin typeface="Söhne"/>
              </a:rPr>
              <a:t>Azure AI includes a wide range of services, such as:</a:t>
            </a:r>
          </a:p>
          <a:p>
            <a:pPr algn="l">
              <a:buFont typeface="Arial" panose="020B0604020202020204" pitchFamily="34" charset="0"/>
              <a:buChar char="•"/>
            </a:pPr>
            <a:r>
              <a:rPr lang="en-US" b="0" i="0">
                <a:solidFill>
                  <a:srgbClr val="D1D5DB"/>
                </a:solidFill>
                <a:effectLst/>
                <a:latin typeface="Söhne"/>
              </a:rPr>
              <a:t>Azure Cognitive Services: A collection of pre-built APIs that allow developers to add capabilities such as natural language understanding, computer vision, and speech recognition to their applications.</a:t>
            </a:r>
          </a:p>
          <a:p>
            <a:pPr algn="l">
              <a:buFont typeface="Arial" panose="020B0604020202020204" pitchFamily="34" charset="0"/>
              <a:buChar char="•"/>
            </a:pPr>
            <a:r>
              <a:rPr lang="en-US" b="0" i="0">
                <a:solidFill>
                  <a:srgbClr val="D1D5DB"/>
                </a:solidFill>
                <a:effectLst/>
                <a:latin typeface="Söhne"/>
              </a:rPr>
              <a:t>Azure Machine Learning: A cloud-based platform that allows developers to build, deploy, and manage machine learning models, as well as to create custom machine learning algorithms.</a:t>
            </a:r>
          </a:p>
          <a:p>
            <a:pPr algn="l">
              <a:buFont typeface="Arial" panose="020B0604020202020204" pitchFamily="34" charset="0"/>
              <a:buChar char="•"/>
            </a:pPr>
            <a:r>
              <a:rPr lang="en-US" b="0" i="0">
                <a:solidFill>
                  <a:srgbClr val="D1D5DB"/>
                </a:solidFill>
                <a:effectLst/>
                <a:latin typeface="Söhne"/>
              </a:rPr>
              <a:t>Azure Applied AI Services: A suite of scenarios-based services that enable organizations to accelerate adoption such as Azure Cognitive Search which provides search capabilities over structured and unstructured data by using machine learning models.</a:t>
            </a:r>
          </a:p>
          <a:p>
            <a:pPr algn="l"/>
            <a:r>
              <a:rPr lang="en-US" b="0" i="0">
                <a:solidFill>
                  <a:srgbClr val="D1D5DB"/>
                </a:solidFill>
                <a:effectLst/>
                <a:latin typeface="Söhne"/>
              </a:rPr>
              <a:t>These services are integrated with Azure platform, which provides capabilities such as scalability, security, and compliance, as well as many other tools and services that can be used to build and deploy AI-enabled applications.</a:t>
            </a:r>
          </a:p>
          <a:p>
            <a:pPr algn="l"/>
            <a:r>
              <a:rPr lang="en-US" b="0" i="0">
                <a:solidFill>
                  <a:srgbClr val="D1D5DB"/>
                </a:solidFill>
                <a:effectLst/>
                <a:latin typeface="Söhne"/>
              </a:rPr>
              <a:t>The Azure OpenAI Services are designed to make it easy for developers and organizations to add AI capabilities to their applications, without the need for extensive expertise in AI. Microsoft's Azure OpenAI Services allow developers to quickly build, deploy, and scale AI-enabled applications, and to take advantage of the scalability, security, and compliance capabilities of Azure.</a:t>
            </a:r>
          </a:p>
          <a:p>
            <a:pPr algn="l"/>
            <a:r>
              <a:rPr lang="en-US" b="0" i="0">
                <a:solidFill>
                  <a:srgbClr val="D1D5DB"/>
                </a:solidFill>
                <a:effectLst/>
                <a:latin typeface="Söhne"/>
              </a:rPr>
              <a:t>Azure AI integration in AI Builder within the Microsoft Power Platform allows businesses and developers to quickly and easily build and deploy custom AI models, and to integrate them with Power Apps, Power Automate and Power Virtual Agents, in order to add advanced capabilities and improve data management and security. It also allows to easily scale up and improve performance of the models, as well as easily integrating with other Azure services.</a:t>
            </a:r>
          </a:p>
          <a:p>
            <a:pPr algn="l"/>
            <a:r>
              <a:rPr lang="en-US" b="0" i="0">
                <a:solidFill>
                  <a:srgbClr val="D1D5DB"/>
                </a:solidFill>
                <a:effectLst/>
                <a:latin typeface="Söhne"/>
              </a:rPr>
              <a:t>Microsoft has adopted Azure AI across a wide range of its products and services, in order to improve the functionality, performance and user experience. Some examples of where Microsoft has adopted Azure AI at scale include:</a:t>
            </a:r>
          </a:p>
          <a:p>
            <a:pPr algn="l">
              <a:buFont typeface="Arial" panose="020B0604020202020204" pitchFamily="34" charset="0"/>
              <a:buChar char="•"/>
            </a:pPr>
            <a:r>
              <a:rPr lang="en-US" b="0" i="0">
                <a:solidFill>
                  <a:srgbClr val="D1D5DB"/>
                </a:solidFill>
                <a:effectLst/>
                <a:latin typeface="Söhne"/>
              </a:rPr>
              <a:t>Office 365: Microsoft has integrated Azure AI capabilities into Office 365, such as natural language processing, computer vision, and text analytics, to improve the functionality of products such as Outlook and Word. This allows users to perform tasks such as automatically summarizing long documents, or automatically tagging images in email attachments.</a:t>
            </a:r>
          </a:p>
          <a:p>
            <a:pPr algn="l">
              <a:buFont typeface="Arial" panose="020B0604020202020204" pitchFamily="34" charset="0"/>
              <a:buChar char="•"/>
            </a:pPr>
            <a:r>
              <a:rPr lang="en-US" b="0" i="0">
                <a:solidFill>
                  <a:srgbClr val="D1D5DB"/>
                </a:solidFill>
                <a:effectLst/>
                <a:latin typeface="Söhne"/>
              </a:rPr>
              <a:t>Dynamics 365: Dynamics 365 is a collection of business applications that enable organizations to manage customer data and interactions, as well as automate business processes. With Azure AI integration, Dynamics 365 offers features like predictive lead scoring, sentiment analysis, and chatbots to help businesses better understand and interact with their customers.</a:t>
            </a:r>
          </a:p>
          <a:p>
            <a:pPr algn="l">
              <a:buFont typeface="Arial" panose="020B0604020202020204" pitchFamily="34" charset="0"/>
              <a:buChar char="•"/>
            </a:pPr>
            <a:r>
              <a:rPr lang="en-US" b="0" i="0">
                <a:solidFill>
                  <a:srgbClr val="D1D5DB"/>
                </a:solidFill>
                <a:effectLst/>
                <a:latin typeface="Söhne"/>
              </a:rPr>
              <a:t>Bing: Bing, Microsoft's search engine, uses Azure AI to analyze large amounts of data and improve search results for users. For example, Bing uses natural language processing to understand users' queries and generate more relevant search results.</a:t>
            </a:r>
          </a:p>
          <a:p>
            <a:pPr algn="l">
              <a:buFont typeface="Arial" panose="020B0604020202020204" pitchFamily="34" charset="0"/>
              <a:buChar char="•"/>
            </a:pPr>
            <a:r>
              <a:rPr lang="en-US" b="0" i="0">
                <a:solidFill>
                  <a:srgbClr val="D1D5DB"/>
                </a:solidFill>
                <a:effectLst/>
                <a:latin typeface="Söhne"/>
              </a:rPr>
              <a:t>LinkedIn: Microsoft's professional networking site, LinkedIn, uses Azure AI to help users find job opportunities, connect with others in their field, and improve the performance of its recruiting tools. For example, LinkedIn uses natural language processing to help match job seekers with relevant job opportunities, and uses machine learning to help recruiters find the best candidates.</a:t>
            </a:r>
          </a:p>
          <a:p>
            <a:pPr algn="l">
              <a:buFont typeface="Arial" panose="020B0604020202020204" pitchFamily="34" charset="0"/>
              <a:buChar char="•"/>
            </a:pPr>
            <a:r>
              <a:rPr lang="en-US" b="0" i="0">
                <a:solidFill>
                  <a:srgbClr val="D1D5DB"/>
                </a:solidFill>
                <a:effectLst/>
                <a:latin typeface="Söhne"/>
              </a:rPr>
              <a:t>Xbox and Gaming: Microsoft uses Azure AI to power its Xbox gaming console. Azure AI allows Xbox to learn a gamer's preferences and automatically adjust the gaming experience. Additionally, it allows Xbox to improve the performance of the games and to offer more personalized gaming experiences.</a:t>
            </a:r>
          </a:p>
          <a:p>
            <a:pPr algn="l">
              <a:buFont typeface="Arial" panose="020B0604020202020204" pitchFamily="34" charset="0"/>
              <a:buNone/>
            </a:pPr>
            <a:r>
              <a:rPr lang="en-US" b="0" i="0">
                <a:solidFill>
                  <a:srgbClr val="D1D5DB"/>
                </a:solidFill>
                <a:effectLst/>
                <a:latin typeface="Söhne"/>
              </a:rPr>
              <a:t>These are just a few examples of how Microsoft has adopted Azure AI at scale within its products and services. Overall, Microsoft has been using Azure AI across its various products and services, to improve user experience and to offer more personalized, efficient and automated experiences to its customers.</a:t>
            </a:r>
          </a:p>
          <a:p>
            <a:pPr algn="l"/>
            <a:endParaRPr lang="en-US" b="0" i="0">
              <a:solidFill>
                <a:srgbClr val="D1D5DB"/>
              </a:solidFill>
              <a:effectLst/>
              <a:latin typeface="Söhne"/>
            </a:endParaRPr>
          </a:p>
          <a:p>
            <a:endParaRPr lang="en-US"/>
          </a:p>
        </p:txBody>
      </p:sp>
      <p:sp>
        <p:nvSpPr>
          <p:cNvPr id="4" name="Slide Number Placeholder 3"/>
          <p:cNvSpPr>
            <a:spLocks noGrp="1"/>
          </p:cNvSpPr>
          <p:nvPr>
            <p:ph type="sldNum" sz="quarter" idx="5"/>
          </p:nvPr>
        </p:nvSpPr>
        <p:spPr/>
        <p:txBody>
          <a:bodyPr/>
          <a:lstStyle/>
          <a:p>
            <a:fld id="{F43ED841-078D-4814-8BEE-1F1F3F6D6404}" type="slidenum">
              <a:rPr lang="en-US" smtClean="0"/>
              <a:t>12</a:t>
            </a:fld>
            <a:endParaRPr lang="en-US"/>
          </a:p>
        </p:txBody>
      </p:sp>
    </p:spTree>
    <p:extLst>
      <p:ext uri="{BB962C8B-B14F-4D97-AF65-F5344CB8AC3E}">
        <p14:creationId xmlns:p14="http://schemas.microsoft.com/office/powerpoint/2010/main" val="37957124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C3EFA-1B08-BFD8-F13E-33D2A80153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63BAC1-EB5F-3555-9A30-4F53959D5F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C40ACE-84D5-24BB-1210-5361560B6E9A}"/>
              </a:ext>
            </a:extLst>
          </p:cNvPr>
          <p:cNvSpPr>
            <a:spLocks noGrp="1"/>
          </p:cNvSpPr>
          <p:nvPr>
            <p:ph type="body" idx="1"/>
          </p:nvPr>
        </p:nvSpPr>
        <p:spPr/>
        <p:txBody>
          <a:bodyPr/>
          <a:lstStyle/>
          <a:p>
            <a:r>
              <a:rPr lang="en-US"/>
              <a:t>LSEG and Moody’s are examples of data providers that are integrated into Fabric. Other data providers on Azure can also be integrated.</a:t>
            </a:r>
          </a:p>
        </p:txBody>
      </p:sp>
      <p:sp>
        <p:nvSpPr>
          <p:cNvPr id="4" name="Slide Number Placeholder 3">
            <a:extLst>
              <a:ext uri="{FF2B5EF4-FFF2-40B4-BE49-F238E27FC236}">
                <a16:creationId xmlns:a16="http://schemas.microsoft.com/office/drawing/2014/main" id="{484263C6-AF9F-27C8-278F-DC28F28585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FFAE0B-1D7C-41CF-A4F7-4FD72068703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89839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dirty="0"/>
              <a:t>And while there is no limits to what </a:t>
            </a:r>
            <a:r>
              <a:rPr lang="en-US" dirty="0" err="1"/>
              <a:t>GenAI</a:t>
            </a:r>
            <a:r>
              <a:rPr lang="en-US" dirty="0"/>
              <a:t> can do, we see across customers from </a:t>
            </a:r>
            <a:r>
              <a:rPr lang="en-US" dirty="0" err="1"/>
              <a:t>enterprsie</a:t>
            </a:r>
            <a:r>
              <a:rPr lang="en-US" dirty="0"/>
              <a:t> to small business to governments consistently leveraging Gen AI in 5 way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To create their own version of </a:t>
            </a:r>
            <a:r>
              <a:rPr lang="en-US" dirty="0" err="1"/>
              <a:t>Enteprrise</a:t>
            </a:r>
            <a:r>
              <a:rPr lang="en-US" dirty="0"/>
              <a:t> ChatGPT for better knowledge min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Build intelligent call centers with better analytics &amp; servi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Create new content, new products, service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Hyper-personalize sales &amp; market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And ultimately build your own copilot </a:t>
            </a:r>
            <a:r>
              <a:rPr lang="en-US" dirty="0" err="1"/>
              <a:t>ony</a:t>
            </a:r>
            <a:r>
              <a:rPr lang="en-US" dirty="0"/>
              <a:t> our data, your apps and for your people.</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B8CB10-30FE-4017-83CA-7204E62BA93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78225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 look across our customers who are advanced in their Data Transformation, we see a set of common patterns/workstreams to drive success</a:t>
            </a:r>
          </a:p>
          <a:p>
            <a:endParaRPr lang="en-US"/>
          </a:p>
          <a:p>
            <a:pPr marL="228600" indent="-228600">
              <a:buAutoNum type="arabicParenR"/>
            </a:pPr>
            <a:r>
              <a:rPr lang="en-US"/>
              <a:t>First off – a Data Driven Culture has to be driven and led by the CEO – most CEOs are pushing their organizing their companies to do this but without sponsorship a lot of efforts fail</a:t>
            </a:r>
          </a:p>
          <a:p>
            <a:pPr marL="228600" indent="-228600">
              <a:buAutoNum type="arabicParenR"/>
            </a:pPr>
            <a:r>
              <a:rPr lang="en-US"/>
              <a:t>Securing the foundations. Microsoft has a trusted cloud platform with world class security and privacy and compliance investments. We also help you build the right governance with tools like Microsoft Purview</a:t>
            </a:r>
          </a:p>
          <a:p>
            <a:pPr marL="228600" indent="-228600">
              <a:buAutoNum type="arabicParenR"/>
            </a:pPr>
            <a:r>
              <a:rPr lang="en-US"/>
              <a:t>Thirdly – the technology team has to modernize the data platform – leverage a platform that can bring siloed data together and use platform services for new applications</a:t>
            </a:r>
          </a:p>
          <a:p>
            <a:pPr marL="228600" indent="-228600">
              <a:buAutoNum type="arabicParenR"/>
            </a:pPr>
            <a:r>
              <a:rPr lang="en-US"/>
              <a:t>Fourth – technology and the business teams need to be aligned to drive data workloads and applications on to the new data platform – misalignment here can lead to failed investments and its critical that the business and technology teams work in concert</a:t>
            </a:r>
          </a:p>
          <a:p>
            <a:pPr marL="228600" indent="-228600">
              <a:buAutoNum type="arabicParenR"/>
            </a:pPr>
            <a:r>
              <a:rPr lang="en-US"/>
              <a:t>Fifth Step – in addition to sponsorship – CX teams need to be engaged to make sure the initiatives land and escalations are managed </a:t>
            </a:r>
          </a:p>
          <a:p>
            <a:pPr marL="228600" indent="-228600">
              <a:buAutoNum type="arabicParenR"/>
            </a:pPr>
            <a:endParaRPr lang="en-US"/>
          </a:p>
          <a:p>
            <a:pPr marL="228600" indent="-228600">
              <a:buAutoNum type="arabicParenR"/>
            </a:pPr>
            <a:r>
              <a:rPr lang="en-US"/>
              <a:t>This journey is a continuum </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6/2024 1: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07368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92388" y="904875"/>
            <a:ext cx="4343400" cy="2444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58192" rtl="0" eaLnBrk="1" fontAlgn="auto" latinLnBrk="0" hangingPunct="1">
              <a:lnSpc>
                <a:spcPct val="100000"/>
              </a:lnSpc>
              <a:spcBef>
                <a:spcPts val="0"/>
              </a:spcBef>
              <a:spcAft>
                <a:spcPts val="0"/>
              </a:spcAft>
              <a:buClrTx/>
              <a:buSzTx/>
              <a:buFontTx/>
              <a:buNone/>
              <a:tabLst/>
              <a:defRPr/>
            </a:pPr>
            <a:fld id="{D0494225-CFE2-4EC9-9187-3DC7B61D8C43}"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58192"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37548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33"/>
              </a:spcAft>
            </a:pPr>
            <a:r>
              <a:rPr lang="en-US">
                <a:cs typeface="Calibri"/>
              </a:rPr>
              <a:t>Before starting on the path to AI, it’s important every organization pause and think through five important questions. </a:t>
            </a:r>
          </a:p>
          <a:p>
            <a:pPr>
              <a:lnSpc>
                <a:spcPct val="90000"/>
              </a:lnSpc>
              <a:spcAft>
                <a:spcPts val="333"/>
              </a:spcAft>
            </a:pPr>
            <a:endParaRPr lang="en-US">
              <a:cs typeface="Calibri"/>
            </a:endParaRPr>
          </a:p>
          <a:p>
            <a:pPr marL="228600" indent="-228600">
              <a:lnSpc>
                <a:spcPct val="90000"/>
              </a:lnSpc>
              <a:spcAft>
                <a:spcPts val="333"/>
              </a:spcAft>
              <a:buAutoNum type="arabicPeriod"/>
            </a:pPr>
            <a:r>
              <a:rPr lang="en-US">
                <a:cs typeface="Calibri"/>
              </a:rPr>
              <a:t>What are your goals for using AI? </a:t>
            </a:r>
          </a:p>
          <a:p>
            <a:pPr marL="228600" indent="-228600">
              <a:lnSpc>
                <a:spcPct val="90000"/>
              </a:lnSpc>
              <a:spcAft>
                <a:spcPts val="333"/>
              </a:spcAft>
              <a:buAutoNum type="arabicPeriod"/>
            </a:pPr>
            <a:r>
              <a:rPr lang="en-US">
                <a:cs typeface="Calibri"/>
              </a:rPr>
              <a:t>What are the pain points within your organization that can be addressed with AI?</a:t>
            </a:r>
          </a:p>
          <a:p>
            <a:pPr marL="228600" indent="-228600">
              <a:lnSpc>
                <a:spcPct val="90000"/>
              </a:lnSpc>
              <a:spcAft>
                <a:spcPts val="333"/>
              </a:spcAft>
              <a:buAutoNum type="arabicPeriod"/>
            </a:pPr>
            <a:r>
              <a:rPr lang="en-US">
                <a:cs typeface="Calibri"/>
              </a:rPr>
              <a:t>What are your current AI capabilities?</a:t>
            </a:r>
          </a:p>
          <a:p>
            <a:pPr marL="228600" indent="-228600">
              <a:lnSpc>
                <a:spcPct val="90000"/>
              </a:lnSpc>
              <a:spcAft>
                <a:spcPts val="333"/>
              </a:spcAft>
              <a:buAutoNum type="arabicPeriod"/>
            </a:pPr>
            <a:r>
              <a:rPr lang="en-US">
                <a:cs typeface="Calibri"/>
              </a:rPr>
              <a:t>Does your organization have a data strategy in place? </a:t>
            </a:r>
          </a:p>
          <a:p>
            <a:pPr marL="228600" indent="-228600">
              <a:lnSpc>
                <a:spcPct val="90000"/>
              </a:lnSpc>
              <a:spcAft>
                <a:spcPts val="333"/>
              </a:spcAft>
              <a:buAutoNum type="arabicPeriod"/>
            </a:pPr>
            <a:r>
              <a:rPr lang="en-US">
                <a:cs typeface="Calibri"/>
              </a:rPr>
              <a:t>Do you have the necessary infrastructure and resources to support AI initiatives? </a:t>
            </a:r>
          </a:p>
          <a:p>
            <a:pPr marL="228600" indent="-228600">
              <a:lnSpc>
                <a:spcPct val="90000"/>
              </a:lnSpc>
              <a:spcAft>
                <a:spcPts val="333"/>
              </a:spcAft>
              <a:buAutoNum type="arabicPeriod"/>
            </a:pPr>
            <a:endParaRPr lang="en-US">
              <a:cs typeface="Calibri"/>
            </a:endParaRPr>
          </a:p>
          <a:p>
            <a:pPr marL="0" indent="0">
              <a:lnSpc>
                <a:spcPct val="90000"/>
              </a:lnSpc>
              <a:spcAft>
                <a:spcPts val="333"/>
              </a:spcAft>
              <a:buNone/>
            </a:pPr>
            <a:r>
              <a:rPr lang="en-US">
                <a:cs typeface="Calibri"/>
              </a:rPr>
              <a:t>Each of these elements will help guide and shape how you bring AI into your organization. </a:t>
            </a:r>
          </a:p>
          <a:p>
            <a:endParaRPr lang="en-MY"/>
          </a:p>
        </p:txBody>
      </p:sp>
      <p:sp>
        <p:nvSpPr>
          <p:cNvPr id="4" name="Slide Number Placeholder 3"/>
          <p:cNvSpPr>
            <a:spLocks noGrp="1"/>
          </p:cNvSpPr>
          <p:nvPr>
            <p:ph type="sldNum" sz="quarter" idx="5"/>
          </p:nvPr>
        </p:nvSpPr>
        <p:spPr/>
        <p:txBody>
          <a:bodyPr/>
          <a:lstStyle/>
          <a:p>
            <a:fld id="{C738B27E-3B15-405B-BC2D-4D1FAA9B1214}" type="slidenum">
              <a:rPr lang="en-US" smtClean="0"/>
              <a:t>17</a:t>
            </a:fld>
            <a:endParaRPr lang="en-US"/>
          </a:p>
        </p:txBody>
      </p:sp>
    </p:spTree>
    <p:extLst>
      <p:ext uri="{BB962C8B-B14F-4D97-AF65-F5344CB8AC3E}">
        <p14:creationId xmlns:p14="http://schemas.microsoft.com/office/powerpoint/2010/main" val="26074229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15985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BE867D-C5FD-4B08-A51E-CD046BBAA9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955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effectLst/>
                <a:highlight>
                  <a:srgbClr val="FFFFFF"/>
                </a:highlight>
                <a:latin typeface="SegoeUI"/>
              </a:rPr>
              <a:t>With the rapid increase of cross border transactions, and growth in instant payment networks, the financial services industry is focusing on fighting fraud that can cost hundreds of billions annually. As the leading infrastructure provider for financial messaging services, Swift has long worked with its community of over 11,500 institutions to drive new ways to detect and catch fraudulent transactions. And now it is working with Microsoft to innovate further in the fight against financial crime. Using federated learning techniques along with Azure Machine Learning and Azure confidential computing, Swift and Microsoft are building an anomaly detection model for transactional data—all without copying or moving data from secure locations. The shared vision is that the model will become the new standard for reducing financial crime while achieving the highest level of security, privacy, and cost efficiency.</a:t>
            </a:r>
          </a:p>
          <a:p>
            <a:r>
              <a:rPr lang="en-US" b="0">
                <a:solidFill>
                  <a:srgbClr val="0067B8"/>
                </a:solidFill>
                <a:effectLst/>
              </a:rPr>
              <a:t>Using Azure Machine Learning, we can train a model on multiple distributed datasets. Rather than bringing the data to a central point, we do the opposite. We send the model for training to the participants’ local compute and datasets at the edge and fuse the training results in a foundation model. </a:t>
            </a:r>
          </a:p>
          <a:p>
            <a:r>
              <a:rPr lang="en-US" b="0">
                <a:effectLst/>
              </a:rPr>
              <a:t>Johan </a:t>
            </a:r>
            <a:r>
              <a:rPr lang="en-US" b="0" err="1">
                <a:effectLst/>
              </a:rPr>
              <a:t>Bryssinck</a:t>
            </a:r>
            <a:r>
              <a:rPr lang="en-US" b="0">
                <a:effectLst/>
              </a:rPr>
              <a:t>: AI/ML Product and Program Management Lead</a:t>
            </a:r>
          </a:p>
          <a:p>
            <a:r>
              <a:rPr lang="en-US" b="0">
                <a:solidFill>
                  <a:srgbClr val="008272"/>
                </a:solidFill>
                <a:effectLst/>
              </a:rPr>
              <a:t>Swift</a:t>
            </a:r>
          </a:p>
          <a:p>
            <a:r>
              <a:rPr lang="en-US">
                <a:effectLst/>
              </a:rPr>
              <a:t>Transcript</a:t>
            </a:r>
          </a:p>
          <a:p>
            <a:pPr algn="l"/>
            <a:r>
              <a:rPr lang="en-US" b="1" i="0">
                <a:effectLst/>
                <a:highlight>
                  <a:srgbClr val="FFFFFF"/>
                </a:highlight>
                <a:latin typeface="SegoeUI"/>
              </a:rPr>
              <a:t>Leading the charge for the industry</a:t>
            </a:r>
            <a:endParaRPr lang="en-US" b="0" i="0">
              <a:effectLst/>
              <a:highlight>
                <a:srgbClr val="FFFFFF"/>
              </a:highlight>
              <a:latin typeface="SegoeUI"/>
            </a:endParaRPr>
          </a:p>
          <a:p>
            <a:pPr algn="l"/>
            <a:r>
              <a:rPr lang="en-US" b="0" i="0">
                <a:effectLst/>
                <a:highlight>
                  <a:srgbClr val="FFFFFF"/>
                </a:highlight>
                <a:latin typeface="SegoeUI"/>
              </a:rPr>
              <a:t>Citizens. Countries. Continents. The entire world relies on the efficiency, reliability, and security of Swift’s global financial messaging network. Swift sets the industry standard for how financial institutions and banks communicate with each other. The member-owned cooperative provides secure infrastructure for money and security transfers and related information for over 11,500 financial institutions worldwide. Swift’s network and platform is trusted to provide seamless automated transmission, receipt, and processing of more than nine billion financial messages a year.</a:t>
            </a:r>
          </a:p>
          <a:p>
            <a:pPr algn="l"/>
            <a:r>
              <a:rPr lang="en-US" b="0" i="0">
                <a:effectLst/>
                <a:highlight>
                  <a:srgbClr val="FFFFFF"/>
                </a:highlight>
                <a:latin typeface="SegoeUI"/>
              </a:rPr>
              <a:t>Detecting and stopping fraudulent attacks and crime is a priority for Swift’s customers so the cooperative is constantly innovating to strengthen security. “We connect financial institutions around the globe to our network and deliver products and services in over 200 countries. Our standards are used for financial institutions and banks to communicate with each other, which puts us in a unique position to bring the industry together to try to solve some of the most complex problems,” says Tom </a:t>
            </a:r>
            <a:r>
              <a:rPr lang="en-US" b="0" i="0" err="1">
                <a:effectLst/>
                <a:highlight>
                  <a:srgbClr val="FFFFFF"/>
                </a:highlight>
                <a:latin typeface="SegoeUI"/>
              </a:rPr>
              <a:t>Zschach</a:t>
            </a:r>
            <a:r>
              <a:rPr lang="en-US" b="0" i="0">
                <a:effectLst/>
                <a:highlight>
                  <a:srgbClr val="FFFFFF"/>
                </a:highlight>
                <a:latin typeface="SegoeUI"/>
              </a:rPr>
              <a:t>, Chief Innovation Officer at Swift.</a:t>
            </a:r>
          </a:p>
          <a:p>
            <a:pPr algn="l"/>
            <a:r>
              <a:rPr lang="en-US" b="0" i="0">
                <a:effectLst/>
                <a:highlight>
                  <a:srgbClr val="FFFFFF"/>
                </a:highlight>
                <a:latin typeface="SegoeUI"/>
              </a:rPr>
              <a:t>As the industry provides faster payment solutions between individuals and organizations across borders, </a:t>
            </a:r>
            <a:r>
              <a:rPr lang="en-US" b="0" i="0" err="1">
                <a:effectLst/>
                <a:highlight>
                  <a:srgbClr val="FFFFFF"/>
                </a:highlight>
                <a:latin typeface="SegoeUI"/>
              </a:rPr>
              <a:t>Zschach</a:t>
            </a:r>
            <a:r>
              <a:rPr lang="en-US" b="0" i="0">
                <a:effectLst/>
                <a:highlight>
                  <a:srgbClr val="FFFFFF"/>
                </a:highlight>
                <a:latin typeface="SegoeUI"/>
              </a:rPr>
              <a:t> says the risk footprint increases, as do costs. This is especially true when accounting for secondary impacts like fraud remediation and fund recovery, making fraud a massive issue for all financial intuitions and their customers. “Fraud in payments is a major concern for our clients—in the order of magnitude of billions of dollars every year,” says Isabel Schmidt, Co-Head of Global Payments Products at BNY Mellon, a member of the Swift network. “Preventing financial crime is a problem that we cannot solve individually as a bank, we need to it solve collectively."</a:t>
            </a:r>
          </a:p>
          <a:p>
            <a:pPr algn="l"/>
            <a:r>
              <a:rPr lang="en-US" b="1" i="0">
                <a:effectLst/>
                <a:highlight>
                  <a:srgbClr val="FFFFFF"/>
                </a:highlight>
                <a:latin typeface="SegoeUI"/>
              </a:rPr>
              <a:t>Innovating without sacrificing privacy</a:t>
            </a:r>
            <a:endParaRPr lang="en-US" b="0" i="0">
              <a:effectLst/>
              <a:highlight>
                <a:srgbClr val="FFFFFF"/>
              </a:highlight>
              <a:latin typeface="SegoeUI"/>
            </a:endParaRPr>
          </a:p>
          <a:p>
            <a:pPr algn="l"/>
            <a:r>
              <a:rPr lang="en-US" b="0" i="0">
                <a:effectLst/>
                <a:highlight>
                  <a:srgbClr val="FFFFFF"/>
                </a:highlight>
                <a:latin typeface="SegoeUI"/>
              </a:rPr>
              <a:t>With the aim of creating a solution that combats the latest financial security threats, Swift, as part of its robust innovation agenda, has been collaborating with Microsoft. Using </a:t>
            </a:r>
            <a:r>
              <a:rPr lang="en-US" b="0" i="0" u="sng">
                <a:solidFill>
                  <a:srgbClr val="0067B8"/>
                </a:solidFill>
                <a:effectLst/>
                <a:highlight>
                  <a:srgbClr val="FFFFFF"/>
                </a:highlight>
                <a:latin typeface="SegoeUI"/>
                <a:hlinkClick r:id="rId3"/>
              </a:rPr>
              <a:t>federated learning techniques</a:t>
            </a:r>
            <a:r>
              <a:rPr lang="en-US" b="0" i="0">
                <a:effectLst/>
                <a:highlight>
                  <a:srgbClr val="FFFFFF"/>
                </a:highlight>
                <a:latin typeface="SegoeUI"/>
              </a:rPr>
              <a:t> in </a:t>
            </a:r>
            <a:r>
              <a:rPr lang="en-US" b="0" i="0" u="sng">
                <a:solidFill>
                  <a:srgbClr val="0067B8"/>
                </a:solidFill>
                <a:effectLst/>
                <a:highlight>
                  <a:srgbClr val="FFFFFF"/>
                </a:highlight>
                <a:latin typeface="SegoeUI"/>
                <a:hlinkClick r:id="rId4"/>
              </a:rPr>
              <a:t>Azure Machine Learning</a:t>
            </a:r>
            <a:r>
              <a:rPr lang="en-US" b="0" i="0">
                <a:effectLst/>
                <a:highlight>
                  <a:srgbClr val="FFFFFF"/>
                </a:highlight>
                <a:latin typeface="SegoeUI"/>
              </a:rPr>
              <a:t> combined with </a:t>
            </a:r>
            <a:r>
              <a:rPr lang="en-US" b="0" i="0" u="sng">
                <a:solidFill>
                  <a:srgbClr val="0067B8"/>
                </a:solidFill>
                <a:effectLst/>
                <a:highlight>
                  <a:srgbClr val="FFFFFF"/>
                </a:highlight>
                <a:latin typeface="SegoeUI"/>
                <a:hlinkClick r:id="rId5"/>
              </a:rPr>
              <a:t>Azure confidential computing</a:t>
            </a:r>
            <a:r>
              <a:rPr lang="en-US" b="0" i="0">
                <a:effectLst/>
                <a:highlight>
                  <a:srgbClr val="FFFFFF"/>
                </a:highlight>
                <a:latin typeface="SegoeUI"/>
              </a:rPr>
              <a:t>, </a:t>
            </a:r>
            <a:r>
              <a:rPr lang="en-US" b="0" i="0" u="sng">
                <a:solidFill>
                  <a:srgbClr val="0067B8"/>
                </a:solidFill>
                <a:effectLst/>
                <a:highlight>
                  <a:srgbClr val="FFFFFF"/>
                </a:highlight>
                <a:latin typeface="SegoeUI"/>
                <a:hlinkClick r:id="rId6"/>
              </a:rPr>
              <a:t>Microsoft Purview</a:t>
            </a:r>
            <a:r>
              <a:rPr lang="en-US" b="0" i="0">
                <a:effectLst/>
                <a:highlight>
                  <a:srgbClr val="FFFFFF"/>
                </a:highlight>
                <a:latin typeface="SegoeUI"/>
              </a:rPr>
              <a:t>, and a </a:t>
            </a:r>
            <a:r>
              <a:rPr lang="en-US" b="0" i="0" u="sng">
                <a:solidFill>
                  <a:srgbClr val="0067B8"/>
                </a:solidFill>
                <a:effectLst/>
                <a:highlight>
                  <a:srgbClr val="FFFFFF"/>
                </a:highlight>
                <a:latin typeface="SegoeUI"/>
                <a:hlinkClick r:id="rId7"/>
              </a:rPr>
              <a:t>Zero Trust</a:t>
            </a:r>
            <a:r>
              <a:rPr lang="en-US" b="0" i="0">
                <a:effectLst/>
                <a:highlight>
                  <a:srgbClr val="FFFFFF"/>
                </a:highlight>
                <a:latin typeface="SegoeUI"/>
              </a:rPr>
              <a:t> based policy framework, the two organizations are working to build a highly accurate anomaly detection model for financial transactional data. This is being done without copying or moving data from Swift members’ secure locations. Participants’ data remains confidential even while the new model detects anomalies and gains new insights that will help predict and prevent financial crime. </a:t>
            </a:r>
          </a:p>
          <a:p>
            <a:pPr algn="l"/>
            <a:r>
              <a:rPr lang="en-US" b="0" i="0">
                <a:effectLst/>
                <a:highlight>
                  <a:srgbClr val="FFFFFF"/>
                </a:highlight>
                <a:latin typeface="SegoeUI"/>
              </a:rPr>
              <a:t>Johan </a:t>
            </a:r>
            <a:r>
              <a:rPr lang="en-US" b="0" i="0" err="1">
                <a:effectLst/>
                <a:highlight>
                  <a:srgbClr val="FFFFFF"/>
                </a:highlight>
                <a:latin typeface="SegoeUI"/>
              </a:rPr>
              <a:t>Bryssinck</a:t>
            </a:r>
            <a:r>
              <a:rPr lang="en-US" b="0" i="0">
                <a:effectLst/>
                <a:highlight>
                  <a:srgbClr val="FFFFFF"/>
                </a:highlight>
                <a:latin typeface="SegoeUI"/>
              </a:rPr>
              <a:t>, AI/ML Product and Program Management Lead at Swift, says the organization’s intent is to provide the model so Swift’s banking partners can share their own data to further educate the model. Once data has been collected, Azure confidential computing will securely run new models on the latest data to gain additional insights creating an ongoing cycle of learning that will help drastically improve the rate at which we can detect fraudulent financial transactions across the globe. “Our first ambition at Swift is to build a foundation model for anomaly detection that underpins the detection and prevention of fraud. Our ultimate goal is collaborating with Microsoft and our community to start thinking about how we can stop fraud occurring in payments,” says </a:t>
            </a:r>
            <a:r>
              <a:rPr lang="en-US" b="0" i="0" err="1">
                <a:effectLst/>
                <a:highlight>
                  <a:srgbClr val="FFFFFF"/>
                </a:highlight>
                <a:latin typeface="SegoeUI"/>
              </a:rPr>
              <a:t>Bryssinck</a:t>
            </a:r>
            <a:r>
              <a:rPr lang="en-US" b="0" i="0">
                <a:effectLst/>
                <a:highlight>
                  <a:srgbClr val="FFFFFF"/>
                </a:highlight>
                <a:latin typeface="SegoeUI"/>
              </a:rPr>
              <a:t>. “We are exploring the federated learning aspects of Azure Machine Learning where we take a model developed by Swift and further train and enrich it with additional customers’ data through Azure confidential computing.” </a:t>
            </a:r>
          </a:p>
          <a:p>
            <a:pPr algn="l"/>
            <a:r>
              <a:rPr lang="en-US" b="0" i="0">
                <a:effectLst/>
                <a:highlight>
                  <a:srgbClr val="FFFFFF"/>
                </a:highlight>
                <a:latin typeface="SegoeUI"/>
              </a:rPr>
              <a:t>“Using Azure Machine Learning, we can train a model on multiple distributed datasets. Rather than bringing the data to a central point, we do the opposite. We send the model for training to the participants’ local compute and datasets at the edge and fuse the results in a foundation model,” says </a:t>
            </a:r>
            <a:r>
              <a:rPr lang="en-US" b="0" i="0" err="1">
                <a:effectLst/>
                <a:highlight>
                  <a:srgbClr val="FFFFFF"/>
                </a:highlight>
                <a:latin typeface="SegoeUI"/>
              </a:rPr>
              <a:t>Bryssinck</a:t>
            </a:r>
            <a:r>
              <a:rPr lang="en-US" b="0" i="0">
                <a:effectLst/>
                <a:highlight>
                  <a:srgbClr val="FFFFFF"/>
                </a:highlight>
                <a:latin typeface="SegoeUI"/>
              </a:rPr>
              <a:t>.</a:t>
            </a:r>
          </a:p>
          <a:p>
            <a:pPr algn="l"/>
            <a:r>
              <a:rPr lang="en-US" b="1" i="0">
                <a:effectLst/>
                <a:highlight>
                  <a:srgbClr val="FFFFFF"/>
                </a:highlight>
                <a:latin typeface="SegoeUI"/>
              </a:rPr>
              <a:t>Solving complex problems for the greater good</a:t>
            </a:r>
            <a:endParaRPr lang="en-US" b="0" i="0">
              <a:effectLst/>
              <a:highlight>
                <a:srgbClr val="FFFFFF"/>
              </a:highlight>
              <a:latin typeface="SegoeUI"/>
            </a:endParaRPr>
          </a:p>
          <a:p>
            <a:pPr algn="l"/>
            <a:r>
              <a:rPr lang="en-US" b="0" i="0">
                <a:effectLst/>
                <a:highlight>
                  <a:srgbClr val="FFFFFF"/>
                </a:highlight>
                <a:latin typeface="SegoeUI"/>
              </a:rPr>
              <a:t>While the full potential of the model has yet to be reached, the shared vision is that it will become a potent new tool for reducing financial crime while achieving the highest level of security, privacy, and cost efficiency. “Working together with Microsoft and with our banking customers, we can build a model that's much more accurate and much more performant than I think has ever been seen in financial services,” says </a:t>
            </a:r>
            <a:r>
              <a:rPr lang="en-US" b="0" i="0" err="1">
                <a:effectLst/>
                <a:highlight>
                  <a:srgbClr val="FFFFFF"/>
                </a:highlight>
                <a:latin typeface="SegoeUI"/>
              </a:rPr>
              <a:t>Zschach</a:t>
            </a:r>
            <a:r>
              <a:rPr lang="en-US" b="0" i="0">
                <a:effectLst/>
                <a:highlight>
                  <a:srgbClr val="FFFFFF"/>
                </a:highlight>
                <a:latin typeface="SegoeUI"/>
              </a:rPr>
              <a:t>. ”Microsoft is a very important and productive strategic partner for us. There's a strong alignment in core values like trust and security. They’re able to bring the capability and the expertise to help us solve some of the toughest problems in finance.”</a:t>
            </a:r>
          </a:p>
          <a:p>
            <a:pPr algn="l"/>
            <a:r>
              <a:rPr lang="en-US" b="0" i="0">
                <a:effectLst/>
                <a:highlight>
                  <a:srgbClr val="FFFFFF"/>
                </a:highlight>
                <a:latin typeface="SegoeUI"/>
              </a:rPr>
              <a:t>Find out more about </a:t>
            </a:r>
            <a:r>
              <a:rPr lang="en-US" b="0" i="0" u="sng">
                <a:solidFill>
                  <a:srgbClr val="0067B8"/>
                </a:solidFill>
                <a:effectLst/>
                <a:highlight>
                  <a:srgbClr val="FFFFFF"/>
                </a:highlight>
                <a:latin typeface="SegoeUI"/>
                <a:hlinkClick r:id="rId8"/>
              </a:rPr>
              <a:t>Swift</a:t>
            </a:r>
            <a:r>
              <a:rPr lang="en-US" b="0" i="0">
                <a:effectLst/>
                <a:highlight>
                  <a:srgbClr val="FFFFFF"/>
                </a:highlight>
                <a:latin typeface="SegoeUI"/>
              </a:rPr>
              <a:t> on </a:t>
            </a:r>
            <a:r>
              <a:rPr lang="en-US" b="0" i="0" u="sng">
                <a:solidFill>
                  <a:srgbClr val="0067B8"/>
                </a:solidFill>
                <a:effectLst/>
                <a:highlight>
                  <a:srgbClr val="FFFFFF"/>
                </a:highlight>
                <a:latin typeface="SegoeUI"/>
                <a:hlinkClick r:id="rId9"/>
              </a:rPr>
              <a:t>Twitter</a:t>
            </a:r>
            <a:r>
              <a:rPr lang="en-US" b="0" i="0">
                <a:effectLst/>
                <a:highlight>
                  <a:srgbClr val="FFFFFF"/>
                </a:highlight>
                <a:latin typeface="SegoeUI"/>
              </a:rPr>
              <a:t>, </a:t>
            </a:r>
            <a:r>
              <a:rPr lang="en-US" b="0" i="0" u="sng">
                <a:solidFill>
                  <a:srgbClr val="0067B8"/>
                </a:solidFill>
                <a:effectLst/>
                <a:highlight>
                  <a:srgbClr val="FFFFFF"/>
                </a:highlight>
                <a:latin typeface="SegoeUI"/>
                <a:hlinkClick r:id="rId10"/>
              </a:rPr>
              <a:t>Facebook</a:t>
            </a:r>
            <a:r>
              <a:rPr lang="en-US" b="0" i="0">
                <a:effectLst/>
                <a:highlight>
                  <a:srgbClr val="FFFFFF"/>
                </a:highlight>
                <a:latin typeface="SegoeUI"/>
              </a:rPr>
              <a:t>, and </a:t>
            </a:r>
            <a:r>
              <a:rPr lang="en-US" b="0" i="0" u="sng">
                <a:solidFill>
                  <a:srgbClr val="0067B8"/>
                </a:solidFill>
                <a:effectLst/>
                <a:highlight>
                  <a:srgbClr val="FFFFFF"/>
                </a:highlight>
                <a:latin typeface="SegoeUI"/>
                <a:hlinkClick r:id="rId11"/>
              </a:rPr>
              <a:t>LinkedIn</a:t>
            </a:r>
            <a:r>
              <a:rPr lang="en-US" b="0" i="0">
                <a:effectLst/>
                <a:highlight>
                  <a:srgbClr val="FFFFFF"/>
                </a:highlight>
                <a:latin typeface="SegoeUI"/>
              </a:rPr>
              <a:t>. </a:t>
            </a:r>
          </a:p>
          <a:p>
            <a:r>
              <a:rPr lang="en-US" b="0">
                <a:solidFill>
                  <a:srgbClr val="0067B8"/>
                </a:solidFill>
                <a:effectLst/>
              </a:rPr>
              <a:t>We are exploring the federated learning aspects of Azure Machine Learning. We take a model developed by Swift and further train and enrich it with Swift’s members’ data through Azure confidential computing. </a:t>
            </a:r>
          </a:p>
          <a:p>
            <a:r>
              <a:rPr lang="en-US" b="0">
                <a:effectLst/>
              </a:rPr>
              <a:t>Johan </a:t>
            </a:r>
            <a:r>
              <a:rPr lang="en-US" b="0" err="1">
                <a:effectLst/>
              </a:rPr>
              <a:t>Bryssinck</a:t>
            </a:r>
            <a:r>
              <a:rPr lang="en-US" b="0">
                <a:effectLst/>
              </a:rPr>
              <a:t>: AI/ML Product and Program Management Lead</a:t>
            </a:r>
          </a:p>
          <a:p>
            <a:r>
              <a:rPr lang="en-US" b="0">
                <a:solidFill>
                  <a:srgbClr val="008272"/>
                </a:solidFill>
                <a:effectLst/>
              </a:rPr>
              <a:t>Swift</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16/2024 1:4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1794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900" kern="0">
                <a:latin typeface="Calibri" panose="020F0502020204030204" pitchFamily="34" charset="0"/>
                <a:ea typeface="Calibri" panose="020F0502020204030204" pitchFamily="34" charset="0"/>
                <a:cs typeface="Arial" panose="020B0604020202020204" pitchFamily="34" charset="0"/>
              </a:rPr>
              <a:t>They envision using AI not just for administrative tasks, but also for analytical and creative work. </a:t>
            </a:r>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032" marR="0" lvl="0" indent="0" algn="l" defTabSz="96613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8000082-733C-7745-B6B2-DEBD02307451}"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4-10-16 1:36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08598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Segoe UI" panose="020B0502040204020203" pitchFamily="34" charset="0"/>
              </a:rPr>
              <a:t>And while these off-the-shelf copilots can be leveraged to boost productivity, optimize efficiency and cost savings, and secure your organization…</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We understand that companies may also want to explore using AI in other, more extensive, ways to develop custom solutions.</a:t>
            </a:r>
          </a:p>
          <a:p>
            <a:endParaRPr lang="en-US" b="0" i="0" dirty="0">
              <a:solidFill>
                <a:srgbClr val="000000"/>
              </a:solidFill>
              <a:effectLst/>
              <a:latin typeface="Segoe UI" panose="020B0502040204020203" pitchFamily="34" charset="0"/>
            </a:endParaRPr>
          </a:p>
          <a:p>
            <a:r>
              <a:rPr lang="en-US" b="0" i="0" dirty="0">
                <a:solidFill>
                  <a:srgbClr val="000000"/>
                </a:solidFill>
                <a:effectLst/>
                <a:latin typeface="Segoe UI" panose="020B0502040204020203" pitchFamily="34" charset="0"/>
              </a:rPr>
              <a:t>AI-powered apps that, when combined with the right data foundation, can unlock transformative experiences that enable contextual interactions, amplified automation, and intuitive discovery with customers and within your organization. </a:t>
            </a:r>
          </a:p>
          <a:p>
            <a:endParaRPr lang="en-US" b="0" i="0" dirty="0">
              <a:solidFill>
                <a:srgbClr val="000000"/>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Segoe UI" panose="020B0502040204020203" pitchFamily="34" charset="0"/>
              </a:rPr>
              <a:t>And this is the same AI platform that you can use to build intelligent apps of your ow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Segoe UI" panose="020B0502040204020203" pitchFamily="34" charset="0"/>
            </a:endParaRPr>
          </a:p>
          <a:p>
            <a:endParaRPr lang="en-US" b="0" i="0" dirty="0">
              <a:solidFill>
                <a:srgbClr val="000000"/>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53B9CB-8A11-4CDB-9859-FBEC36E8F4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9026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38B27E-3B15-405B-BC2D-4D1FAA9B12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8B8A4B59-25E6-40E7-9258-3E626AD81152}"/>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4033111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732DAA-7F1C-871F-5529-CB0172C7233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E76A21-1475-A317-C659-8A9C8D0094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2E6C817-8D46-B20E-3ADF-2C187F167D90}"/>
              </a:ext>
            </a:extLst>
          </p:cNvPr>
          <p:cNvSpPr>
            <a:spLocks noGrp="1"/>
          </p:cNvSpPr>
          <p:nvPr>
            <p:ph type="body" idx="1"/>
          </p:nvPr>
        </p:nvSpPr>
        <p:spPr/>
        <p:txBody>
          <a:bodyPr/>
          <a:lstStyle/>
          <a:p>
            <a:r>
              <a:rPr lang="en-US" b="0"/>
              <a:t>And this transformation is driving tangible benefits</a:t>
            </a:r>
          </a:p>
          <a:p>
            <a:pPr marL="171450" indent="-171450">
              <a:buFontTx/>
              <a:buChar char="-"/>
            </a:pPr>
            <a:r>
              <a:rPr lang="en-US" b="0"/>
              <a:t>By harnessing the capabilities of Gen AI, KPMG is increasing their response quality by their critical AI assistant </a:t>
            </a:r>
            <a:r>
              <a:rPr lang="en-US" b="0" err="1"/>
              <a:t>toosl</a:t>
            </a:r>
            <a:r>
              <a:rPr lang="en-US" b="0"/>
              <a:t> by 41% increasing productivity</a:t>
            </a:r>
          </a:p>
          <a:p>
            <a:pPr marL="171450" indent="-171450">
              <a:buFontTx/>
              <a:buChar char="-"/>
            </a:pPr>
            <a:r>
              <a:rPr lang="en-US" b="0"/>
              <a:t>National Health Service in UK is saving on average 24 hours of staff time that can be better used in front of patients</a:t>
            </a:r>
          </a:p>
          <a:p>
            <a:pPr marL="171450" indent="-171450">
              <a:buFontTx/>
              <a:buChar char="-"/>
            </a:pPr>
            <a:r>
              <a:rPr lang="en-US" b="0" err="1"/>
              <a:t>SymphonyAI</a:t>
            </a:r>
            <a:r>
              <a:rPr lang="en-US" b="0"/>
              <a:t> has built a solution that helps investigate &amp; identify financial crime &amp; risk 70% faster</a:t>
            </a:r>
          </a:p>
          <a:p>
            <a:pPr marL="171450" indent="-171450">
              <a:buFontTx/>
              <a:buChar char="-"/>
            </a:pPr>
            <a:r>
              <a:rPr lang="en-US" b="0"/>
              <a:t>And GM has freed-up their development time significantly to allow their technical teams to focus on innovation and not mundane tasks</a:t>
            </a:r>
          </a:p>
        </p:txBody>
      </p:sp>
      <p:sp>
        <p:nvSpPr>
          <p:cNvPr id="4" name="Slide Number Placeholder 3">
            <a:extLst>
              <a:ext uri="{FF2B5EF4-FFF2-40B4-BE49-F238E27FC236}">
                <a16:creationId xmlns:a16="http://schemas.microsoft.com/office/drawing/2014/main" id="{4C494B15-577A-D90F-3A8A-76F2232E98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D7C157-DE25-4690-BF75-39FF542F3A9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500441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1650" y="866775"/>
            <a:ext cx="6797675" cy="3824288"/>
          </a:xfrm>
        </p:spPr>
      </p:sp>
      <p:sp>
        <p:nvSpPr>
          <p:cNvPr id="3" name="Notes Placeholder 2"/>
          <p:cNvSpPr>
            <a:spLocks noGrp="1"/>
          </p:cNvSpPr>
          <p:nvPr>
            <p:ph type="body" idx="1"/>
          </p:nvPr>
        </p:nvSpPr>
        <p:spPr/>
        <p:txBody>
          <a:bodyPr/>
          <a:lstStyle/>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b="0" dirty="0">
                <a:solidFill>
                  <a:prstClr val="black"/>
                </a:solidFill>
                <a:cs typeface="Segoe UI" panose="020B0502040204020203" pitchFamily="34" charset="0"/>
              </a:rPr>
              <a:t>AI is </a:t>
            </a:r>
            <a:r>
              <a:rPr lang="en-US" sz="3200" b="0" dirty="0" err="1">
                <a:solidFill>
                  <a:prstClr val="black"/>
                </a:solidFill>
                <a:cs typeface="Segoe UI" panose="020B0502040204020203" pitchFamily="34" charset="0"/>
              </a:rPr>
              <a:t>transdforming</a:t>
            </a:r>
            <a:r>
              <a:rPr lang="en-US" sz="3200" b="0" dirty="0">
                <a:solidFill>
                  <a:prstClr val="black"/>
                </a:solidFill>
                <a:cs typeface="Segoe UI" panose="020B0502040204020203" pitchFamily="34" charset="0"/>
              </a:rPr>
              <a:t> the healthcare industry, from accelerating clinical research, providing more intelligence in the fingertips of clinicians &amp; making the more productive.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b="0" dirty="0">
              <a:solidFill>
                <a:prstClr val="black"/>
              </a:solidFill>
              <a:cs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b="0" dirty="0">
                <a:solidFill>
                  <a:prstClr val="black"/>
                </a:solidFill>
                <a:cs typeface="Segoe UI" panose="020B0502040204020203" pitchFamily="34" charset="0"/>
              </a:rPr>
              <a:t>Empowering clinical teams to spend less time documenting &amp; working on mundane tasks and as you saw earlier giving them time back to focus on the patient</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br>
              <a:rPr lang="en-US" sz="3200" b="0" dirty="0">
                <a:solidFill>
                  <a:prstClr val="black"/>
                </a:solidFill>
                <a:cs typeface="Segoe UI" panose="020B0502040204020203" pitchFamily="34" charset="0"/>
              </a:rPr>
            </a:br>
            <a:r>
              <a:rPr lang="en-US" sz="3200" b="0" dirty="0">
                <a:solidFill>
                  <a:prstClr val="black"/>
                </a:solidFill>
                <a:cs typeface="Segoe UI" panose="020B0502040204020203" pitchFamily="34" charset="0"/>
              </a:rPr>
              <a:t>And of course accelerating innovation across the pharma &amp; med tech industries.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b="0" dirty="0">
              <a:solidFill>
                <a:prstClr val="black"/>
              </a:solidFill>
              <a:cs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dirty="0">
              <a:solidFill>
                <a:srgbClr val="FF0000"/>
              </a:solidFill>
            </a:endParaRPr>
          </a:p>
        </p:txBody>
      </p:sp>
      <p:sp>
        <p:nvSpPr>
          <p:cNvPr id="4" name="Header Placeholder 3"/>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0/16/2024 1:36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40070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1650" y="866775"/>
            <a:ext cx="6797675" cy="3824288"/>
          </a:xfrm>
        </p:spPr>
      </p:sp>
      <p:sp>
        <p:nvSpPr>
          <p:cNvPr id="3" name="Notes Placeholder 2"/>
          <p:cNvSpPr>
            <a:spLocks noGrp="1"/>
          </p:cNvSpPr>
          <p:nvPr>
            <p:ph type="body" idx="1"/>
          </p:nvPr>
        </p:nvSpPr>
        <p:spPr/>
        <p:txBody>
          <a:bodyPr/>
          <a:lstStyle/>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900" dirty="0">
                <a:solidFill>
                  <a:prstClr val="black"/>
                </a:solidFill>
                <a:cs typeface="Segoe UI" panose="020B0502040204020203" pitchFamily="34" charset="0"/>
              </a:rPr>
              <a:t>Now to get more specific we will look at a few industries and have some fun. First Financial Services…</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900" dirty="0">
              <a:solidFill>
                <a:prstClr val="black"/>
              </a:solidFill>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t>Empower financial advisors </a:t>
            </a:r>
            <a:r>
              <a:rPr lang="en-US" sz="2000" dirty="0"/>
              <a:t>through eliminating manual searches through extensive documentation, providing fast, clear access to key product attributes and client inform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1" dirty="0"/>
              <a:t>Search and know your product: </a:t>
            </a:r>
            <a:r>
              <a:rPr lang="en-US" sz="2000" b="0" dirty="0"/>
              <a:t>build powerful knowledge bases to enable contact center agents, advisors, and branch staff to get answers to complex product queries and market research.</a:t>
            </a:r>
            <a:endParaRPr lang="en-US" sz="2000" dirty="0"/>
          </a:p>
          <a:p>
            <a:pPr marL="171450" indent="-171450">
              <a:buFont typeface="Arial" panose="020B0604020202020204" pitchFamily="34" charset="0"/>
              <a:buChar char="•"/>
            </a:pPr>
            <a:r>
              <a:rPr lang="en-US" sz="2000" b="1" dirty="0"/>
              <a:t>Enhance contact center services </a:t>
            </a:r>
            <a:r>
              <a:rPr lang="en-US" sz="2000" dirty="0"/>
              <a:t>by responding faster to customer questions. You’ll also be able to summarize and aggregate customer sentiment to provide insight to agents and track KPIs.</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900" dirty="0">
              <a:solidFill>
                <a:prstClr val="black"/>
              </a:solidFill>
              <a:cs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900" dirty="0">
                <a:solidFill>
                  <a:prstClr val="black"/>
                </a:solidFill>
                <a:cs typeface="Segoe UI" panose="020B0502040204020203" pitchFamily="34" charset="0"/>
              </a:rPr>
              <a:t>And across all the markets that I serve, I see continuous race on which bank, which insurer, which investment advisory firm is the first to make their advisor smarter more efficient. But right here in Romania, Banca Transilvania is once again leading the way…</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900" dirty="0">
              <a:solidFill>
                <a:prstClr val="black"/>
              </a:solidFill>
              <a:cs typeface="Segoe UI" panose="020B0502040204020203" pitchFamily="34" charset="0"/>
            </a:endParaRPr>
          </a:p>
          <a:p>
            <a:pPr defTabSz="984978">
              <a:defRPr/>
            </a:pPr>
            <a:r>
              <a:rPr lang="en-US" sz="1700" b="1" dirty="0">
                <a:solidFill>
                  <a:srgbClr val="FF0000"/>
                </a:solidFill>
                <a:cs typeface="Segoe UI" panose="020B0502040204020203" pitchFamily="34" charset="0"/>
              </a:rPr>
              <a:t>Enhancing Contact Center</a:t>
            </a:r>
          </a:p>
          <a:p>
            <a:pPr marR="0" lvl="0" algn="l" defTabSz="914400" rtl="0" eaLnBrk="1" fontAlgn="auto" latinLnBrk="0" hangingPunct="1">
              <a:lnSpc>
                <a:spcPct val="100000"/>
              </a:lnSpc>
              <a:spcBef>
                <a:spcPts val="0"/>
              </a:spcBef>
              <a:spcAft>
                <a:spcPts val="600"/>
              </a:spcAft>
              <a:buClrTx/>
              <a:buSzTx/>
              <a:tabLst/>
              <a:defRPr/>
            </a:pPr>
            <a:r>
              <a:rPr lang="en-US" sz="1700" b="1" dirty="0">
                <a:solidFill>
                  <a:srgbClr val="FF0000"/>
                </a:solidFill>
                <a:cs typeface="Segoe UI" panose="020B0502040204020203" pitchFamily="34" charset="0"/>
              </a:rPr>
              <a:t>- </a:t>
            </a:r>
            <a:r>
              <a:rPr kumimoji="0" lang="en-US" sz="2000" b="0" i="0" u="none" strike="noStrike" kern="1200" cap="none" spc="0" normalizeH="0" baseline="0" noProof="0" dirty="0">
                <a:ln>
                  <a:noFill/>
                </a:ln>
                <a:effectLst/>
                <a:uLnTx/>
                <a:uFillTx/>
                <a:ea typeface="+mn-ea"/>
                <a:cs typeface="Segoe UI" panose="020B0502040204020203" pitchFamily="34" charset="0"/>
              </a:rPr>
              <a:t>Summarize insights from across conversations.</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Aggregate customer sentiment to track KPIs.</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Coach agents in real-time using real-time agent assist.</a:t>
            </a:r>
          </a:p>
          <a:p>
            <a:pPr marR="0" lvl="0" algn="l" defTabSz="914400" rtl="0" eaLnBrk="1" fontAlgn="auto" latinLnBrk="0" hangingPunct="1">
              <a:lnSpc>
                <a:spcPct val="100000"/>
              </a:lnSpc>
              <a:spcBef>
                <a:spcPts val="0"/>
              </a:spcBef>
              <a:spcAft>
                <a:spcPts val="600"/>
              </a:spcAft>
              <a:buClrTx/>
              <a:buSzTx/>
              <a:tabLst/>
              <a:defRPr/>
            </a:pPr>
            <a:endParaRPr kumimoji="0" lang="en-US" sz="2000" b="1" i="0" u="none" strike="noStrike" kern="1200" cap="none" spc="0" normalizeH="0" baseline="0" noProof="0" dirty="0">
              <a:ln>
                <a:noFill/>
              </a:ln>
              <a:effectLst/>
              <a:uLnTx/>
              <a:uFillTx/>
              <a:ea typeface="+mn-ea"/>
              <a:cs typeface="Segoe UI" panose="020B0502040204020203" pitchFamily="34" charset="0"/>
            </a:endParaRPr>
          </a:p>
          <a:p>
            <a:pPr marR="0" lvl="0" algn="l" defTabSz="914400" rtl="0" eaLnBrk="1" fontAlgn="auto" latinLnBrk="0" hangingPunct="1">
              <a:lnSpc>
                <a:spcPct val="100000"/>
              </a:lnSpc>
              <a:spcBef>
                <a:spcPts val="0"/>
              </a:spcBef>
              <a:spcAft>
                <a:spcPts val="600"/>
              </a:spcAft>
              <a:buClrTx/>
              <a:buSzTx/>
              <a:tabLst/>
              <a:defRPr/>
            </a:pPr>
            <a:r>
              <a:rPr kumimoji="0" lang="en-US" sz="2000" b="1" i="0" u="none" strike="noStrike" kern="1200" cap="none" spc="0" normalizeH="0" baseline="0" noProof="0" dirty="0">
                <a:ln>
                  <a:noFill/>
                </a:ln>
                <a:effectLst/>
                <a:uLnTx/>
                <a:uFillTx/>
                <a:ea typeface="+mn-ea"/>
                <a:cs typeface="Segoe UI" panose="020B0502040204020203" pitchFamily="34" charset="0"/>
              </a:rPr>
              <a:t>Know your product</a:t>
            </a:r>
            <a:r>
              <a:rPr kumimoji="0" lang="en-US" sz="2000" b="0" i="0" u="none" strike="noStrike" kern="1200" cap="none" spc="0" normalizeH="0" baseline="0" noProof="0" dirty="0">
                <a:ln>
                  <a:noFill/>
                </a:ln>
                <a:effectLst/>
                <a:uLnTx/>
                <a:uFillTx/>
                <a:ea typeface="+mn-ea"/>
                <a:cs typeface="Segoe UI" panose="020B0502040204020203" pitchFamily="34" charset="0"/>
              </a:rPr>
              <a:t> </a:t>
            </a:r>
          </a:p>
          <a:p>
            <a:pPr defTabSz="984978">
              <a:defRPr/>
            </a:pPr>
            <a:endParaRPr lang="en-US" sz="1900" b="1" dirty="0">
              <a:solidFill>
                <a:prstClr val="black"/>
              </a:solidFill>
              <a:cs typeface="Segoe UI" panose="020B0502040204020203" pitchFamily="34" charset="0"/>
            </a:endParaRP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Eliminate the need to manually search extensive product documents.</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Easily compare and summarize key product attributes.</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Retrieve information quickly to serve clients.</a:t>
            </a:r>
          </a:p>
          <a:p>
            <a:pPr defTabSz="984978">
              <a:defRPr/>
            </a:pPr>
            <a:endParaRPr lang="en-US" sz="1900" b="0" dirty="0">
              <a:solidFill>
                <a:prstClr val="black"/>
              </a:solidFill>
              <a:cs typeface="Segoe UI" panose="020B0502040204020203" pitchFamily="34" charset="0"/>
            </a:endParaRPr>
          </a:p>
          <a:p>
            <a:pPr defTabSz="984978">
              <a:defRPr/>
            </a:pPr>
            <a:r>
              <a:rPr lang="en-US" sz="1900" b="1" dirty="0">
                <a:solidFill>
                  <a:prstClr val="black"/>
                </a:solidFill>
                <a:cs typeface="Segoe UI" panose="020B0502040204020203" pitchFamily="34" charset="0"/>
              </a:rPr>
              <a:t>Empower financial advisors</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Create client meeting decks using content and data from multiple sources with copilot.</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Generate and summarize data points in real time.</a:t>
            </a:r>
          </a:p>
          <a:p>
            <a:pPr marR="0" lvl="0" algn="l" defTabSz="914400" rtl="0" eaLnBrk="1" fontAlgn="auto" latinLnBrk="0" hangingPunct="1">
              <a:lnSpc>
                <a:spcPct val="100000"/>
              </a:lnSpc>
              <a:spcBef>
                <a:spcPts val="0"/>
              </a:spcBef>
              <a:spcAft>
                <a:spcPts val="600"/>
              </a:spcAft>
              <a:buClrTx/>
              <a:buSzTx/>
              <a:tabLst/>
              <a:defRPr/>
            </a:pPr>
            <a:r>
              <a:rPr kumimoji="0" lang="en-US" sz="2000" b="0" i="0" u="none" strike="noStrike" kern="1200" cap="none" spc="0" normalizeH="0" baseline="0" noProof="0" dirty="0">
                <a:ln>
                  <a:noFill/>
                </a:ln>
                <a:effectLst/>
                <a:uLnTx/>
                <a:uFillTx/>
                <a:ea typeface="+mn-ea"/>
                <a:cs typeface="Segoe UI" panose="020B0502040204020203" pitchFamily="34" charset="0"/>
              </a:rPr>
              <a:t>Accelerate development of pitchbooks and materials for capital raises, mergers, and acquisitions.</a:t>
            </a:r>
          </a:p>
          <a:p>
            <a:pPr defTabSz="984978">
              <a:defRPr/>
            </a:pPr>
            <a:endParaRPr lang="en-US" sz="1900" b="1" dirty="0">
              <a:solidFill>
                <a:prstClr val="black"/>
              </a:solidFill>
              <a:cs typeface="Segoe UI" panose="020B0502040204020203" pitchFamily="34" charset="0"/>
            </a:endParaRPr>
          </a:p>
          <a:p>
            <a:pPr defTabSz="984978">
              <a:defRPr/>
            </a:pPr>
            <a:r>
              <a:rPr lang="en-US" sz="1900" b="1" dirty="0">
                <a:solidFill>
                  <a:prstClr val="black"/>
                </a:solidFill>
                <a:cs typeface="Segoe UI" panose="020B0502040204020203" pitchFamily="34" charset="0"/>
              </a:rPr>
              <a:t>Moody’s</a:t>
            </a:r>
          </a:p>
          <a:p>
            <a:pPr defTabSz="984978">
              <a:defRPr/>
            </a:pPr>
            <a:r>
              <a:rPr lang="en-US" sz="1900" b="1" dirty="0">
                <a:solidFill>
                  <a:prstClr val="black"/>
                </a:solidFill>
                <a:cs typeface="Segoe UI" panose="020B0502040204020203" pitchFamily="34" charset="0"/>
              </a:rPr>
              <a:t>LSEG</a:t>
            </a:r>
          </a:p>
          <a:p>
            <a:pPr defTabSz="984978">
              <a:defRPr/>
            </a:pPr>
            <a:r>
              <a:rPr lang="en-US" sz="1900" b="1" dirty="0" err="1">
                <a:solidFill>
                  <a:prstClr val="black"/>
                </a:solidFill>
                <a:cs typeface="Segoe UI" panose="020B0502040204020203" pitchFamily="34" charset="0"/>
              </a:rPr>
              <a:t>Akbank</a:t>
            </a:r>
            <a:endParaRPr lang="en-US" sz="1900" b="1" dirty="0">
              <a:solidFill>
                <a:prstClr val="black"/>
              </a:solidFill>
              <a:cs typeface="Segoe UI" panose="020B0502040204020203" pitchFamily="34" charset="0"/>
            </a:endParaRPr>
          </a:p>
          <a:p>
            <a:pPr defTabSz="984978">
              <a:defRPr/>
            </a:pPr>
            <a:r>
              <a:rPr lang="en-US" sz="1900" b="1" dirty="0" err="1">
                <a:solidFill>
                  <a:prstClr val="black"/>
                </a:solidFill>
                <a:cs typeface="Segoe UI" panose="020B0502040204020203" pitchFamily="34" charset="0"/>
              </a:rPr>
              <a:t>Ceska</a:t>
            </a:r>
            <a:r>
              <a:rPr lang="en-US" sz="1900" b="1" dirty="0">
                <a:solidFill>
                  <a:prstClr val="black"/>
                </a:solidFill>
                <a:cs typeface="Segoe UI" panose="020B0502040204020203" pitchFamily="34" charset="0"/>
              </a:rPr>
              <a:t> </a:t>
            </a:r>
            <a:r>
              <a:rPr lang="en-US" sz="1900" b="1" dirty="0" err="1">
                <a:solidFill>
                  <a:prstClr val="black"/>
                </a:solidFill>
                <a:cs typeface="Segoe UI" panose="020B0502040204020203" pitchFamily="34" charset="0"/>
              </a:rPr>
              <a:t>Sporitelna</a:t>
            </a:r>
            <a:endParaRPr lang="en-US" sz="1900" b="1" dirty="0">
              <a:solidFill>
                <a:prstClr val="black"/>
              </a:solidFill>
              <a:cs typeface="Segoe UI" panose="020B0502040204020203" pitchFamily="34" charset="0"/>
            </a:endParaRPr>
          </a:p>
          <a:p>
            <a:pPr defTabSz="984978">
              <a:defRPr/>
            </a:pPr>
            <a:r>
              <a:rPr lang="en-US" sz="1900" b="1" dirty="0">
                <a:solidFill>
                  <a:prstClr val="black"/>
                </a:solidFill>
                <a:cs typeface="Segoe UI" panose="020B0502040204020203" pitchFamily="34" charset="0"/>
              </a:rPr>
              <a:t>Symphony AI – Financial Crime &amp; regulatory compliance </a:t>
            </a:r>
          </a:p>
          <a:p>
            <a:pPr defTabSz="984978">
              <a:defRPr/>
            </a:pPr>
            <a:r>
              <a:rPr lang="en-US" sz="1900" b="1" dirty="0">
                <a:solidFill>
                  <a:prstClr val="black"/>
                </a:solidFill>
                <a:cs typeface="Segoe UI" panose="020B0502040204020203" pitchFamily="34" charset="0"/>
              </a:rPr>
              <a:t>Progressive virtual agent</a:t>
            </a:r>
          </a:p>
          <a:p>
            <a:pPr defTabSz="984978">
              <a:defRPr/>
            </a:pPr>
            <a:r>
              <a:rPr lang="en-US" sz="1900" b="1" dirty="0">
                <a:solidFill>
                  <a:prstClr val="black"/>
                </a:solidFill>
                <a:cs typeface="Segoe UI" panose="020B0502040204020203" pitchFamily="34" charset="0"/>
              </a:rPr>
              <a:t>John Hancock freeing call center capacity</a:t>
            </a:r>
          </a:p>
          <a:p>
            <a:pPr defTabSz="984978">
              <a:defRPr/>
            </a:pPr>
            <a:r>
              <a:rPr lang="en-US" sz="1900" b="1" dirty="0">
                <a:solidFill>
                  <a:prstClr val="black"/>
                </a:solidFill>
                <a:cs typeface="Segoe UI" panose="020B0502040204020203" pitchFamily="34" charset="0"/>
              </a:rPr>
              <a:t>H&amp;R Block for call center &amp; internal documentation</a:t>
            </a:r>
          </a:p>
        </p:txBody>
      </p:sp>
      <p:sp>
        <p:nvSpPr>
          <p:cNvPr id="4" name="Header Placeholder 3"/>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0/16/2024 1:36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81065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1650" y="866775"/>
            <a:ext cx="6797675" cy="3824288"/>
          </a:xfrm>
        </p:spPr>
      </p:sp>
      <p:sp>
        <p:nvSpPr>
          <p:cNvPr id="3" name="Notes Placeholder 2"/>
          <p:cNvSpPr>
            <a:spLocks noGrp="1"/>
          </p:cNvSpPr>
          <p:nvPr>
            <p:ph type="body" idx="1"/>
          </p:nvPr>
        </p:nvSpPr>
        <p:spPr/>
        <p:txBody>
          <a:bodyPr/>
          <a:lstStyle/>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a:t>Now another industry that is rapidly transforming is retail.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a:t>We are seeing Generative AI create new shopping experiences like the nano stores from </a:t>
            </a:r>
            <a:r>
              <a:rPr lang="en-US" sz="3200" dirty="0" err="1"/>
              <a:t>Zabka</a:t>
            </a:r>
            <a:r>
              <a:rPr lang="en-US" sz="3200" dirty="0"/>
              <a:t> in Poland; empowering store </a:t>
            </a:r>
            <a:r>
              <a:rPr lang="en-US" sz="3200" dirty="0" err="1"/>
              <a:t>associats</a:t>
            </a:r>
            <a:r>
              <a:rPr lang="en-US" sz="3200" dirty="0"/>
              <a:t> with faster, more contextual data at their fingertips or personalizing &amp; transforming e-commerce with shopping assistants that are helping Carrefour customers plan their meals more effectively &amp; immediately order what they need.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a:t>But one example a customer that is truly transforming with Gen AI is Walmart – the world’s largest retailer.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err="1"/>
              <a:t>Zabko</a:t>
            </a:r>
            <a:r>
              <a:rPr lang="en-US" sz="3200" dirty="0"/>
              <a:t> – AI Nano Stores &amp; connected to Gen AI Ecommerce experience</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a:t>Walmart – empowering Back-office, Associates &amp; Partners with Generative AI to optimize end to end shopping experience</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a:t>Transforming e-commerce – Allegro </a:t>
            </a:r>
            <a:r>
              <a:rPr lang="en-US" sz="3200" dirty="0" err="1"/>
              <a:t>GenAI</a:t>
            </a:r>
            <a:r>
              <a:rPr lang="en-US" sz="3200" dirty="0"/>
              <a:t> infused in online marketplace, </a:t>
            </a:r>
            <a:r>
              <a:rPr lang="en-US" sz="3200" dirty="0" err="1"/>
              <a:t>Carefour</a:t>
            </a:r>
            <a:r>
              <a:rPr lang="en-US" sz="3200" dirty="0"/>
              <a:t> &amp; other grocers transforming grocery &amp; recipe building experience</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dirty="0" err="1"/>
              <a:t>Carmax</a:t>
            </a:r>
            <a:r>
              <a:rPr lang="en-US" sz="3200" dirty="0"/>
              <a:t> – generating content, product reviews, etc.</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algn="l"/>
            <a:endParaRPr lang="en-US" sz="3200" b="0" i="0" dirty="0">
              <a:solidFill>
                <a:srgbClr val="2F2F2F"/>
              </a:solidFill>
              <a:effectLst/>
              <a:latin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3200" dirty="0">
              <a:solidFill>
                <a:prstClr val="black"/>
              </a:solidFill>
              <a:cs typeface="Segoe UI" panose="020B0502040204020203" pitchFamily="34" charset="0"/>
            </a:endParaRPr>
          </a:p>
          <a:p>
            <a:pPr marL="342900" marR="0" lvl="0" indent="-342900" algn="l" defTabSz="984978"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900" dirty="0">
              <a:solidFill>
                <a:prstClr val="black"/>
              </a:solidFill>
              <a:cs typeface="Segoe UI" panose="020B0502040204020203" pitchFamily="34" charset="0"/>
            </a:endParaRPr>
          </a:p>
          <a:p>
            <a:pPr defTabSz="984978">
              <a:defRPr/>
            </a:pPr>
            <a:endParaRPr lang="en-US" sz="1900" b="1" dirty="0">
              <a:solidFill>
                <a:prstClr val="black"/>
              </a:solidFill>
              <a:cs typeface="Segoe UI" panose="020B0502040204020203" pitchFamily="34" charset="0"/>
            </a:endParaRPr>
          </a:p>
          <a:p>
            <a:pPr defTabSz="947536">
              <a:spcBef>
                <a:spcPts val="622"/>
              </a:spcBef>
              <a:buSzPct val="90000"/>
              <a:defRPr/>
            </a:pPr>
            <a:endParaRPr lang="en-US" sz="1700" dirty="0">
              <a:solidFill>
                <a:srgbClr val="FF0000"/>
              </a:solidFill>
            </a:endParaRPr>
          </a:p>
        </p:txBody>
      </p:sp>
      <p:sp>
        <p:nvSpPr>
          <p:cNvPr id="4" name="Header Placeholder 3"/>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0/16/2024 1:36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8880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1650" y="866775"/>
            <a:ext cx="6797675" cy="3824288"/>
          </a:xfrm>
        </p:spPr>
      </p:sp>
      <p:sp>
        <p:nvSpPr>
          <p:cNvPr id="3" name="Notes Placeholder 2"/>
          <p:cNvSpPr>
            <a:spLocks noGrp="1"/>
          </p:cNvSpPr>
          <p:nvPr>
            <p:ph type="body" idx="1"/>
          </p:nvPr>
        </p:nvSpPr>
        <p:spPr/>
        <p:txBody>
          <a:bodyPr/>
          <a:lstStyle/>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3200" b="0" dirty="0">
                <a:solidFill>
                  <a:prstClr val="black"/>
                </a:solidFill>
                <a:cs typeface="Segoe UI" panose="020B0502040204020203" pitchFamily="34" charset="0"/>
              </a:rPr>
              <a:t>Now let’s switch gears a bit to the government sector. And this is an area where in our region we have seen the most transformation. Across Europe &amp; Middle East, governments are racing to transform citizen services across federal governments &amp; </a:t>
            </a:r>
            <a:r>
              <a:rPr lang="en-US" sz="3200" b="0" dirty="0" err="1">
                <a:solidFill>
                  <a:prstClr val="black"/>
                </a:solidFill>
                <a:cs typeface="Segoe UI" panose="020B0502040204020203" pitchFamily="34" charset="0"/>
              </a:rPr>
              <a:t>ministires</a:t>
            </a:r>
            <a:r>
              <a:rPr lang="en-US" sz="3200" b="0" dirty="0">
                <a:solidFill>
                  <a:prstClr val="black"/>
                </a:solidFill>
                <a:cs typeface="Segoe UI" panose="020B0502040204020203" pitchFamily="34" charset="0"/>
              </a:rPr>
              <a:t>. In Greece, they have recently launched a Gen AI bot in Greek language that can support 4000 citizen services from renewing your drivers license to getting permits all through natural language in Greek. Albania has done the same. Transportation </a:t>
            </a:r>
            <a:r>
              <a:rPr lang="en-US" sz="3200" b="0" dirty="0" err="1">
                <a:solidFill>
                  <a:prstClr val="black"/>
                </a:solidFill>
                <a:cs typeface="Segoe UI" panose="020B0502040204020203" pitchFamily="34" charset="0"/>
              </a:rPr>
              <a:t>ministires</a:t>
            </a:r>
            <a:r>
              <a:rPr lang="en-US" sz="3200" b="0" dirty="0">
                <a:solidFill>
                  <a:prstClr val="black"/>
                </a:solidFill>
                <a:cs typeface="Segoe UI" panose="020B0502040204020203" pitchFamily="34" charset="0"/>
              </a:rPr>
              <a:t>, Ministries of </a:t>
            </a:r>
            <a:r>
              <a:rPr lang="en-US" sz="3200" b="0" dirty="0" err="1">
                <a:solidFill>
                  <a:prstClr val="black"/>
                </a:solidFill>
                <a:cs typeface="Segoe UI" panose="020B0502040204020203" pitchFamily="34" charset="0"/>
              </a:rPr>
              <a:t>Labour</a:t>
            </a:r>
            <a:r>
              <a:rPr lang="en-US" sz="3200" b="0" dirty="0">
                <a:solidFill>
                  <a:prstClr val="black"/>
                </a:solidFill>
                <a:cs typeface="Segoe UI" panose="020B0502040204020203" pitchFamily="34" charset="0"/>
              </a:rPr>
              <a:t>, of Tax and much more are looking for ways to optimize their processes &amp; ultimately service their citizens faster, more efficiently &amp; with less friction.</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dirty="0">
              <a:solidFill>
                <a:srgbClr val="FF0000"/>
              </a:solidFill>
              <a:cs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dirty="0">
                <a:solidFill>
                  <a:srgbClr val="FF0000"/>
                </a:solidFill>
                <a:cs typeface="Segoe UI" panose="020B0502040204020203" pitchFamily="34" charset="0"/>
              </a:rPr>
              <a:t>We are seeing transformation in Military &amp; Defense Operations, while the opportunities here are endless from the front lines to the control room; one interesting example I’ve seen is one of the </a:t>
            </a:r>
            <a:r>
              <a:rPr lang="en-US" sz="1700" b="0" dirty="0" err="1">
                <a:solidFill>
                  <a:srgbClr val="FF0000"/>
                </a:solidFill>
                <a:cs typeface="Segoe UI" panose="020B0502040204020203" pitchFamily="34" charset="0"/>
              </a:rPr>
              <a:t>Ministires</a:t>
            </a:r>
            <a:r>
              <a:rPr lang="en-US" sz="1700" b="0" dirty="0">
                <a:solidFill>
                  <a:srgbClr val="FF0000"/>
                </a:solidFill>
                <a:cs typeface="Segoe UI" panose="020B0502040204020203" pitchFamily="34" charset="0"/>
              </a:rPr>
              <a:t> of </a:t>
            </a:r>
            <a:r>
              <a:rPr lang="en-US" sz="1700" b="0" dirty="0" err="1">
                <a:solidFill>
                  <a:srgbClr val="FF0000"/>
                </a:solidFill>
                <a:cs typeface="Segoe UI" panose="020B0502040204020203" pitchFamily="34" charset="0"/>
              </a:rPr>
              <a:t>Defence</a:t>
            </a:r>
            <a:r>
              <a:rPr lang="en-US" sz="1700" b="0" dirty="0">
                <a:solidFill>
                  <a:srgbClr val="FF0000"/>
                </a:solidFill>
                <a:cs typeface="Segoe UI" panose="020B0502040204020203" pitchFamily="34" charset="0"/>
              </a:rPr>
              <a:t> using Gen AI to comb through thousands of NATO documents, translate in local language &amp; empower their intelligence officers with guidance &amp; directives at their fingertips – work that would have taken months to do with significant resources. </a:t>
            </a: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700" b="0" dirty="0">
              <a:solidFill>
                <a:srgbClr val="FF0000"/>
              </a:solidFill>
              <a:cs typeface="Segoe UI" panose="020B0502040204020203" pitchFamily="34" charset="0"/>
            </a:endParaRPr>
          </a:p>
          <a:p>
            <a:pPr marL="0" marR="0" lvl="0" indent="0" algn="l" defTabSz="98497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700" b="0" dirty="0">
                <a:solidFill>
                  <a:srgbClr val="FF0000"/>
                </a:solidFill>
                <a:cs typeface="Segoe UI" panose="020B0502040204020203" pitchFamily="34" charset="0"/>
              </a:rPr>
              <a:t>But perhaps the industry that is being transformed the most, the one that is near &amp; dear to my heart and to many of you parents out there is Education. I am seeing this every day with my 9 year olds, I am inspired by Ministries like those in UAE putting a personalized AI tutor in the hands of every student and by start-ups that are transforming both the learning and the teaching experience.</a:t>
            </a:r>
            <a:endParaRPr lang="en-US" sz="3200" b="0" dirty="0">
              <a:solidFill>
                <a:prstClr val="black"/>
              </a:solidFill>
              <a:cs typeface="Segoe UI" panose="020B0502040204020203" pitchFamily="34" charset="0"/>
            </a:endParaRPr>
          </a:p>
        </p:txBody>
      </p:sp>
      <p:sp>
        <p:nvSpPr>
          <p:cNvPr id="4" name="Header Placeholder 3"/>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22FA2CBF-EC70-4271-84FB-8F68075B0BEC}" type="datetime8">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0/16/2024 1:36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59536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kern="100">
                <a:effectLst/>
                <a:latin typeface="Segoe UI" panose="020B0502040204020203" pitchFamily="34" charset="0"/>
                <a:ea typeface="Calibri" panose="020F0502020204030204" pitchFamily="34" charset="0"/>
                <a:cs typeface="Times New Roman" panose="02020603050405020304" pitchFamily="18" charset="0"/>
              </a:rPr>
              <a:t>Our goal is to enable this AI transformation, these 3 imperatives and have embedded them across our Microsoft Cloud Solutions that many of our customers are already using today – helping everyone</a:t>
            </a:r>
            <a:r>
              <a:rPr lang="en-US" sz="1200">
                <a:effectLst/>
                <a:latin typeface="Segoe UI Semilight" panose="020B0402040204020203" pitchFamily="34" charset="0"/>
                <a:ea typeface="Calibri" panose="020F0502020204030204" pitchFamily="34" charset="0"/>
              </a:rPr>
              <a:t> helping everyone be more productive, more creative, more efficient, and more innovative with Microsoft Copilot across every Microsoft Cloud experience.</a:t>
            </a:r>
          </a:p>
          <a:p>
            <a:pPr marL="0" marR="0">
              <a:lnSpc>
                <a:spcPct val="107000"/>
              </a:lnSpc>
              <a:spcBef>
                <a:spcPts val="0"/>
              </a:spcBef>
              <a:spcAft>
                <a:spcPts val="800"/>
              </a:spcAft>
            </a:pPr>
            <a:endParaRPr lang="en-US" sz="1200">
              <a:effectLst/>
              <a:latin typeface="Segoe UI Semilight" panose="020B0402040204020203" pitchFamily="34" charset="0"/>
              <a:ea typeface="Calibri" panose="020F0502020204030204" pitchFamily="34" charset="0"/>
            </a:endParaRPr>
          </a:p>
          <a:p>
            <a:pPr marL="0" marR="0">
              <a:lnSpc>
                <a:spcPct val="107000"/>
              </a:lnSpc>
              <a:spcBef>
                <a:spcPts val="0"/>
              </a:spcBef>
              <a:spcAft>
                <a:spcPts val="800"/>
              </a:spcAft>
            </a:pPr>
            <a:r>
              <a:rPr lang="en-US" sz="1200">
                <a:effectLst/>
                <a:latin typeface="Segoe UI Semilight" panose="020B0402040204020203" pitchFamily="34" charset="0"/>
                <a:ea typeface="Calibri" panose="020F0502020204030204" pitchFamily="34" charset="0"/>
              </a:rPr>
              <a:t>But we recognize that organizations have their own unique IP, data &amp; applications and building or extending AI capabilities in new and existing apps using the same open ecosystem stack and AI services Microsoft used to build our own copilots.</a:t>
            </a:r>
          </a:p>
          <a:p>
            <a:pPr marL="0" marR="0">
              <a:lnSpc>
                <a:spcPct val="107000"/>
              </a:lnSpc>
              <a:spcBef>
                <a:spcPts val="0"/>
              </a:spcBef>
              <a:spcAft>
                <a:spcPts val="800"/>
              </a:spcAft>
            </a:pPr>
            <a:endParaRPr lang="en-US" sz="1200">
              <a:effectLst/>
              <a:latin typeface="Segoe UI Semilight" panose="020B0402040204020203" pitchFamily="34" charset="0"/>
              <a:ea typeface="Calibri" panose="020F0502020204030204" pitchFamily="34" charset="0"/>
            </a:endParaRPr>
          </a:p>
          <a:p>
            <a:pPr marL="0" marR="0">
              <a:lnSpc>
                <a:spcPct val="107000"/>
              </a:lnSpc>
              <a:spcBef>
                <a:spcPts val="0"/>
              </a:spcBef>
              <a:spcAft>
                <a:spcPts val="800"/>
              </a:spcAft>
            </a:pPr>
            <a:r>
              <a:rPr lang="en-US" sz="1200">
                <a:effectLst/>
                <a:latin typeface="Segoe UI Semilight" panose="020B0402040204020203" pitchFamily="34" charset="0"/>
                <a:ea typeface="Calibri" panose="020F0502020204030204" pitchFamily="34" charset="0"/>
              </a:rPr>
              <a:t>And of course we want to help co-innovate with you on a foundation of trust. </a:t>
            </a:r>
            <a:endParaRPr lang="en-US" sz="1200" kern="0">
              <a:effectLst/>
              <a:latin typeface="Segoe UI Semilight" panose="020B0402040204020203" pitchFamily="34" charset="0"/>
              <a:ea typeface="Calibri" panose="020F0502020204030204" pitchFamily="34" charset="0"/>
            </a:endParaRPr>
          </a:p>
          <a:p>
            <a:pPr marL="0" marR="0">
              <a:lnSpc>
                <a:spcPct val="107000"/>
              </a:lnSpc>
              <a:spcBef>
                <a:spcPts val="0"/>
              </a:spcBef>
              <a:spcAft>
                <a:spcPts val="800"/>
              </a:spcAft>
            </a:pPr>
            <a:endParaRPr lang="en-US" sz="1200">
              <a:effectLst/>
              <a:latin typeface="Segoe UI Semilight" panose="020B0402040204020203" pitchFamily="34" charset="0"/>
              <a:ea typeface="Calibri" panose="020F0502020204030204" pitchFamily="34" charset="0"/>
            </a:endParaRPr>
          </a:p>
          <a:p>
            <a:pPr marL="0" marR="0">
              <a:lnSpc>
                <a:spcPct val="107000"/>
              </a:lnSpc>
              <a:spcBef>
                <a:spcPts val="0"/>
              </a:spcBef>
              <a:spcAft>
                <a:spcPts val="800"/>
              </a:spcAft>
            </a:pPr>
            <a:r>
              <a:rPr lang="en-US" sz="1200">
                <a:effectLst/>
                <a:latin typeface="Segoe UI Semilight" panose="020B0402040204020203" pitchFamily="34" charset="0"/>
                <a:ea typeface="Calibri" panose="020F0502020204030204" pitchFamily="34" charset="0"/>
              </a:rPr>
              <a:t>Let’s talk about Copilot first, let’s roll the vide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4FA45C-F2C7-4866-8759-2536AE06E5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98058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66612" rtl="0" eaLnBrk="1" fontAlgn="auto" latinLnBrk="0" hangingPunct="1">
              <a:lnSpc>
                <a:spcPct val="100000"/>
              </a:lnSpc>
              <a:spcBef>
                <a:spcPts val="0"/>
              </a:spcBef>
              <a:spcAft>
                <a:spcPts val="0"/>
              </a:spcAft>
              <a:buClrTx/>
              <a:buSzTx/>
              <a:buFontTx/>
              <a:buNone/>
              <a:tabLst/>
              <a:defRPr/>
            </a:pPr>
            <a:r>
              <a:rPr lang="en-US" dirty="0"/>
              <a:t>And the productivity gains we have seen after the first year are significant…</a:t>
            </a:r>
          </a:p>
          <a:p>
            <a:pPr marL="171450" marR="0" lvl="0" indent="-171450" algn="l" defTabSz="966612" rtl="0" eaLnBrk="1" fontAlgn="auto" latinLnBrk="0" hangingPunct="1">
              <a:lnSpc>
                <a:spcPct val="100000"/>
              </a:lnSpc>
              <a:spcBef>
                <a:spcPts val="0"/>
              </a:spcBef>
              <a:spcAft>
                <a:spcPts val="0"/>
              </a:spcAft>
              <a:buClrTx/>
              <a:buSzTx/>
              <a:buFontTx/>
              <a:buChar char="-"/>
              <a:tabLst/>
              <a:defRPr/>
            </a:pPr>
            <a:r>
              <a:rPr lang="en-US" dirty="0"/>
              <a:t>Software </a:t>
            </a:r>
            <a:r>
              <a:rPr lang="en-US" dirty="0" err="1"/>
              <a:t>develoeprs</a:t>
            </a:r>
            <a:r>
              <a:rPr lang="en-US" dirty="0"/>
              <a:t> code 55% faster and are 70% happier with their work</a:t>
            </a:r>
          </a:p>
          <a:p>
            <a:pPr marL="171450" marR="0" lvl="0" indent="-171450" algn="l" defTabSz="966612" rtl="0" eaLnBrk="1" fontAlgn="auto" latinLnBrk="0" hangingPunct="1">
              <a:lnSpc>
                <a:spcPct val="100000"/>
              </a:lnSpc>
              <a:spcBef>
                <a:spcPts val="0"/>
              </a:spcBef>
              <a:spcAft>
                <a:spcPts val="0"/>
              </a:spcAft>
              <a:buClrTx/>
              <a:buSzTx/>
              <a:buFontTx/>
              <a:buChar char="-"/>
              <a:tabLst/>
              <a:defRPr/>
            </a:pPr>
            <a:r>
              <a:rPr lang="en-US" dirty="0"/>
              <a:t>Knowledge workers complete tasks 37% faster</a:t>
            </a:r>
          </a:p>
          <a:p>
            <a:pPr marL="171450" marR="0" lvl="0" indent="-171450" algn="l" defTabSz="966612" rtl="0" eaLnBrk="1" fontAlgn="auto" latinLnBrk="0" hangingPunct="1">
              <a:lnSpc>
                <a:spcPct val="100000"/>
              </a:lnSpc>
              <a:spcBef>
                <a:spcPts val="0"/>
              </a:spcBef>
              <a:spcAft>
                <a:spcPts val="0"/>
              </a:spcAft>
              <a:buClrTx/>
              <a:buSzTx/>
              <a:buFontTx/>
              <a:buChar char="-"/>
              <a:tabLst/>
              <a:defRPr/>
            </a:pPr>
            <a:r>
              <a:rPr lang="en-US" dirty="0" err="1"/>
              <a:t>Marketrs</a:t>
            </a:r>
            <a:r>
              <a:rPr lang="en-US" dirty="0"/>
              <a:t> say its saving them 67% of time and 50% say it improves their quality of work</a:t>
            </a:r>
          </a:p>
          <a:p>
            <a:pPr marL="171450" marR="0" lvl="0" indent="-171450" algn="l" defTabSz="966612" rtl="0" eaLnBrk="1" fontAlgn="auto" latinLnBrk="0" hangingPunct="1">
              <a:lnSpc>
                <a:spcPct val="100000"/>
              </a:lnSpc>
              <a:spcBef>
                <a:spcPts val="0"/>
              </a:spcBef>
              <a:spcAft>
                <a:spcPts val="0"/>
              </a:spcAft>
              <a:buClrTx/>
              <a:buSzTx/>
              <a:buFontTx/>
              <a:buChar char="-"/>
              <a:tabLst/>
              <a:defRPr/>
            </a:pPr>
            <a:r>
              <a:rPr lang="en-US" dirty="0"/>
              <a:t>Customer Service reps resolve 14% more customer issues per hour</a:t>
            </a:r>
          </a:p>
          <a:p>
            <a:pPr marL="171450" marR="0" lvl="0" indent="-171450" algn="l" defTabSz="966612" rtl="0" eaLnBrk="1" fontAlgn="auto" latinLnBrk="0" hangingPunct="1">
              <a:lnSpc>
                <a:spcPct val="100000"/>
              </a:lnSpc>
              <a:spcBef>
                <a:spcPts val="0"/>
              </a:spcBef>
              <a:spcAft>
                <a:spcPts val="0"/>
              </a:spcAft>
              <a:buClrTx/>
              <a:buSzTx/>
              <a:buFontTx/>
              <a:buChar char="-"/>
              <a:tabLst/>
              <a:defRPr/>
            </a:pPr>
            <a:r>
              <a:rPr lang="en-US" dirty="0"/>
              <a:t>And more…</a:t>
            </a:r>
          </a:p>
          <a:p>
            <a:pPr defTabSz="966612">
              <a:defRPr/>
            </a:pPr>
            <a:endParaRPr lang="en-US" dirty="0"/>
          </a:p>
        </p:txBody>
      </p:sp>
      <p:sp>
        <p:nvSpPr>
          <p:cNvPr id="4" name="Header Placeholder 3"/>
          <p:cNvSpPr>
            <a:spLocks noGrp="1"/>
          </p:cNvSpPr>
          <p:nvPr>
            <p:ph type="hdr" sz="quarter"/>
          </p:nvPr>
        </p:nvSpPr>
        <p:spPr/>
        <p:txBody>
          <a:bodyPr/>
          <a:lstStyle/>
          <a:p>
            <a:pPr marL="0" marR="0" lvl="0" indent="0" algn="l" defTabSz="96657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47645"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7A45C5EE-CC90-C840-AAF8-84F98101312C}" type="datetime8">
              <a:rPr kumimoji="0" lang="en-CA"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2024-10-16 1:36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6657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6577"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628297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12.jpe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59.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 Id="rId4" Type="http://schemas.openxmlformats.org/officeDocument/2006/relationships/image" Target="../media/image12.jpe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3.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 Id="rId4" Type="http://schemas.openxmlformats.org/officeDocument/2006/relationships/image" Target="../media/image18.jpe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3.xml"/><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3.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46.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3.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3.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1.svg"/><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customers.microsoft.com/en-US/story/822470-ministry-of-finance-poland" TargetMode="External"/><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30.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59.emf"/></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4.xml"/><Relationship Id="rId4" Type="http://schemas.openxmlformats.org/officeDocument/2006/relationships/image" Target="../media/image12.jpe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4.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4.xml"/><Relationship Id="rId4" Type="http://schemas.openxmlformats.org/officeDocument/2006/relationships/image" Target="../media/image18.jpeg"/></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4.xml"/><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4.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4" Type="http://schemas.openxmlformats.org/officeDocument/2006/relationships/image" Target="../media/image46.jpe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4.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4.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7.sv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customers.microsoft.com/en-US/story/822470-ministry-of-finance-poland" TargetMode="External"/><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Master" Target="../slideMasters/slideMaster4.xml"/><Relationship Id="rId4" Type="http://schemas.microsoft.com/office/2007/relationships/hdphoto" Target="../media/hdphoto2.wdp"/></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5.xml"/><Relationship Id="rId4" Type="http://schemas.microsoft.com/office/2007/relationships/hdphoto" Target="../media/hdphoto3.wdp"/></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275.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8.jpeg"/></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0.png"/><Relationship Id="rId1" Type="http://schemas.openxmlformats.org/officeDocument/2006/relationships/slideMaster" Target="../slideMasters/slideMaster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8.jpeg"/><Relationship Id="rId1" Type="http://schemas.openxmlformats.org/officeDocument/2006/relationships/slideMaster" Target="../slideMasters/slideMaster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5" Type="http://schemas.openxmlformats.org/officeDocument/2006/relationships/image" Target="../media/image22.jpeg"/><Relationship Id="rId4" Type="http://schemas.openxmlformats.org/officeDocument/2006/relationships/image" Target="../media/image21.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23.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12.jpe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6.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18.jpeg"/></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6.xml"/><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6.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6.xml"/><Relationship Id="rId4" Type="http://schemas.openxmlformats.org/officeDocument/2006/relationships/image" Target="../media/image46.jpe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6.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6.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6.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png"/><Relationship Id="rId1" Type="http://schemas.openxmlformats.org/officeDocument/2006/relationships/slideMaster" Target="../slideMasters/slideMaster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6.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6.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xml"/><Relationship Id="rId5" Type="http://schemas.openxmlformats.org/officeDocument/2006/relationships/image" Target="../media/image34.jpeg"/><Relationship Id="rId4" Type="http://schemas.openxmlformats.org/officeDocument/2006/relationships/image" Target="../media/image33.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Master" Target="../slideMasters/slideMaster1.xml"/><Relationship Id="rId5" Type="http://schemas.openxmlformats.org/officeDocument/2006/relationships/image" Target="../media/image38.jpeg"/><Relationship Id="rId4" Type="http://schemas.openxmlformats.org/officeDocument/2006/relationships/image" Target="../media/image37.jpe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Master" Target="../slideMasters/slideMaster1.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xml"/><Relationship Id="rId4" Type="http://schemas.openxmlformats.org/officeDocument/2006/relationships/image" Target="../media/image46.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Master" Target="../slideMasters/slideMaster1.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Master" Target="../slideMasters/slideMaster1.xml"/><Relationship Id="rId6" Type="http://schemas.openxmlformats.org/officeDocument/2006/relationships/image" Target="../media/image52.jpeg"/><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1.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2.xml"/><Relationship Id="rId5" Type="http://schemas.openxmlformats.org/officeDocument/2006/relationships/image" Target="../media/image58.svg"/><Relationship Id="rId4" Type="http://schemas.openxmlformats.org/officeDocument/2006/relationships/image" Target="../media/image5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6.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3"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5200426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30830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188976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308349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9155615"/>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22995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971311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9846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30000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88576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258119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078035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883770"/>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5093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77925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eloper Code Layou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8871522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de Bottom">
    <p:bg>
      <p:bgPr>
        <a:solidFill>
          <a:schemeClr val="bg2"/>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06270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Code Top">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534976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Code Right s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516639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ode Left sde">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56243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B9DCD2"/>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617233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emo slide 2">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396621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rgbClr val="B9DCD2"/>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936103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4526868"/>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028859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8123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39382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0726457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lack Notes slide Layout">
    <p:bg bwMode="gray">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7878252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a:p>
        </p:txBody>
      </p:sp>
      <p:sp>
        <p:nvSpPr>
          <p:cNvPr id="2" name="Footer Placeholder 1"/>
          <p:cNvSpPr>
            <a:spLocks noGrp="1"/>
          </p:cNvSpPr>
          <p:nvPr>
            <p:ph type="ftr" sz="quarter" idx="15"/>
          </p:nvPr>
        </p:nvSpPr>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5042463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MS logo gray - EMF" descr="Microsoft logo, gray text version">
            <a:extLst>
              <a:ext uri="{FF2B5EF4-FFF2-40B4-BE49-F238E27FC236}">
                <a16:creationId xmlns:a16="http://schemas.microsoft.com/office/drawing/2014/main" id="{2A68DA0C-4BC1-B932-6E68-32FC55AB43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2394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384957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800051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8F159AA3-9F9A-3933-A98D-6705DAE2E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507707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8059806"/>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42114947"/>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356978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651107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76038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047840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806431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3651537"/>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436935"/>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054723"/>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410664034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lang="en-US" sz="4000" b="1" kern="1200" cap="none" spc="-10" baseline="0" dirty="0" smtClean="0">
                <a:ln w="3175">
                  <a:noFill/>
                </a:ln>
                <a:gradFill>
                  <a:gsLst>
                    <a:gs pos="15000">
                      <a:srgbClr val="8DC8E8"/>
                    </a:gs>
                    <a:gs pos="85000">
                      <a:srgbClr val="D59ED7"/>
                    </a:gs>
                  </a:gsLst>
                  <a:lin ang="2700000" scaled="1"/>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49497906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4316003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579993-9DFE-9E51-5F87-FFE178529A6A}"/>
              </a:ext>
            </a:extLst>
          </p:cNvPr>
          <p:cNvGraphicFramePr>
            <a:graphicFrameLocks noChangeAspect="1"/>
          </p:cNvGraphicFramePr>
          <p:nvPr userDrawn="1">
            <p:custDataLst>
              <p:tags r:id="rId1"/>
            </p:custDataLst>
            <p:extLst>
              <p:ext uri="{D42A27DB-BD31-4B8C-83A1-F6EECF244321}">
                <p14:modId xmlns:p14="http://schemas.microsoft.com/office/powerpoint/2010/main" val="19389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1579993-9DFE-9E51-5F87-FFE178529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accent6">
                    <a:lumMod val="10000"/>
                  </a:schemeClr>
                </a:solidFill>
              </a:defRPr>
            </a:lvl1pPr>
          </a:lstStyle>
          <a:p>
            <a:r>
              <a:rPr lang="en-US"/>
              <a:t>Click to edit Master title style</a:t>
            </a:r>
          </a:p>
        </p:txBody>
      </p:sp>
    </p:spTree>
    <p:extLst>
      <p:ext uri="{BB962C8B-B14F-4D97-AF65-F5344CB8AC3E}">
        <p14:creationId xmlns:p14="http://schemas.microsoft.com/office/powerpoint/2010/main" val="173770030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lvl1pPr>
              <a:defRPr>
                <a:solidFill>
                  <a:schemeClr val="accent6">
                    <a:lumMod val="10000"/>
                  </a:schemeClr>
                </a:solidFill>
              </a:defRPr>
            </a:lvl1pPr>
          </a:lstStyle>
          <a:p>
            <a:r>
              <a:rPr lang="en-US"/>
              <a:t>Click to edit Master title style</a:t>
            </a:r>
          </a:p>
        </p:txBody>
      </p:sp>
    </p:spTree>
    <p:extLst>
      <p:ext uri="{BB962C8B-B14F-4D97-AF65-F5344CB8AC3E}">
        <p14:creationId xmlns:p14="http://schemas.microsoft.com/office/powerpoint/2010/main" val="56757395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Small title - half page">
    <p:bg>
      <p:bgPr>
        <a:solidFill>
          <a:srgbClr val="F7F7F8"/>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accent6">
                    <a:lumMod val="10000"/>
                  </a:schemeClr>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1274136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F0585F5-8D27-3E48-4C18-0164BE1821F6}"/>
              </a:ext>
            </a:extLst>
          </p:cNvPr>
          <p:cNvSpPr>
            <a:spLocks noGrp="1"/>
          </p:cNvSpPr>
          <p:nvPr>
            <p:ph type="pic" sz="quarter" idx="10"/>
          </p:nvPr>
        </p:nvSpPr>
        <p:spPr>
          <a:xfrm>
            <a:off x="7645400" y="492690"/>
            <a:ext cx="4546600" cy="5863838"/>
          </a:xfrm>
          <a:custGeom>
            <a:avLst/>
            <a:gdLst>
              <a:gd name="connsiteX0" fmla="*/ 128441 w 4546600"/>
              <a:gd name="connsiteY0" fmla="*/ 0 h 5863838"/>
              <a:gd name="connsiteX1" fmla="*/ 4546600 w 4546600"/>
              <a:gd name="connsiteY1" fmla="*/ 0 h 5863838"/>
              <a:gd name="connsiteX2" fmla="*/ 4546600 w 4546600"/>
              <a:gd name="connsiteY2" fmla="*/ 5863838 h 5863838"/>
              <a:gd name="connsiteX3" fmla="*/ 128441 w 4546600"/>
              <a:gd name="connsiteY3" fmla="*/ 5863838 h 5863838"/>
              <a:gd name="connsiteX4" fmla="*/ 0 w 4546600"/>
              <a:gd name="connsiteY4" fmla="*/ 5735397 h 5863838"/>
              <a:gd name="connsiteX5" fmla="*/ 0 w 4546600"/>
              <a:gd name="connsiteY5" fmla="*/ 128441 h 5863838"/>
              <a:gd name="connsiteX6" fmla="*/ 128441 w 4546600"/>
              <a:gd name="connsiteY6" fmla="*/ 0 h 586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6600" h="5863838">
                <a:moveTo>
                  <a:pt x="128441" y="0"/>
                </a:moveTo>
                <a:lnTo>
                  <a:pt x="4546600" y="0"/>
                </a:lnTo>
                <a:lnTo>
                  <a:pt x="4546600" y="5863838"/>
                </a:lnTo>
                <a:lnTo>
                  <a:pt x="128441" y="5863838"/>
                </a:lnTo>
                <a:cubicBezTo>
                  <a:pt x="57505" y="5863838"/>
                  <a:pt x="0" y="5806333"/>
                  <a:pt x="0" y="5735397"/>
                </a:cubicBezTo>
                <a:lnTo>
                  <a:pt x="0" y="128441"/>
                </a:lnTo>
                <a:cubicBezTo>
                  <a:pt x="0" y="57505"/>
                  <a:pt x="57505" y="0"/>
                  <a:pt x="128441" y="0"/>
                </a:cubicBezTo>
                <a:close/>
              </a:path>
            </a:pathLst>
          </a:custGeom>
        </p:spPr>
        <p:txBody>
          <a:bodyPr wrap="square">
            <a:noAutofit/>
          </a:bodyPr>
          <a:lstStyle/>
          <a:p>
            <a:endParaRPr lang="en-US"/>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5815284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6539699"/>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82026120"/>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2592710"/>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8869967"/>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42253065"/>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01571579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378391"/>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6128575"/>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7893440"/>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1395074"/>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4557443"/>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727607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5896878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9016791"/>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783027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1094218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203297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46875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080725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4152905"/>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155273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7752943"/>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2176884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14440759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149722008"/>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32016636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0351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7214331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9879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24686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DBCB178-E5CC-FFE7-4671-EB240CF39AA9}"/>
              </a:ext>
            </a:extLst>
          </p:cNvPr>
          <p:cNvSpPr>
            <a:spLocks noGrp="1"/>
          </p:cNvSpPr>
          <p:nvPr>
            <p:ph type="pic" sz="quarter" idx="10"/>
          </p:nvPr>
        </p:nvSpPr>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p:spPr>
        <p:txBody>
          <a:bodyPr wrap="square">
            <a:noAutofit/>
          </a:bodyPr>
          <a:lstStyle/>
          <a:p>
            <a:endParaRPr lang="en-US"/>
          </a:p>
        </p:txBody>
      </p:sp>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9" name="TextBox 8">
            <a:extLst>
              <a:ext uri="{FF2B5EF4-FFF2-40B4-BE49-F238E27FC236}">
                <a16:creationId xmlns:a16="http://schemas.microsoft.com/office/drawing/2014/main" id="{C22CE592-78FF-91E3-5A84-C1C4864D1BD1}"/>
              </a:ext>
            </a:extLst>
          </p:cNvPr>
          <p:cNvSpPr txBox="1"/>
          <p:nvPr userDrawn="1"/>
        </p:nvSpPr>
        <p:spPr>
          <a:xfrm>
            <a:off x="1815548" y="145774"/>
            <a:ext cx="3273287" cy="307777"/>
          </a:xfrm>
          <a:prstGeom prst="rect">
            <a:avLst/>
          </a:prstGeom>
          <a:noFill/>
        </p:spPr>
        <p:txBody>
          <a:bodyPr wrap="square" lIns="0" tIns="0" rIns="0" bIns="0" rtlCol="0">
            <a:spAutoFit/>
          </a:bodyPr>
          <a:lstStyle/>
          <a:p>
            <a:pPr algn="l"/>
            <a:r>
              <a:rPr lang="en-US" sz="2000"/>
              <a:t>Photo grab</a:t>
            </a:r>
          </a:p>
        </p:txBody>
      </p:sp>
    </p:spTree>
    <p:extLst>
      <p:ext uri="{BB962C8B-B14F-4D97-AF65-F5344CB8AC3E}">
        <p14:creationId xmlns:p14="http://schemas.microsoft.com/office/powerpoint/2010/main" val="101010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60130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8313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4688668-0419-8C87-DEF7-C0009D6BF681}"/>
              </a:ext>
            </a:extLst>
          </p:cNvPr>
          <p:cNvSpPr>
            <a:spLocks noGrp="1"/>
          </p:cNvSpPr>
          <p:nvPr>
            <p:ph type="pic" sz="quarter" idx="10"/>
          </p:nvPr>
        </p:nvSpPr>
        <p:spPr>
          <a:xfrm>
            <a:off x="584200" y="1123951"/>
            <a:ext cx="11022585" cy="4610101"/>
          </a:xfrm>
          <a:custGeom>
            <a:avLst/>
            <a:gdLst>
              <a:gd name="connsiteX0" fmla="*/ 115254 w 11022585"/>
              <a:gd name="connsiteY0" fmla="*/ 0 h 4610101"/>
              <a:gd name="connsiteX1" fmla="*/ 10907332 w 11022585"/>
              <a:gd name="connsiteY1" fmla="*/ 0 h 4610101"/>
              <a:gd name="connsiteX2" fmla="*/ 11022585 w 11022585"/>
              <a:gd name="connsiteY2" fmla="*/ 115253 h 4610101"/>
              <a:gd name="connsiteX3" fmla="*/ 11022585 w 11022585"/>
              <a:gd name="connsiteY3" fmla="*/ 4494848 h 4610101"/>
              <a:gd name="connsiteX4" fmla="*/ 10907332 w 11022585"/>
              <a:gd name="connsiteY4" fmla="*/ 4610101 h 4610101"/>
              <a:gd name="connsiteX5" fmla="*/ 115253 w 11022585"/>
              <a:gd name="connsiteY5" fmla="*/ 4610100 h 4610101"/>
              <a:gd name="connsiteX6" fmla="*/ 0 w 11022585"/>
              <a:gd name="connsiteY6" fmla="*/ 4494847 h 4610101"/>
              <a:gd name="connsiteX7" fmla="*/ 1 w 11022585"/>
              <a:gd name="connsiteY7" fmla="*/ 115253 h 4610101"/>
              <a:gd name="connsiteX8" fmla="*/ 115254 w 11022585"/>
              <a:gd name="connsiteY8" fmla="*/ 0 h 46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22585" h="4610101">
                <a:moveTo>
                  <a:pt x="115254" y="0"/>
                </a:moveTo>
                <a:lnTo>
                  <a:pt x="10907332" y="0"/>
                </a:lnTo>
                <a:cubicBezTo>
                  <a:pt x="10970984" y="0"/>
                  <a:pt x="11022585" y="51601"/>
                  <a:pt x="11022585" y="115253"/>
                </a:cubicBezTo>
                <a:lnTo>
                  <a:pt x="11022585" y="4494848"/>
                </a:lnTo>
                <a:cubicBezTo>
                  <a:pt x="11022585" y="4558500"/>
                  <a:pt x="10970984" y="4610101"/>
                  <a:pt x="10907332" y="4610101"/>
                </a:cubicBezTo>
                <a:cubicBezTo>
                  <a:pt x="7309972" y="4610101"/>
                  <a:pt x="3712613" y="4610100"/>
                  <a:pt x="115253" y="4610100"/>
                </a:cubicBezTo>
                <a:cubicBezTo>
                  <a:pt x="51601" y="4610100"/>
                  <a:pt x="0" y="4558499"/>
                  <a:pt x="0" y="4494847"/>
                </a:cubicBezTo>
                <a:lnTo>
                  <a:pt x="1" y="115253"/>
                </a:lnTo>
                <a:cubicBezTo>
                  <a:pt x="1" y="51601"/>
                  <a:pt x="51602" y="0"/>
                  <a:pt x="115254" y="0"/>
                </a:cubicBezTo>
                <a:close/>
              </a:path>
            </a:pathLst>
          </a:custGeom>
        </p:spPr>
        <p:txBody>
          <a:bodyPr wrap="square">
            <a:noAutofit/>
          </a:bodyPr>
          <a:lstStyle/>
          <a:p>
            <a:endParaRPr lang="en-US"/>
          </a:p>
        </p:txBody>
      </p:sp>
      <p:sp>
        <p:nvSpPr>
          <p:cNvPr id="7" name="TextBox 6">
            <a:extLst>
              <a:ext uri="{FF2B5EF4-FFF2-40B4-BE49-F238E27FC236}">
                <a16:creationId xmlns:a16="http://schemas.microsoft.com/office/drawing/2014/main" id="{A45AB3D2-F4EA-0C5F-6C46-7483CD851977}"/>
              </a:ext>
            </a:extLst>
          </p:cNvPr>
          <p:cNvSpPr txBox="1"/>
          <p:nvPr userDrawn="1"/>
        </p:nvSpPr>
        <p:spPr>
          <a:xfrm>
            <a:off x="3576577" y="173620"/>
            <a:ext cx="2422138" cy="307777"/>
          </a:xfrm>
          <a:prstGeom prst="rect">
            <a:avLst/>
          </a:prstGeom>
          <a:noFill/>
        </p:spPr>
        <p:txBody>
          <a:bodyPr wrap="none" lIns="0" tIns="0" rIns="0" bIns="0" rtlCol="0">
            <a:spAutoFit/>
          </a:bodyPr>
          <a:lstStyle/>
          <a:p>
            <a:pPr algn="l"/>
            <a:r>
              <a:rPr lang="en-US" sz="2000"/>
              <a:t>Picture background 2</a:t>
            </a:r>
          </a:p>
        </p:txBody>
      </p:sp>
    </p:spTree>
    <p:extLst>
      <p:ext uri="{BB962C8B-B14F-4D97-AF65-F5344CB8AC3E}">
        <p14:creationId xmlns:p14="http://schemas.microsoft.com/office/powerpoint/2010/main" val="83356085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78058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2756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34B8478-5EBD-6055-97DB-6DF250A9D6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463081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93957703"/>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Customer Stories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4337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972649"/>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492461"/>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3" name="Straight Connector 2">
            <a:extLst>
              <a:ext uri="{FF2B5EF4-FFF2-40B4-BE49-F238E27FC236}">
                <a16:creationId xmlns:a16="http://schemas.microsoft.com/office/drawing/2014/main" id="{944C1429-C176-2133-2618-F4C4271B50F2}"/>
              </a:ext>
            </a:extLst>
          </p:cNvPr>
          <p:cNvCxnSpPr>
            <a:cxnSpLocks/>
          </p:cNvCxnSpPr>
          <p:nvPr userDrawn="1"/>
        </p:nvCxnSpPr>
        <p:spPr>
          <a:xfrm>
            <a:off x="4614866" y="55325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4" name="Text Placeholder 16">
            <a:extLst>
              <a:ext uri="{FF2B5EF4-FFF2-40B4-BE49-F238E27FC236}">
                <a16:creationId xmlns:a16="http://schemas.microsoft.com/office/drawing/2014/main" id="{405AE6D6-9FEE-8F72-1F01-24A5051A28E0}"/>
              </a:ext>
            </a:extLst>
          </p:cNvPr>
          <p:cNvSpPr>
            <a:spLocks noGrp="1"/>
          </p:cNvSpPr>
          <p:nvPr>
            <p:ph type="body" sz="quarter" idx="18"/>
          </p:nvPr>
        </p:nvSpPr>
        <p:spPr>
          <a:xfrm>
            <a:off x="4614867" y="5693645"/>
            <a:ext cx="6988870" cy="606733"/>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2"/>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34780423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94394981"/>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34462251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ustomer Story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9806525-DE5C-2A73-FC52-B45FE5EDCFFC}"/>
              </a:ext>
              <a:ext uri="{C183D7F6-B498-43B3-948B-1728B52AA6E4}">
                <adec:decorative xmlns:adec="http://schemas.microsoft.com/office/drawing/2017/decorative" val="1"/>
              </a:ext>
            </a:extLst>
          </p:cNvPr>
          <p:cNvCxnSpPr>
            <a:cxnSpLocks/>
          </p:cNvCxnSpPr>
          <p:nvPr userDrawn="1"/>
        </p:nvCxnSpPr>
        <p:spPr>
          <a:xfrm>
            <a:off x="4168099" y="3649663"/>
            <a:ext cx="8023901" cy="0"/>
          </a:xfrm>
          <a:prstGeom prst="line">
            <a:avLst/>
          </a:prstGeom>
          <a:ln w="107950">
            <a:gradFill flip="none" rotWithShape="1">
              <a:gsLst>
                <a:gs pos="0">
                  <a:schemeClr val="tx1">
                    <a:lumMod val="10000"/>
                    <a:lumOff val="90000"/>
                  </a:schemeClr>
                </a:gs>
                <a:gs pos="100000">
                  <a:schemeClr val="tx1">
                    <a:lumMod val="25000"/>
                    <a:lumOff val="75000"/>
                  </a:schemeClr>
                </a:gs>
              </a:gsLst>
              <a:lin ang="3000000" scaled="0"/>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B0DF3B8-CE76-F9D2-1168-C3F04360B5CF}"/>
              </a:ext>
              <a:ext uri="{C183D7F6-B498-43B3-948B-1728B52AA6E4}">
                <adec:decorative xmlns:adec="http://schemas.microsoft.com/office/drawing/2017/decorative" val="1"/>
              </a:ext>
            </a:extLst>
          </p:cNvPr>
          <p:cNvGrpSpPr>
            <a:grpSpLocks/>
          </p:cNvGrpSpPr>
          <p:nvPr userDrawn="1"/>
        </p:nvGrpSpPr>
        <p:grpSpPr>
          <a:xfrm>
            <a:off x="4559017" y="3224475"/>
            <a:ext cx="850376" cy="850376"/>
            <a:chOff x="5047758" y="912128"/>
            <a:chExt cx="763571" cy="771525"/>
          </a:xfrm>
          <a:effectLst>
            <a:outerShdw blurRad="63500" sx="102000" sy="102000" algn="ctr" rotWithShape="0">
              <a:schemeClr val="bg1">
                <a:lumMod val="75000"/>
                <a:alpha val="40000"/>
              </a:schemeClr>
            </a:outerShdw>
          </a:effectLst>
        </p:grpSpPr>
        <p:sp>
          <p:nvSpPr>
            <p:cNvPr id="23" name="Freeform: Shape 24">
              <a:extLst>
                <a:ext uri="{FF2B5EF4-FFF2-40B4-BE49-F238E27FC236}">
                  <a16:creationId xmlns:a16="http://schemas.microsoft.com/office/drawing/2014/main" id="{9CBDCD4F-C35A-0D20-90B0-D7BCF550C5C9}"/>
                </a:ext>
              </a:extLst>
            </p:cNvPr>
            <p:cNvSpPr/>
            <p:nvPr/>
          </p:nvSpPr>
          <p:spPr>
            <a:xfrm>
              <a:off x="5047758" y="912128"/>
              <a:ext cx="763571" cy="771525"/>
            </a:xfrm>
            <a:custGeom>
              <a:avLst/>
              <a:gdLst>
                <a:gd name="connsiteX0" fmla="*/ -664 w 763571"/>
                <a:gd name="connsiteY0" fmla="*/ 385541 h 771525"/>
                <a:gd name="connsiteX1" fmla="*/ 381122 w 763571"/>
                <a:gd name="connsiteY1" fmla="*/ -222 h 771525"/>
                <a:gd name="connsiteX2" fmla="*/ 762907 w 763571"/>
                <a:gd name="connsiteY2" fmla="*/ 385541 h 771525"/>
                <a:gd name="connsiteX3" fmla="*/ 381122 w 763571"/>
                <a:gd name="connsiteY3" fmla="*/ 771303 h 771525"/>
                <a:gd name="connsiteX4" fmla="*/ -664 w 763571"/>
                <a:gd name="connsiteY4" fmla="*/ 385541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571" h="771525">
                  <a:moveTo>
                    <a:pt x="-664" y="385541"/>
                  </a:moveTo>
                  <a:cubicBezTo>
                    <a:pt x="-664" y="172485"/>
                    <a:pt x="170263" y="-222"/>
                    <a:pt x="381122" y="-222"/>
                  </a:cubicBezTo>
                  <a:cubicBezTo>
                    <a:pt x="591980" y="-222"/>
                    <a:pt x="762907" y="172485"/>
                    <a:pt x="762907" y="385541"/>
                  </a:cubicBezTo>
                  <a:cubicBezTo>
                    <a:pt x="762907" y="598596"/>
                    <a:pt x="591980" y="771303"/>
                    <a:pt x="381122" y="771303"/>
                  </a:cubicBezTo>
                  <a:cubicBezTo>
                    <a:pt x="170263" y="771303"/>
                    <a:pt x="-664" y="598596"/>
                    <a:pt x="-664" y="385541"/>
                  </a:cubicBezTo>
                  <a:close/>
                </a:path>
              </a:pathLst>
            </a:custGeom>
            <a:solidFill>
              <a:srgbClr val="FFFFFF"/>
            </a:solidFill>
            <a:ln w="9427" cap="flat">
              <a:noFill/>
              <a:prstDash val="solid"/>
              <a:miter/>
            </a:ln>
            <a:effectLst/>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5">
              <a:extLst>
                <a:ext uri="{FF2B5EF4-FFF2-40B4-BE49-F238E27FC236}">
                  <a16:creationId xmlns:a16="http://schemas.microsoft.com/office/drawing/2014/main" id="{AFD0939E-DD77-591D-EA85-50536385172A}"/>
                </a:ext>
              </a:extLst>
            </p:cNvPr>
            <p:cNvSpPr/>
            <p:nvPr/>
          </p:nvSpPr>
          <p:spPr>
            <a:xfrm>
              <a:off x="5118460" y="983566"/>
              <a:ext cx="622169" cy="628650"/>
            </a:xfrm>
            <a:custGeom>
              <a:avLst/>
              <a:gdLst>
                <a:gd name="connsiteX0" fmla="*/ -664 w 622169"/>
                <a:gd name="connsiteY0" fmla="*/ 314103 h 628650"/>
                <a:gd name="connsiteX1" fmla="*/ 310421 w 622169"/>
                <a:gd name="connsiteY1" fmla="*/ -222 h 628650"/>
                <a:gd name="connsiteX2" fmla="*/ 621505 w 622169"/>
                <a:gd name="connsiteY2" fmla="*/ 314103 h 628650"/>
                <a:gd name="connsiteX3" fmla="*/ 310421 w 622169"/>
                <a:gd name="connsiteY3" fmla="*/ 628428 h 628650"/>
                <a:gd name="connsiteX4" fmla="*/ -664 w 622169"/>
                <a:gd name="connsiteY4" fmla="*/ 314103 h 628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69" h="628650">
                  <a:moveTo>
                    <a:pt x="-664" y="314103"/>
                  </a:moveTo>
                  <a:cubicBezTo>
                    <a:pt x="-664" y="140510"/>
                    <a:pt x="138617" y="-222"/>
                    <a:pt x="310421" y="-222"/>
                  </a:cubicBezTo>
                  <a:cubicBezTo>
                    <a:pt x="482224" y="-222"/>
                    <a:pt x="621505" y="140510"/>
                    <a:pt x="621505" y="314103"/>
                  </a:cubicBezTo>
                  <a:cubicBezTo>
                    <a:pt x="621505" y="487696"/>
                    <a:pt x="482224" y="628428"/>
                    <a:pt x="310421" y="628428"/>
                  </a:cubicBezTo>
                  <a:cubicBezTo>
                    <a:pt x="138617" y="628428"/>
                    <a:pt x="-664" y="487696"/>
                    <a:pt x="-664" y="314103"/>
                  </a:cubicBezTo>
                  <a:close/>
                </a:path>
              </a:pathLst>
            </a:custGeom>
            <a:noFill/>
            <a:ln w="15875" cap="flat">
              <a:gradFill flip="none" rotWithShape="1">
                <a:gsLst>
                  <a:gs pos="0">
                    <a:srgbClr val="49C5B1"/>
                  </a:gs>
                  <a:gs pos="100000">
                    <a:schemeClr val="tx2"/>
                  </a:gs>
                </a:gsLst>
                <a:path path="circle">
                  <a:fillToRect l="100000" t="100000"/>
                </a:path>
                <a:tileRect r="-100000" b="-100000"/>
              </a:gradFill>
              <a:prstDash val="solid"/>
              <a:round/>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 name="Freeform: Shape 4">
            <a:extLst>
              <a:ext uri="{FF2B5EF4-FFF2-40B4-BE49-F238E27FC236}">
                <a16:creationId xmlns:a16="http://schemas.microsoft.com/office/drawing/2014/main" id="{52C85C5B-AB16-B643-4172-7EC4E8603604}"/>
              </a:ext>
            </a:extLst>
          </p:cNvPr>
          <p:cNvSpPr/>
          <p:nvPr userDrawn="1"/>
        </p:nvSpPr>
        <p:spPr>
          <a:xfrm>
            <a:off x="0" y="0"/>
            <a:ext cx="4168099" cy="6858000"/>
          </a:xfrm>
          <a:custGeom>
            <a:avLst/>
            <a:gdLst>
              <a:gd name="connsiteX0" fmla="*/ 0 w 1641815"/>
              <a:gd name="connsiteY0" fmla="*/ 0 h 1641815"/>
              <a:gd name="connsiteX1" fmla="*/ 1641816 w 1641815"/>
              <a:gd name="connsiteY1" fmla="*/ 0 h 1641815"/>
              <a:gd name="connsiteX2" fmla="*/ 1641816 w 1641815"/>
              <a:gd name="connsiteY2" fmla="*/ 1641816 h 1641815"/>
              <a:gd name="connsiteX3" fmla="*/ 0 w 1641815"/>
              <a:gd name="connsiteY3" fmla="*/ 1641816 h 1641815"/>
            </a:gdLst>
            <a:ahLst/>
            <a:cxnLst>
              <a:cxn ang="0">
                <a:pos x="connsiteX0" y="connsiteY0"/>
              </a:cxn>
              <a:cxn ang="0">
                <a:pos x="connsiteX1" y="connsiteY1"/>
              </a:cxn>
              <a:cxn ang="0">
                <a:pos x="connsiteX2" y="connsiteY2"/>
              </a:cxn>
              <a:cxn ang="0">
                <a:pos x="connsiteX3" y="connsiteY3"/>
              </a:cxn>
            </a:cxnLst>
            <a:rect l="l" t="t" r="r" b="b"/>
            <a:pathLst>
              <a:path w="1641815" h="1641815">
                <a:moveTo>
                  <a:pt x="0" y="0"/>
                </a:moveTo>
                <a:lnTo>
                  <a:pt x="1641816" y="0"/>
                </a:lnTo>
                <a:lnTo>
                  <a:pt x="1641816" y="1641816"/>
                </a:lnTo>
                <a:lnTo>
                  <a:pt x="0" y="1641816"/>
                </a:lnTo>
                <a:close/>
              </a:path>
            </a:pathLst>
          </a:cu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w="3416" cap="flat">
            <a:noFill/>
            <a:prstDash val="solid"/>
            <a:miter/>
          </a:ln>
          <a:effectLst>
            <a:outerShdw blurRad="152400" dist="38100" algn="l" rotWithShape="0">
              <a:schemeClr val="bg1">
                <a:lumMod val="75000"/>
                <a:alpha val="62000"/>
              </a:schemeClr>
            </a:outerShdw>
          </a:effectLst>
        </p:spPr>
        <p:txBody>
          <a:bodyPr rtlCol="0" anchor="ctr"/>
          <a:lstStyle/>
          <a:p>
            <a:endParaRPr lang="en-US"/>
          </a:p>
        </p:txBody>
      </p:sp>
      <p:pic>
        <p:nvPicPr>
          <p:cNvPr id="10" name="Picture 9">
            <a:extLst>
              <a:ext uri="{FF2B5EF4-FFF2-40B4-BE49-F238E27FC236}">
                <a16:creationId xmlns:a16="http://schemas.microsoft.com/office/drawing/2014/main" id="{30C2B701-E635-EC9B-8CEA-C3400000BA1F}"/>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8000"/>
            <a:extLst>
              <a:ext uri="{28A0092B-C50C-407E-A947-70E740481C1C}">
                <a14:useLocalDpi xmlns:a14="http://schemas.microsoft.com/office/drawing/2010/main"/>
              </a:ext>
            </a:extLst>
          </a:blip>
          <a:srcRect t="-24311" b="59368"/>
          <a:stretch/>
        </p:blipFill>
        <p:spPr>
          <a:xfrm>
            <a:off x="4411980" y="6010508"/>
            <a:ext cx="7213883" cy="322688"/>
          </a:xfrm>
          <a:prstGeom prst="rect">
            <a:avLst/>
          </a:prstGeom>
        </p:spPr>
      </p:pic>
      <p:sp>
        <p:nvSpPr>
          <p:cNvPr id="25" name="Title 1">
            <a:extLst>
              <a:ext uri="{FF2B5EF4-FFF2-40B4-BE49-F238E27FC236}">
                <a16:creationId xmlns:a16="http://schemas.microsoft.com/office/drawing/2014/main" id="{582670F0-0464-EE0B-C775-4FBF45B2C441}"/>
              </a:ext>
            </a:extLst>
          </p:cNvPr>
          <p:cNvSpPr>
            <a:spLocks noGrp="1"/>
          </p:cNvSpPr>
          <p:nvPr userDrawn="1">
            <p:ph type="title"/>
          </p:nvPr>
        </p:nvSpPr>
        <p:spPr>
          <a:xfrm>
            <a:off x="447675" y="2197101"/>
            <a:ext cx="3329508" cy="886397"/>
          </a:xfrm>
        </p:spPr>
        <p:txBody>
          <a:bodyPr/>
          <a:lstStyle>
            <a:lvl1pPr>
              <a:defRPr sz="3200">
                <a:solidFill>
                  <a:schemeClr val="bg1"/>
                </a:solidFill>
              </a:defRPr>
            </a:lvl1pPr>
          </a:lstStyle>
          <a:p>
            <a:r>
              <a:rPr lang="en-US"/>
              <a:t>Click to edit Master title style</a:t>
            </a:r>
          </a:p>
        </p:txBody>
      </p:sp>
      <p:sp>
        <p:nvSpPr>
          <p:cNvPr id="20" name="Picture Placeholder 19">
            <a:extLst>
              <a:ext uri="{FF2B5EF4-FFF2-40B4-BE49-F238E27FC236}">
                <a16:creationId xmlns:a16="http://schemas.microsoft.com/office/drawing/2014/main" id="{3FC94FA6-63EB-11E4-37AD-82E3649A944B}"/>
              </a:ext>
            </a:extLst>
          </p:cNvPr>
          <p:cNvSpPr>
            <a:spLocks noGrp="1"/>
          </p:cNvSpPr>
          <p:nvPr userDrawn="1">
            <p:ph type="pic" sz="quarter" idx="11"/>
          </p:nvPr>
        </p:nvSpPr>
        <p:spPr>
          <a:xfrm>
            <a:off x="4168100" y="-4"/>
            <a:ext cx="8023901" cy="2925072"/>
          </a:xfrm>
        </p:spPr>
        <p:txBody>
          <a:bodyPr>
            <a:noAutofit/>
          </a:bodyPr>
          <a:lstStyle/>
          <a:p>
            <a:endParaRPr lang="en-US"/>
          </a:p>
        </p:txBody>
      </p:sp>
      <p:grpSp>
        <p:nvGrpSpPr>
          <p:cNvPr id="12" name="Group 11">
            <a:extLst>
              <a:ext uri="{FF2B5EF4-FFF2-40B4-BE49-F238E27FC236}">
                <a16:creationId xmlns:a16="http://schemas.microsoft.com/office/drawing/2014/main" id="{CF0CA992-FB73-6E07-B004-739348FE828A}"/>
              </a:ext>
            </a:extLst>
          </p:cNvPr>
          <p:cNvGrpSpPr/>
          <p:nvPr userDrawn="1"/>
        </p:nvGrpSpPr>
        <p:grpSpPr>
          <a:xfrm>
            <a:off x="0" y="1285959"/>
            <a:ext cx="3300317" cy="152167"/>
            <a:chOff x="0" y="1285959"/>
            <a:chExt cx="3300317" cy="152167"/>
          </a:xfrm>
          <a:effectLst>
            <a:outerShdw blurRad="50800" dist="25400" dir="5400000" algn="t" rotWithShape="0">
              <a:prstClr val="black">
                <a:alpha val="40000"/>
              </a:prstClr>
            </a:outerShdw>
          </a:effectLst>
        </p:grpSpPr>
        <p:grpSp>
          <p:nvGrpSpPr>
            <p:cNvPr id="14" name="Group 13">
              <a:extLst>
                <a:ext uri="{FF2B5EF4-FFF2-40B4-BE49-F238E27FC236}">
                  <a16:creationId xmlns:a16="http://schemas.microsoft.com/office/drawing/2014/main" id="{04D68D92-5763-52FB-A3A7-5270C27AB546}"/>
                </a:ext>
              </a:extLst>
            </p:cNvPr>
            <p:cNvGrpSpPr/>
            <p:nvPr userDrawn="1"/>
          </p:nvGrpSpPr>
          <p:grpSpPr>
            <a:xfrm>
              <a:off x="2696191" y="1285959"/>
              <a:ext cx="604126" cy="152167"/>
              <a:chOff x="3049826" y="4046193"/>
              <a:chExt cx="604126" cy="152167"/>
            </a:xfrm>
            <a:effectLst>
              <a:outerShdw blurRad="25400" dist="25400" dir="5400000" algn="t" rotWithShape="0">
                <a:schemeClr val="bg1">
                  <a:lumMod val="50000"/>
                  <a:alpha val="30000"/>
                </a:schemeClr>
              </a:outerShdw>
            </a:effectLst>
          </p:grpSpPr>
          <p:sp>
            <p:nvSpPr>
              <p:cNvPr id="18" name="Oval 17">
                <a:extLst>
                  <a:ext uri="{FF2B5EF4-FFF2-40B4-BE49-F238E27FC236}">
                    <a16:creationId xmlns:a16="http://schemas.microsoft.com/office/drawing/2014/main" id="{09E4DF60-CD3E-F5C7-2843-D8963FD99175}"/>
                  </a:ext>
                </a:extLst>
              </p:cNvPr>
              <p:cNvSpPr/>
              <p:nvPr/>
            </p:nvSpPr>
            <p:spPr bwMode="auto">
              <a:xfrm>
                <a:off x="3049826" y="4046193"/>
                <a:ext cx="152167" cy="152167"/>
              </a:xfrm>
              <a:prstGeom prst="ellipse">
                <a:avLst/>
              </a:prstGeom>
              <a:solidFill>
                <a:schemeClr val="tx2"/>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DA010AE7-E660-7D90-7181-8E4E5E5C355A}"/>
                  </a:ext>
                </a:extLst>
              </p:cNvPr>
              <p:cNvSpPr>
                <a:spLocks/>
              </p:cNvSpPr>
              <p:nvPr/>
            </p:nvSpPr>
            <p:spPr bwMode="auto">
              <a:xfrm>
                <a:off x="3275805" y="4046193"/>
                <a:ext cx="152167" cy="152167"/>
              </a:xfrm>
              <a:prstGeom prst="ellipse">
                <a:avLst/>
              </a:prstGeom>
              <a:solidFill>
                <a:srgbClr val="49C5B1"/>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9C1F5B9B-FABF-8C65-F276-6E4F3B4AFD8F}"/>
                  </a:ext>
                </a:extLst>
              </p:cNvPr>
              <p:cNvSpPr/>
              <p:nvPr/>
            </p:nvSpPr>
            <p:spPr bwMode="auto">
              <a:xfrm>
                <a:off x="3501785" y="4046193"/>
                <a:ext cx="152167" cy="152167"/>
              </a:xfrm>
              <a:prstGeom prst="ellipse">
                <a:avLst/>
              </a:prstGeom>
              <a:solidFill>
                <a:srgbClr val="8DC8E8"/>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7" name="Straight Connector 16">
              <a:extLst>
                <a:ext uri="{FF2B5EF4-FFF2-40B4-BE49-F238E27FC236}">
                  <a16:creationId xmlns:a16="http://schemas.microsoft.com/office/drawing/2014/main" id="{AA26C962-2C8D-97B9-DB60-C84F0E37AEFA}"/>
                </a:ext>
              </a:extLst>
            </p:cNvPr>
            <p:cNvCxnSpPr>
              <a:cxnSpLocks/>
            </p:cNvCxnSpPr>
            <p:nvPr/>
          </p:nvCxnSpPr>
          <p:spPr>
            <a:xfrm>
              <a:off x="0" y="1362566"/>
              <a:ext cx="2703004" cy="0"/>
            </a:xfrm>
            <a:prstGeom prst="line">
              <a:avLst/>
            </a:prstGeom>
            <a:noFill/>
            <a:ln w="19050"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1117546150"/>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Customer Story 1">
    <p:spTree>
      <p:nvGrpSpPr>
        <p:cNvPr id="1" name=""/>
        <p:cNvGrpSpPr/>
        <p:nvPr/>
      </p:nvGrpSpPr>
      <p:grpSpPr>
        <a:xfrm>
          <a:off x="0" y="0"/>
          <a:ext cx="0" cy="0"/>
          <a:chOff x="0" y="0"/>
          <a:chExt cx="0" cy="0"/>
        </a:xfrm>
      </p:grpSpPr>
      <p:sp>
        <p:nvSpPr>
          <p:cNvPr id="2" name="Rectangle 1">
            <a:hlinkClick r:id="rId2"/>
            <a:extLst>
              <a:ext uri="{FF2B5EF4-FFF2-40B4-BE49-F238E27FC236}">
                <a16:creationId xmlns:a16="http://schemas.microsoft.com/office/drawing/2014/main" id="{500FAD07-86F3-4E70-06CB-30C65B1236A7}"/>
              </a:ext>
              <a:ext uri="{C183D7F6-B498-43B3-948B-1728B52AA6E4}">
                <adec:decorative xmlns:adec="http://schemas.microsoft.com/office/drawing/2017/decorative" val="0"/>
              </a:ext>
            </a:extLst>
          </p:cNvPr>
          <p:cNvSpPr>
            <a:spLocks/>
          </p:cNvSpPr>
          <p:nvPr userDrawn="1"/>
        </p:nvSpPr>
        <p:spPr bwMode="auto">
          <a:xfrm>
            <a:off x="4356100" y="3740"/>
            <a:ext cx="7835900" cy="2643381"/>
          </a:xfrm>
          <a:prstGeom prst="rect">
            <a:avLst/>
          </a:prstGeom>
          <a:gradFill flip="none" rotWithShape="1">
            <a:gsLst>
              <a:gs pos="54000">
                <a:srgbClr val="EDF0F6">
                  <a:alpha val="28000"/>
                </a:srgbClr>
              </a:gs>
              <a:gs pos="100000">
                <a:schemeClr val="bg1">
                  <a:alpha val="52000"/>
                </a:schemeClr>
              </a:gs>
            </a:gsLst>
            <a:path path="circle">
              <a:fillToRect l="100000" t="100000"/>
            </a:path>
            <a:tileRect r="-100000" b="-100000"/>
          </a:gradFill>
          <a:ln w="22225">
            <a:gradFill flip="none" rotWithShape="1">
              <a:gsLst>
                <a:gs pos="0">
                  <a:schemeClr val="bg1">
                    <a:alpha val="40000"/>
                  </a:schemeClr>
                </a:gs>
                <a:gs pos="100000">
                  <a:schemeClr val="bg1">
                    <a:alpha val="0"/>
                  </a:schemeClr>
                </a:gs>
              </a:gsLst>
              <a:lin ang="13800000" scaled="0"/>
              <a:tileRect/>
            </a:gradFill>
            <a:headEnd type="none" w="med" len="med"/>
            <a:tailEnd type="none" w="med" len="med"/>
          </a:ln>
          <a:effectLst>
            <a:outerShdw blurRad="50800" dist="50800" dir="5400000" algn="ctr" rotWithShape="0">
              <a:srgbClr val="000000">
                <a:alpha val="3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1"/>
              </a:solidFill>
              <a:latin typeface="Segoe Sans Text Semibold" pitchFamily="2" charset="0"/>
              <a:cs typeface="Segoe Sans Text Semibold" pitchFamily="2" charset="0"/>
            </a:endParaRPr>
          </a:p>
        </p:txBody>
      </p:sp>
      <p:cxnSp>
        <p:nvCxnSpPr>
          <p:cNvPr id="3" name="Straight Connector 2">
            <a:extLst>
              <a:ext uri="{FF2B5EF4-FFF2-40B4-BE49-F238E27FC236}">
                <a16:creationId xmlns:a16="http://schemas.microsoft.com/office/drawing/2014/main" id="{2D52FB54-DF86-26DE-3395-4FA0923C971A}"/>
              </a:ext>
              <a:ext uri="{C183D7F6-B498-43B3-948B-1728B52AA6E4}">
                <adec:decorative xmlns:adec="http://schemas.microsoft.com/office/drawing/2017/decorative" val="1"/>
              </a:ext>
            </a:extLst>
          </p:cNvPr>
          <p:cNvCxnSpPr>
            <a:cxnSpLocks/>
          </p:cNvCxnSpPr>
          <p:nvPr userDrawn="1"/>
        </p:nvCxnSpPr>
        <p:spPr>
          <a:xfrm>
            <a:off x="4356100" y="3280719"/>
            <a:ext cx="7835900" cy="0"/>
          </a:xfrm>
          <a:prstGeom prst="line">
            <a:avLst/>
          </a:prstGeom>
          <a:ln w="57150">
            <a:gradFill flip="none" rotWithShape="1">
              <a:gsLst>
                <a:gs pos="0">
                  <a:schemeClr val="accent3">
                    <a:lumMod val="40000"/>
                    <a:lumOff val="60000"/>
                  </a:schemeClr>
                </a:gs>
                <a:gs pos="100000">
                  <a:srgbClr val="57B9C5"/>
                </a:gs>
              </a:gsLst>
              <a:lin ang="0" scaled="1"/>
              <a:tileRect/>
            </a:gra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cxnSp>
      <p:sp>
        <p:nvSpPr>
          <p:cNvPr id="4" name="Oval 34_1">
            <a:extLst>
              <a:ext uri="{FF2B5EF4-FFF2-40B4-BE49-F238E27FC236}">
                <a16:creationId xmlns:a16="http://schemas.microsoft.com/office/drawing/2014/main" id="{3C3D9862-8FFF-CA67-363C-CF5AA9142B77}"/>
              </a:ext>
              <a:ext uri="{C183D7F6-B498-43B3-948B-1728B52AA6E4}">
                <adec:decorative xmlns:adec="http://schemas.microsoft.com/office/drawing/2017/decorative" val="1"/>
              </a:ext>
            </a:extLst>
          </p:cNvPr>
          <p:cNvSpPr>
            <a:spLocks/>
          </p:cNvSpPr>
          <p:nvPr userDrawn="1"/>
        </p:nvSpPr>
        <p:spPr bwMode="auto">
          <a:xfrm>
            <a:off x="4648729" y="2911360"/>
            <a:ext cx="738718" cy="738718"/>
          </a:xfrm>
          <a:prstGeom prst="ellipse">
            <a:avLst/>
          </a:prstGeom>
          <a:solidFill>
            <a:schemeClr val="bg1"/>
          </a:solidFill>
          <a:ln w="25400" cap="flat">
            <a:noFill/>
            <a:prstDash val="solid"/>
            <a:miter/>
          </a:ln>
          <a:effectLst>
            <a:outerShdw blurRad="190500" dist="114300" dir="5400000" sx="96000" sy="96000" algn="t" rotWithShape="0">
              <a:schemeClr val="bg1">
                <a:lumMod val="65000"/>
                <a:alpha val="48000"/>
              </a:schemeClr>
            </a:outerShdw>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Display Semibold" pitchFamily="2" charset="0"/>
              <a:cs typeface="Segoe Sans Display Semibold" pitchFamily="2" charset="0"/>
            </a:endParaRPr>
          </a:p>
        </p:txBody>
      </p:sp>
      <p:sp>
        <p:nvSpPr>
          <p:cNvPr id="6" name="Rectangle: Top Corners Rounded 5">
            <a:extLst>
              <a:ext uri="{FF2B5EF4-FFF2-40B4-BE49-F238E27FC236}">
                <a16:creationId xmlns:a16="http://schemas.microsoft.com/office/drawing/2014/main" id="{B7485420-5CAD-13F1-47B2-0C994487C6C4}"/>
              </a:ext>
            </a:extLst>
          </p:cNvPr>
          <p:cNvSpPr/>
          <p:nvPr userDrawn="1"/>
        </p:nvSpPr>
        <p:spPr>
          <a:xfrm>
            <a:off x="293687" y="0"/>
            <a:ext cx="4062413" cy="6561438"/>
          </a:xfrm>
          <a:prstGeom prst="round2SameRect">
            <a:avLst>
              <a:gd name="adj1" fmla="val 0"/>
              <a:gd name="adj2" fmla="val 4714"/>
            </a:avLst>
          </a:prstGeom>
          <a:solidFill>
            <a:schemeClr val="bg1"/>
          </a:solidFill>
          <a:ln w="38100" cap="flat">
            <a:noFill/>
            <a:prstDash val="solid"/>
            <a:miter/>
          </a:ln>
          <a:effectLst>
            <a:outerShdw blurRad="304800" dist="50800" dir="4440000" sx="94000" sy="94000" algn="ctr" rotWithShape="0">
              <a:srgbClr val="F4F3F5">
                <a:lumMod val="75000"/>
                <a:alpha val="49000"/>
              </a:srgbClr>
            </a:outerShdw>
          </a:effectLst>
        </p:spPr>
        <p:txBody>
          <a:bodyPr rot="0" spcFirstLastPara="0" vertOverflow="overflow" horzOverflow="overflow" vert="horz" wrap="square" lIns="0" tIns="457200" rIns="0" bIns="45720" numCol="1" spcCol="0" rtlCol="0" fromWordArt="0" anchor="b" anchorCtr="0" forceAA="0" compatLnSpc="1">
            <a:prstTxWarp prst="textNoShape">
              <a:avLst/>
            </a:prstTxWarp>
            <a:noAutofit/>
          </a:bodyPr>
          <a:lstStyle/>
          <a:p>
            <a:pPr algn="ctr"/>
            <a:endParaRPr lang="en-US" sz="1000" kern="0">
              <a:solidFill>
                <a:srgbClr val="000000"/>
              </a:solidFill>
              <a:latin typeface="Segoe Sans Small" pitchFamily="2" charset="0"/>
              <a:cs typeface="Segoe Sans Small" pitchFamily="2" charset="0"/>
            </a:endParaRPr>
          </a:p>
        </p:txBody>
      </p:sp>
      <p:pic>
        <p:nvPicPr>
          <p:cNvPr id="7" name="Picture 6">
            <a:extLst>
              <a:ext uri="{FF2B5EF4-FFF2-40B4-BE49-F238E27FC236}">
                <a16:creationId xmlns:a16="http://schemas.microsoft.com/office/drawing/2014/main" id="{D01BD506-6345-AEE6-1FBD-AA769E3A2BCC}"/>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58000"/>
            <a:extLst>
              <a:ext uri="{28A0092B-C50C-407E-A947-70E740481C1C}">
                <a14:useLocalDpi xmlns:a14="http://schemas.microsoft.com/office/drawing/2010/main"/>
              </a:ext>
            </a:extLst>
          </a:blip>
          <a:srcRect t="-24311" b="59368"/>
          <a:stretch/>
        </p:blipFill>
        <p:spPr>
          <a:xfrm>
            <a:off x="4411980" y="6053393"/>
            <a:ext cx="7213883" cy="322688"/>
          </a:xfrm>
          <a:prstGeom prst="rect">
            <a:avLst/>
          </a:prstGeom>
        </p:spPr>
      </p:pic>
      <p:grpSp>
        <p:nvGrpSpPr>
          <p:cNvPr id="13" name="Group 12">
            <a:extLst>
              <a:ext uri="{FF2B5EF4-FFF2-40B4-BE49-F238E27FC236}">
                <a16:creationId xmlns:a16="http://schemas.microsoft.com/office/drawing/2014/main" id="{37C0AA97-E3A4-47CA-D834-12FF6EB578B0}"/>
              </a:ext>
            </a:extLst>
          </p:cNvPr>
          <p:cNvGrpSpPr/>
          <p:nvPr userDrawn="1"/>
        </p:nvGrpSpPr>
        <p:grpSpPr>
          <a:xfrm>
            <a:off x="293687" y="1345023"/>
            <a:ext cx="3300317" cy="152167"/>
            <a:chOff x="353635" y="4046193"/>
            <a:chExt cx="3300317" cy="152167"/>
          </a:xfrm>
        </p:grpSpPr>
        <p:cxnSp>
          <p:nvCxnSpPr>
            <p:cNvPr id="15" name="Straight Connector 14">
              <a:extLst>
                <a:ext uri="{FF2B5EF4-FFF2-40B4-BE49-F238E27FC236}">
                  <a16:creationId xmlns:a16="http://schemas.microsoft.com/office/drawing/2014/main" id="{6C77A246-9A05-B2BB-A944-D8C96D621624}"/>
                </a:ext>
              </a:extLst>
            </p:cNvPr>
            <p:cNvCxnSpPr>
              <a:cxnSpLocks/>
            </p:cNvCxnSpPr>
            <p:nvPr userDrawn="1"/>
          </p:nvCxnSpPr>
          <p:spPr>
            <a:xfrm>
              <a:off x="353635" y="4122276"/>
              <a:ext cx="2703004" cy="0"/>
            </a:xfrm>
            <a:prstGeom prst="line">
              <a:avLst/>
            </a:prstGeom>
            <a:noFill/>
            <a:ln w="22225" cap="flat" cmpd="sng" algn="ctr">
              <a:solidFill>
                <a:schemeClr val="bg1"/>
              </a:solidFill>
              <a:prstDash val="solid"/>
              <a:headEnd type="none" w="lg" len="med"/>
              <a:tailEnd type="none" w="lg" len="med"/>
            </a:ln>
            <a:effectLst>
              <a:outerShdw blurRad="25400" dist="25400" dir="5400000" algn="t" rotWithShape="0">
                <a:schemeClr val="bg1">
                  <a:lumMod val="50000"/>
                  <a:alpha val="30000"/>
                </a:schemeClr>
              </a:outerShdw>
            </a:effectLst>
          </p:spPr>
        </p:cxnSp>
        <p:grpSp>
          <p:nvGrpSpPr>
            <p:cNvPr id="16" name="Group 15">
              <a:extLst>
                <a:ext uri="{FF2B5EF4-FFF2-40B4-BE49-F238E27FC236}">
                  <a16:creationId xmlns:a16="http://schemas.microsoft.com/office/drawing/2014/main" id="{1999A071-8C7B-8C4B-453C-F5BE4623B880}"/>
                </a:ext>
              </a:extLst>
            </p:cNvPr>
            <p:cNvGrpSpPr/>
            <p:nvPr userDrawn="1"/>
          </p:nvGrpSpPr>
          <p:grpSpPr>
            <a:xfrm>
              <a:off x="3049826" y="4046193"/>
              <a:ext cx="604126" cy="152167"/>
              <a:chOff x="3049826" y="4046193"/>
              <a:chExt cx="604126" cy="152167"/>
            </a:xfrm>
            <a:effectLst>
              <a:outerShdw blurRad="25400" dist="25400" dir="5400000" algn="t" rotWithShape="0">
                <a:schemeClr val="bg1">
                  <a:lumMod val="50000"/>
                  <a:alpha val="30000"/>
                </a:schemeClr>
              </a:outerShdw>
            </a:effectLst>
          </p:grpSpPr>
          <p:sp>
            <p:nvSpPr>
              <p:cNvPr id="26" name="Oval 25">
                <a:extLst>
                  <a:ext uri="{FF2B5EF4-FFF2-40B4-BE49-F238E27FC236}">
                    <a16:creationId xmlns:a16="http://schemas.microsoft.com/office/drawing/2014/main" id="{03020CCD-4FC2-30FE-85FC-13E1B0B8FD0D}"/>
                  </a:ext>
                </a:extLst>
              </p:cNvPr>
              <p:cNvSpPr/>
              <p:nvPr/>
            </p:nvSpPr>
            <p:spPr bwMode="auto">
              <a:xfrm>
                <a:off x="3049826" y="4046193"/>
                <a:ext cx="152167" cy="152167"/>
              </a:xfrm>
              <a:prstGeom prst="ellipse">
                <a:avLst/>
              </a:prstGeom>
              <a:solidFill>
                <a:srgbClr val="225B62"/>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FE7B6DD8-2BFB-0F07-BC30-53F6351338B0}"/>
                  </a:ext>
                </a:extLst>
              </p:cNvPr>
              <p:cNvSpPr>
                <a:spLocks/>
              </p:cNvSpPr>
              <p:nvPr/>
            </p:nvSpPr>
            <p:spPr bwMode="auto">
              <a:xfrm>
                <a:off x="3275805" y="4046193"/>
                <a:ext cx="152167" cy="152167"/>
              </a:xfrm>
              <a:prstGeom prst="ellipse">
                <a:avLst/>
              </a:prstGeom>
              <a:solidFill>
                <a:srgbClr val="57B9C5"/>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303A6BF6-9A9B-256B-AE98-1FC38DD4FFFD}"/>
                  </a:ext>
                </a:extLst>
              </p:cNvPr>
              <p:cNvSpPr/>
              <p:nvPr/>
            </p:nvSpPr>
            <p:spPr bwMode="auto">
              <a:xfrm>
                <a:off x="3501785" y="4046193"/>
                <a:ext cx="152167" cy="152167"/>
              </a:xfrm>
              <a:prstGeom prst="ellipse">
                <a:avLst/>
              </a:prstGeom>
              <a:solidFill>
                <a:srgbClr val="8EC8E9"/>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sp>
        <p:nvSpPr>
          <p:cNvPr id="25" name="Title 1">
            <a:extLst>
              <a:ext uri="{FF2B5EF4-FFF2-40B4-BE49-F238E27FC236}">
                <a16:creationId xmlns:a16="http://schemas.microsoft.com/office/drawing/2014/main" id="{582670F0-0464-EE0B-C775-4FBF45B2C441}"/>
              </a:ext>
            </a:extLst>
          </p:cNvPr>
          <p:cNvSpPr>
            <a:spLocks noGrp="1"/>
          </p:cNvSpPr>
          <p:nvPr userDrawn="1">
            <p:ph type="title"/>
          </p:nvPr>
        </p:nvSpPr>
        <p:spPr>
          <a:xfrm>
            <a:off x="584200" y="2197101"/>
            <a:ext cx="3329508" cy="984885"/>
          </a:xfrm>
        </p:spPr>
        <p:txBody>
          <a:bodyPr/>
          <a:lstStyle>
            <a:lvl1pPr>
              <a:defRPr sz="3200">
                <a:solidFill>
                  <a:schemeClr val="tx1"/>
                </a:solidFill>
              </a:defRPr>
            </a:lvl1pPr>
          </a:lstStyle>
          <a:p>
            <a:r>
              <a:rPr lang="en-US"/>
              <a:t>Click to edit Master title style</a:t>
            </a:r>
          </a:p>
        </p:txBody>
      </p:sp>
      <p:sp>
        <p:nvSpPr>
          <p:cNvPr id="20" name="Picture Placeholder 19">
            <a:extLst>
              <a:ext uri="{FF2B5EF4-FFF2-40B4-BE49-F238E27FC236}">
                <a16:creationId xmlns:a16="http://schemas.microsoft.com/office/drawing/2014/main" id="{3FC94FA6-63EB-11E4-37AD-82E3649A944B}"/>
              </a:ext>
            </a:extLst>
          </p:cNvPr>
          <p:cNvSpPr>
            <a:spLocks noGrp="1"/>
          </p:cNvSpPr>
          <p:nvPr userDrawn="1">
            <p:ph type="pic" sz="quarter" idx="11"/>
          </p:nvPr>
        </p:nvSpPr>
        <p:spPr>
          <a:xfrm>
            <a:off x="4356100" y="3740"/>
            <a:ext cx="7835900" cy="2643381"/>
          </a:xfrm>
        </p:spPr>
        <p:txBody>
          <a:bodyPr>
            <a:noAutofit/>
          </a:bodyPr>
          <a:lstStyle/>
          <a:p>
            <a:endParaRPr lang="en-US"/>
          </a:p>
        </p:txBody>
      </p:sp>
    </p:spTree>
    <p:extLst>
      <p:ext uri="{BB962C8B-B14F-4D97-AF65-F5344CB8AC3E}">
        <p14:creationId xmlns:p14="http://schemas.microsoft.com/office/powerpoint/2010/main" val="419946113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84200" y="4294188"/>
            <a:ext cx="9144000" cy="246221"/>
          </a:xfrm>
        </p:spPr>
        <p:txBody>
          <a:bodyPr/>
          <a:lstStyle>
            <a:lvl1pPr marL="0" indent="0">
              <a:spcBef>
                <a:spcPts val="0"/>
              </a:spcBef>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Title, company, or other information</a:t>
            </a:r>
          </a:p>
        </p:txBody>
      </p:sp>
      <p:sp>
        <p:nvSpPr>
          <p:cNvPr id="2" name="Title 1">
            <a:extLst>
              <a:ext uri="{FF2B5EF4-FFF2-40B4-BE49-F238E27FC236}">
                <a16:creationId xmlns:a16="http://schemas.microsoft.com/office/drawing/2014/main" id="{54875775-5E8F-0839-C361-899125B71AE9}"/>
              </a:ext>
            </a:extLst>
          </p:cNvPr>
          <p:cNvSpPr txBox="1">
            <a:spLocks/>
          </p:cNvSpPr>
          <p:nvPr userDrawn="1"/>
        </p:nvSpPr>
        <p:spPr>
          <a:xfrm>
            <a:off x="584200" y="557599"/>
            <a:ext cx="3296759" cy="307777"/>
          </a:xfrm>
          <a:prstGeom prst="rect">
            <a:avLst/>
          </a:prstGeom>
          <a:noFill/>
        </p:spPr>
        <p:txBody>
          <a:bodyPr vert="horz" wrap="square" lIns="0" tIns="0" rIns="0" bIns="0" rtlCol="0" anchor="b" anchorCtr="0">
            <a:spAutoFit/>
          </a:bodyPr>
          <a:lstStyle>
            <a:lvl1pPr algn="l" defTabSz="393567" rtl="0" eaLnBrk="1" latinLnBrk="0" hangingPunct="1">
              <a:lnSpc>
                <a:spcPct val="100000"/>
              </a:lnSpc>
              <a:spcBef>
                <a:spcPct val="0"/>
              </a:spcBef>
              <a:buNone/>
              <a:defRPr lang="en-US" sz="3200" b="0" kern="1200" cap="none" spc="-22" baseline="0">
                <a:ln w="3175">
                  <a:noFill/>
                </a:ln>
                <a:solidFill>
                  <a:schemeClr val="tx1"/>
                </a:solidFill>
                <a:effectLst/>
                <a:latin typeface="+mj-lt"/>
                <a:ea typeface="+mn-ea"/>
                <a:cs typeface="Segoe UI" panose="020B0502040204020203" pitchFamily="34" charset="0"/>
              </a:defRPr>
            </a:lvl1pPr>
          </a:lstStyle>
          <a:p>
            <a:r>
              <a:rPr lang="en-CA" sz="2000">
                <a:solidFill>
                  <a:schemeClr val="tx1">
                    <a:lumMod val="65000"/>
                    <a:lumOff val="35000"/>
                  </a:schemeClr>
                </a:solidFill>
              </a:rPr>
              <a:t>Microsoft at Sibos</a:t>
            </a:r>
          </a:p>
        </p:txBody>
      </p:sp>
    </p:spTree>
    <p:extLst>
      <p:ext uri="{BB962C8B-B14F-4D97-AF65-F5344CB8AC3E}">
        <p14:creationId xmlns:p14="http://schemas.microsoft.com/office/powerpoint/2010/main" val="4023514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ontent and Tiles Images ">
    <p:spTree>
      <p:nvGrpSpPr>
        <p:cNvPr id="1" name=""/>
        <p:cNvGrpSpPr/>
        <p:nvPr/>
      </p:nvGrpSpPr>
      <p:grpSpPr>
        <a:xfrm>
          <a:off x="0" y="0"/>
          <a:ext cx="0" cy="0"/>
          <a:chOff x="0" y="0"/>
          <a:chExt cx="0" cy="0"/>
        </a:xfrm>
      </p:grpSpPr>
      <p:grpSp>
        <p:nvGrpSpPr>
          <p:cNvPr id="146" name="Group 145">
            <a:extLst>
              <a:ext uri="{FF2B5EF4-FFF2-40B4-BE49-F238E27FC236}">
                <a16:creationId xmlns:a16="http://schemas.microsoft.com/office/drawing/2014/main" id="{B5011BED-4136-8869-080C-FFC282EDCC50}"/>
              </a:ext>
              <a:ext uri="{C183D7F6-B498-43B3-948B-1728B52AA6E4}">
                <adec:decorative xmlns:adec="http://schemas.microsoft.com/office/drawing/2017/decorative" val="1"/>
              </a:ext>
            </a:extLst>
          </p:cNvPr>
          <p:cNvGrpSpPr/>
          <p:nvPr userDrawn="1"/>
        </p:nvGrpSpPr>
        <p:grpSpPr>
          <a:xfrm>
            <a:off x="5969920" y="-122945"/>
            <a:ext cx="6271600" cy="7057939"/>
            <a:chOff x="5969920" y="-122945"/>
            <a:chExt cx="6271600" cy="7057939"/>
          </a:xfrm>
          <a:gradFill>
            <a:gsLst>
              <a:gs pos="11000">
                <a:schemeClr val="bg2"/>
              </a:gs>
              <a:gs pos="100000">
                <a:schemeClr val="accent2">
                  <a:lumMod val="60000"/>
                  <a:lumOff val="40000"/>
                </a:schemeClr>
              </a:gs>
            </a:gsLst>
            <a:lin ang="8100000" scaled="1"/>
          </a:gradFill>
        </p:grpSpPr>
        <p:sp>
          <p:nvSpPr>
            <p:cNvPr id="105" name="Freeform: Shape 104">
              <a:extLst>
                <a:ext uri="{FF2B5EF4-FFF2-40B4-BE49-F238E27FC236}">
                  <a16:creationId xmlns:a16="http://schemas.microsoft.com/office/drawing/2014/main" id="{44146F90-1941-B3A9-F85A-015BC7DDEEE1}"/>
                </a:ext>
              </a:extLst>
            </p:cNvPr>
            <p:cNvSpPr/>
            <p:nvPr userDrawn="1"/>
          </p:nvSpPr>
          <p:spPr>
            <a:xfrm rot="365846">
              <a:off x="7989137" y="6166404"/>
              <a:ext cx="1494678" cy="767900"/>
            </a:xfrm>
            <a:custGeom>
              <a:avLst/>
              <a:gdLst>
                <a:gd name="connsiteX0" fmla="*/ 941851 w 1494678"/>
                <a:gd name="connsiteY0" fmla="*/ 1713 h 767900"/>
                <a:gd name="connsiteX1" fmla="*/ 1027882 w 1494678"/>
                <a:gd name="connsiteY1" fmla="*/ 35485 h 767900"/>
                <a:gd name="connsiteX2" fmla="*/ 1297340 w 1494678"/>
                <a:gd name="connsiteY2" fmla="*/ 387182 h 767900"/>
                <a:gd name="connsiteX3" fmla="*/ 1299897 w 1494678"/>
                <a:gd name="connsiteY3" fmla="*/ 390311 h 767900"/>
                <a:gd name="connsiteX4" fmla="*/ 1369925 w 1494678"/>
                <a:gd name="connsiteY4" fmla="*/ 473826 h 767900"/>
                <a:gd name="connsiteX5" fmla="*/ 1494678 w 1494678"/>
                <a:gd name="connsiteY5" fmla="*/ 613513 h 767900"/>
                <a:gd name="connsiteX6" fmla="*/ 49425 w 1494678"/>
                <a:gd name="connsiteY6" fmla="*/ 767900 h 767900"/>
                <a:gd name="connsiteX7" fmla="*/ 15399 w 1494678"/>
                <a:gd name="connsiteY7" fmla="*/ 721380 h 767900"/>
                <a:gd name="connsiteX8" fmla="*/ 37841 w 1494678"/>
                <a:gd name="connsiteY8" fmla="*/ 601585 h 767900"/>
                <a:gd name="connsiteX9" fmla="*/ 911265 w 1494678"/>
                <a:gd name="connsiteY9" fmla="*/ 14570 h 767900"/>
                <a:gd name="connsiteX10" fmla="*/ 941851 w 1494678"/>
                <a:gd name="connsiteY10" fmla="*/ 1713 h 76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4678" h="767900">
                  <a:moveTo>
                    <a:pt x="941851" y="1713"/>
                  </a:moveTo>
                  <a:cubicBezTo>
                    <a:pt x="973764" y="-4797"/>
                    <a:pt x="1007854" y="7421"/>
                    <a:pt x="1027882" y="35485"/>
                  </a:cubicBezTo>
                  <a:cubicBezTo>
                    <a:pt x="1113535" y="155563"/>
                    <a:pt x="1203308" y="272795"/>
                    <a:pt x="1297340" y="387182"/>
                  </a:cubicBezTo>
                  <a:cubicBezTo>
                    <a:pt x="1298191" y="388319"/>
                    <a:pt x="1299045" y="389316"/>
                    <a:pt x="1299897" y="390311"/>
                  </a:cubicBezTo>
                  <a:cubicBezTo>
                    <a:pt x="1322908" y="418338"/>
                    <a:pt x="1346344" y="446082"/>
                    <a:pt x="1369925" y="473826"/>
                  </a:cubicBezTo>
                  <a:lnTo>
                    <a:pt x="1494678" y="613513"/>
                  </a:lnTo>
                  <a:lnTo>
                    <a:pt x="49425" y="767900"/>
                  </a:lnTo>
                  <a:lnTo>
                    <a:pt x="15399" y="721380"/>
                  </a:lnTo>
                  <a:cubicBezTo>
                    <a:pt x="-12016" y="682396"/>
                    <a:pt x="-1788" y="628190"/>
                    <a:pt x="37841" y="601585"/>
                  </a:cubicBezTo>
                  <a:lnTo>
                    <a:pt x="911265" y="14570"/>
                  </a:lnTo>
                  <a:cubicBezTo>
                    <a:pt x="920817" y="8132"/>
                    <a:pt x="931214" y="3882"/>
                    <a:pt x="941851" y="1713"/>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69" name="Freeform 64">
              <a:extLst>
                <a:ext uri="{FF2B5EF4-FFF2-40B4-BE49-F238E27FC236}">
                  <a16:creationId xmlns:a16="http://schemas.microsoft.com/office/drawing/2014/main" id="{075A33DC-3501-62F6-42EF-375B9D0B5F3E}"/>
                </a:ext>
              </a:extLst>
            </p:cNvPr>
            <p:cNvSpPr/>
            <p:nvPr userDrawn="1"/>
          </p:nvSpPr>
          <p:spPr>
            <a:xfrm rot="365846">
              <a:off x="9884384" y="2671834"/>
              <a:ext cx="552404" cy="706819"/>
            </a:xfrm>
            <a:custGeom>
              <a:avLst/>
              <a:gdLst>
                <a:gd name="connsiteX0" fmla="*/ 282722 w 369649"/>
                <a:gd name="connsiteY0" fmla="*/ 0 h 472978"/>
                <a:gd name="connsiteX1" fmla="*/ 57073 w 369649"/>
                <a:gd name="connsiteY1" fmla="*/ 0 h 472978"/>
                <a:gd name="connsiteX2" fmla="*/ 43 w 369649"/>
                <a:gd name="connsiteY2" fmla="*/ 59597 h 472978"/>
                <a:gd name="connsiteX3" fmla="*/ 34546 w 369649"/>
                <a:gd name="connsiteY3" fmla="*/ 424227 h 472978"/>
                <a:gd name="connsiteX4" fmla="*/ 101936 w 369649"/>
                <a:gd name="connsiteY4" fmla="*/ 471924 h 472978"/>
                <a:gd name="connsiteX5" fmla="*/ 323594 w 369649"/>
                <a:gd name="connsiteY5" fmla="*/ 428606 h 472978"/>
                <a:gd name="connsiteX6" fmla="*/ 369028 w 369649"/>
                <a:gd name="connsiteY6" fmla="*/ 364249 h 472978"/>
                <a:gd name="connsiteX7" fmla="*/ 339657 w 369649"/>
                <a:gd name="connsiteY7" fmla="*/ 54742 h 472978"/>
                <a:gd name="connsiteX8" fmla="*/ 282722 w 369649"/>
                <a:gd name="connsiteY8" fmla="*/ 95 h 47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649" h="472978">
                  <a:moveTo>
                    <a:pt x="282722" y="0"/>
                  </a:moveTo>
                  <a:lnTo>
                    <a:pt x="57073" y="0"/>
                  </a:lnTo>
                  <a:cubicBezTo>
                    <a:pt x="24661" y="0"/>
                    <a:pt x="-1193" y="27038"/>
                    <a:pt x="43" y="59597"/>
                  </a:cubicBezTo>
                  <a:cubicBezTo>
                    <a:pt x="4700" y="182505"/>
                    <a:pt x="16296" y="304175"/>
                    <a:pt x="34546" y="424227"/>
                  </a:cubicBezTo>
                  <a:cubicBezTo>
                    <a:pt x="39488" y="456406"/>
                    <a:pt x="70000" y="478112"/>
                    <a:pt x="101936" y="471924"/>
                  </a:cubicBezTo>
                  <a:lnTo>
                    <a:pt x="323594" y="428606"/>
                  </a:lnTo>
                  <a:cubicBezTo>
                    <a:pt x="353440" y="422799"/>
                    <a:pt x="373495" y="394428"/>
                    <a:pt x="369028" y="364249"/>
                  </a:cubicBezTo>
                  <a:cubicBezTo>
                    <a:pt x="353725" y="262191"/>
                    <a:pt x="343935" y="158990"/>
                    <a:pt x="339657" y="54742"/>
                  </a:cubicBezTo>
                  <a:cubicBezTo>
                    <a:pt x="338422" y="24182"/>
                    <a:pt x="313233" y="95"/>
                    <a:pt x="282722" y="95"/>
                  </a:cubicBez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70" name="Freeform 68">
              <a:extLst>
                <a:ext uri="{FF2B5EF4-FFF2-40B4-BE49-F238E27FC236}">
                  <a16:creationId xmlns:a16="http://schemas.microsoft.com/office/drawing/2014/main" id="{F5ECC651-A745-49FA-BF70-E9F895835C3B}"/>
                </a:ext>
              </a:extLst>
            </p:cNvPr>
            <p:cNvSpPr/>
            <p:nvPr userDrawn="1"/>
          </p:nvSpPr>
          <p:spPr>
            <a:xfrm rot="365846">
              <a:off x="10029438" y="851588"/>
              <a:ext cx="775838" cy="1640825"/>
            </a:xfrm>
            <a:custGeom>
              <a:avLst/>
              <a:gdLst>
                <a:gd name="connsiteX0" fmla="*/ 276829 w 519162"/>
                <a:gd name="connsiteY0" fmla="*/ 4474 h 1097981"/>
                <a:gd name="connsiteX1" fmla="*/ 201169 w 519162"/>
                <a:gd name="connsiteY1" fmla="*/ 37224 h 1097981"/>
                <a:gd name="connsiteX2" fmla="*/ 71615 w 519162"/>
                <a:gd name="connsiteY2" fmla="*/ 479254 h 1097981"/>
                <a:gd name="connsiteX3" fmla="*/ 57928 w 519162"/>
                <a:gd name="connsiteY3" fmla="*/ 544468 h 1097981"/>
                <a:gd name="connsiteX4" fmla="*/ 45857 w 519162"/>
                <a:gd name="connsiteY4" fmla="*/ 609968 h 1097981"/>
                <a:gd name="connsiteX5" fmla="*/ 12399 w 519162"/>
                <a:gd name="connsiteY5" fmla="*/ 853022 h 1097981"/>
                <a:gd name="connsiteX6" fmla="*/ 43 w 519162"/>
                <a:gd name="connsiteY6" fmla="*/ 1038384 h 1097981"/>
                <a:gd name="connsiteX7" fmla="*/ 57073 w 519162"/>
                <a:gd name="connsiteY7" fmla="*/ 1097981 h 1097981"/>
                <a:gd name="connsiteX8" fmla="*/ 282722 w 519162"/>
                <a:gd name="connsiteY8" fmla="*/ 1097981 h 1097981"/>
                <a:gd name="connsiteX9" fmla="*/ 339657 w 519162"/>
                <a:gd name="connsiteY9" fmla="*/ 1043334 h 1097981"/>
                <a:gd name="connsiteX10" fmla="*/ 378343 w 519162"/>
                <a:gd name="connsiteY10" fmla="*/ 675563 h 1097981"/>
                <a:gd name="connsiteX11" fmla="*/ 403911 w 519162"/>
                <a:gd name="connsiteY11" fmla="*/ 544754 h 1097981"/>
                <a:gd name="connsiteX12" fmla="*/ 515595 w 519162"/>
                <a:gd name="connsiteY12" fmla="*/ 164225 h 1097981"/>
                <a:gd name="connsiteX13" fmla="*/ 484229 w 519162"/>
                <a:gd name="connsiteY13" fmla="*/ 91966 h 1097981"/>
                <a:gd name="connsiteX14" fmla="*/ 276734 w 519162"/>
                <a:gd name="connsiteY14" fmla="*/ 4569 h 109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9162" h="1097981">
                  <a:moveTo>
                    <a:pt x="276829" y="4474"/>
                  </a:moveTo>
                  <a:cubicBezTo>
                    <a:pt x="246888" y="-8093"/>
                    <a:pt x="212480" y="6759"/>
                    <a:pt x="201169" y="37224"/>
                  </a:cubicBezTo>
                  <a:cubicBezTo>
                    <a:pt x="147941" y="180124"/>
                    <a:pt x="104598" y="327690"/>
                    <a:pt x="71615" y="479254"/>
                  </a:cubicBezTo>
                  <a:cubicBezTo>
                    <a:pt x="66863" y="500960"/>
                    <a:pt x="62300" y="522666"/>
                    <a:pt x="57928" y="544468"/>
                  </a:cubicBezTo>
                  <a:cubicBezTo>
                    <a:pt x="53651" y="566270"/>
                    <a:pt x="49754" y="588166"/>
                    <a:pt x="45857" y="609968"/>
                  </a:cubicBezTo>
                  <a:cubicBezTo>
                    <a:pt x="31599" y="690891"/>
                    <a:pt x="20478" y="772004"/>
                    <a:pt x="12399" y="853022"/>
                  </a:cubicBezTo>
                  <a:cubicBezTo>
                    <a:pt x="6506" y="914429"/>
                    <a:pt x="2419" y="976216"/>
                    <a:pt x="43" y="1038384"/>
                  </a:cubicBezTo>
                  <a:cubicBezTo>
                    <a:pt x="-1193" y="1070848"/>
                    <a:pt x="24661" y="1097981"/>
                    <a:pt x="57073" y="1097981"/>
                  </a:cubicBezTo>
                  <a:lnTo>
                    <a:pt x="282722" y="1097981"/>
                  </a:lnTo>
                  <a:cubicBezTo>
                    <a:pt x="313233" y="1097981"/>
                    <a:pt x="338421" y="1073895"/>
                    <a:pt x="339657" y="1043334"/>
                  </a:cubicBezTo>
                  <a:cubicBezTo>
                    <a:pt x="344790" y="919189"/>
                    <a:pt x="357717" y="796567"/>
                    <a:pt x="378343" y="675563"/>
                  </a:cubicBezTo>
                  <a:cubicBezTo>
                    <a:pt x="385852" y="631674"/>
                    <a:pt x="394406" y="588166"/>
                    <a:pt x="403911" y="544754"/>
                  </a:cubicBezTo>
                  <a:cubicBezTo>
                    <a:pt x="432236" y="415562"/>
                    <a:pt x="469401" y="288561"/>
                    <a:pt x="515595" y="164225"/>
                  </a:cubicBezTo>
                  <a:cubicBezTo>
                    <a:pt x="526241" y="135664"/>
                    <a:pt x="512269" y="103771"/>
                    <a:pt x="484229" y="91966"/>
                  </a:cubicBezTo>
                  <a:lnTo>
                    <a:pt x="276734" y="4569"/>
                  </a:ln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71" name="Freeform 69">
              <a:extLst>
                <a:ext uri="{FF2B5EF4-FFF2-40B4-BE49-F238E27FC236}">
                  <a16:creationId xmlns:a16="http://schemas.microsoft.com/office/drawing/2014/main" id="{7280BDA3-773F-B05C-A66C-3A72D55DCF8E}"/>
                </a:ext>
              </a:extLst>
            </p:cNvPr>
            <p:cNvSpPr/>
            <p:nvPr userDrawn="1"/>
          </p:nvSpPr>
          <p:spPr>
            <a:xfrm rot="365846">
              <a:off x="10078587" y="4378090"/>
              <a:ext cx="1238084" cy="1546905"/>
            </a:xfrm>
            <a:custGeom>
              <a:avLst/>
              <a:gdLst>
                <a:gd name="connsiteX0" fmla="*/ 581194 w 828481"/>
                <a:gd name="connsiteY0" fmla="*/ 491976 h 1035133"/>
                <a:gd name="connsiteX1" fmla="*/ 506865 w 828481"/>
                <a:gd name="connsiteY1" fmla="*/ 381445 h 1035133"/>
                <a:gd name="connsiteX2" fmla="*/ 317430 w 828481"/>
                <a:gd name="connsiteY2" fmla="*/ 33095 h 1035133"/>
                <a:gd name="connsiteX3" fmla="*/ 244241 w 828481"/>
                <a:gd name="connsiteY3" fmla="*/ 4249 h 1035133"/>
                <a:gd name="connsiteX4" fmla="*/ 35510 w 828481"/>
                <a:gd name="connsiteY4" fmla="*/ 89551 h 1035133"/>
                <a:gd name="connsiteX5" fmla="*/ 5189 w 828481"/>
                <a:gd name="connsiteY5" fmla="*/ 166285 h 1035133"/>
                <a:gd name="connsiteX6" fmla="*/ 225611 w 828481"/>
                <a:gd name="connsiteY6" fmla="*/ 570614 h 1035133"/>
                <a:gd name="connsiteX7" fmla="*/ 262015 w 828481"/>
                <a:gd name="connsiteY7" fmla="*/ 626404 h 1035133"/>
                <a:gd name="connsiteX8" fmla="*/ 299750 w 828481"/>
                <a:gd name="connsiteY8" fmla="*/ 681336 h 1035133"/>
                <a:gd name="connsiteX9" fmla="*/ 447649 w 828481"/>
                <a:gd name="connsiteY9" fmla="*/ 876884 h 1035133"/>
                <a:gd name="connsiteX10" fmla="*/ 569978 w 828481"/>
                <a:gd name="connsiteY10" fmla="*/ 1016833 h 1035133"/>
                <a:gd name="connsiteX11" fmla="*/ 652197 w 828481"/>
                <a:gd name="connsiteY11" fmla="*/ 1018357 h 1035133"/>
                <a:gd name="connsiteX12" fmla="*/ 811786 w 828481"/>
                <a:gd name="connsiteY12" fmla="*/ 858510 h 1035133"/>
                <a:gd name="connsiteX13" fmla="*/ 813497 w 828481"/>
                <a:gd name="connsiteY13" fmla="*/ 779586 h 1035133"/>
                <a:gd name="connsiteX14" fmla="*/ 581289 w 828481"/>
                <a:gd name="connsiteY14" fmla="*/ 492071 h 103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8481" h="1035133">
                  <a:moveTo>
                    <a:pt x="581194" y="491976"/>
                  </a:moveTo>
                  <a:cubicBezTo>
                    <a:pt x="555531" y="455703"/>
                    <a:pt x="530723" y="418860"/>
                    <a:pt x="506865" y="381445"/>
                  </a:cubicBezTo>
                  <a:cubicBezTo>
                    <a:pt x="435862" y="270152"/>
                    <a:pt x="372654" y="153908"/>
                    <a:pt x="317430" y="33095"/>
                  </a:cubicBezTo>
                  <a:cubicBezTo>
                    <a:pt x="304788" y="5391"/>
                    <a:pt x="272376" y="-7271"/>
                    <a:pt x="244241" y="4249"/>
                  </a:cubicBezTo>
                  <a:lnTo>
                    <a:pt x="35510" y="89551"/>
                  </a:lnTo>
                  <a:cubicBezTo>
                    <a:pt x="5474" y="101832"/>
                    <a:pt x="-8308" y="136677"/>
                    <a:pt x="5189" y="166285"/>
                  </a:cubicBezTo>
                  <a:cubicBezTo>
                    <a:pt x="68493" y="304996"/>
                    <a:pt x="141967" y="440090"/>
                    <a:pt x="225611" y="570614"/>
                  </a:cubicBezTo>
                  <a:cubicBezTo>
                    <a:pt x="237587" y="589274"/>
                    <a:pt x="249659" y="607934"/>
                    <a:pt x="262015" y="626404"/>
                  </a:cubicBezTo>
                  <a:cubicBezTo>
                    <a:pt x="274372" y="644873"/>
                    <a:pt x="287014" y="663152"/>
                    <a:pt x="299750" y="681336"/>
                  </a:cubicBezTo>
                  <a:cubicBezTo>
                    <a:pt x="346800" y="748645"/>
                    <a:pt x="396131" y="813859"/>
                    <a:pt x="447649" y="876884"/>
                  </a:cubicBezTo>
                  <a:cubicBezTo>
                    <a:pt x="486905" y="924581"/>
                    <a:pt x="527681" y="971231"/>
                    <a:pt x="569978" y="1016833"/>
                  </a:cubicBezTo>
                  <a:cubicBezTo>
                    <a:pt x="591935" y="1040634"/>
                    <a:pt x="629290" y="1041300"/>
                    <a:pt x="652197" y="1018357"/>
                  </a:cubicBezTo>
                  <a:lnTo>
                    <a:pt x="811786" y="858510"/>
                  </a:lnTo>
                  <a:cubicBezTo>
                    <a:pt x="833363" y="836899"/>
                    <a:pt x="834123" y="802054"/>
                    <a:pt x="813497" y="779586"/>
                  </a:cubicBezTo>
                  <a:cubicBezTo>
                    <a:pt x="729663" y="688381"/>
                    <a:pt x="652197" y="592416"/>
                    <a:pt x="581289" y="492071"/>
                  </a:cubicBez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143" name="Freeform: Shape 142">
              <a:extLst>
                <a:ext uri="{FF2B5EF4-FFF2-40B4-BE49-F238E27FC236}">
                  <a16:creationId xmlns:a16="http://schemas.microsoft.com/office/drawing/2014/main" id="{FEAEF0E5-6E61-BD84-2720-44424422D315}"/>
                </a:ext>
              </a:extLst>
            </p:cNvPr>
            <p:cNvSpPr/>
            <p:nvPr userDrawn="1"/>
          </p:nvSpPr>
          <p:spPr>
            <a:xfrm rot="365846">
              <a:off x="11045532" y="5884089"/>
              <a:ext cx="1195988" cy="956996"/>
            </a:xfrm>
            <a:custGeom>
              <a:avLst/>
              <a:gdLst>
                <a:gd name="connsiteX0" fmla="*/ 321784 w 1195988"/>
                <a:gd name="connsiteY0" fmla="*/ 20 h 956996"/>
                <a:gd name="connsiteX1" fmla="*/ 381140 w 1195988"/>
                <a:gd name="connsiteY1" fmla="*/ 22428 h 956996"/>
                <a:gd name="connsiteX2" fmla="*/ 804571 w 1195988"/>
                <a:gd name="connsiteY2" fmla="*/ 366159 h 956996"/>
                <a:gd name="connsiteX3" fmla="*/ 969341 w 1195988"/>
                <a:gd name="connsiteY3" fmla="*/ 477559 h 956996"/>
                <a:gd name="connsiteX4" fmla="*/ 969485 w 1195988"/>
                <a:gd name="connsiteY4" fmla="*/ 477700 h 956996"/>
                <a:gd name="connsiteX5" fmla="*/ 1161781 w 1195988"/>
                <a:gd name="connsiteY5" fmla="*/ 592640 h 956996"/>
                <a:gd name="connsiteX6" fmla="*/ 1195988 w 1195988"/>
                <a:gd name="connsiteY6" fmla="*/ 912849 h 956996"/>
                <a:gd name="connsiteX7" fmla="*/ 782731 w 1195988"/>
                <a:gd name="connsiteY7" fmla="*/ 956996 h 956996"/>
                <a:gd name="connsiteX8" fmla="*/ 685823 w 1195988"/>
                <a:gd name="connsiteY8" fmla="*/ 899681 h 956996"/>
                <a:gd name="connsiteX9" fmla="*/ 520911 w 1195988"/>
                <a:gd name="connsiteY9" fmla="*/ 788282 h 956996"/>
                <a:gd name="connsiteX10" fmla="*/ 27452 w 1195988"/>
                <a:gd name="connsiteY10" fmla="*/ 387216 h 956996"/>
                <a:gd name="connsiteX11" fmla="*/ 24895 w 1195988"/>
                <a:gd name="connsiteY11" fmla="*/ 263864 h 956996"/>
                <a:gd name="connsiteX12" fmla="*/ 263386 w 1195988"/>
                <a:gd name="connsiteY12" fmla="*/ 24991 h 956996"/>
                <a:gd name="connsiteX13" fmla="*/ 321784 w 1195988"/>
                <a:gd name="connsiteY13" fmla="*/ 20 h 95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5988" h="956996">
                  <a:moveTo>
                    <a:pt x="321784" y="20"/>
                  </a:moveTo>
                  <a:cubicBezTo>
                    <a:pt x="343002" y="-442"/>
                    <a:pt x="364379" y="6992"/>
                    <a:pt x="381140" y="22428"/>
                  </a:cubicBezTo>
                  <a:cubicBezTo>
                    <a:pt x="515655" y="146489"/>
                    <a:pt x="656846" y="261161"/>
                    <a:pt x="804571" y="366159"/>
                  </a:cubicBezTo>
                  <a:cubicBezTo>
                    <a:pt x="858548" y="404572"/>
                    <a:pt x="913519" y="441705"/>
                    <a:pt x="969341" y="477559"/>
                  </a:cubicBezTo>
                  <a:lnTo>
                    <a:pt x="969485" y="477700"/>
                  </a:lnTo>
                  <a:lnTo>
                    <a:pt x="1161781" y="592640"/>
                  </a:lnTo>
                  <a:lnTo>
                    <a:pt x="1195988" y="912849"/>
                  </a:lnTo>
                  <a:lnTo>
                    <a:pt x="782731" y="956996"/>
                  </a:lnTo>
                  <a:lnTo>
                    <a:pt x="685823" y="899681"/>
                  </a:lnTo>
                  <a:cubicBezTo>
                    <a:pt x="630141" y="863688"/>
                    <a:pt x="575172" y="826694"/>
                    <a:pt x="520911" y="788282"/>
                  </a:cubicBezTo>
                  <a:cubicBezTo>
                    <a:pt x="348897" y="666498"/>
                    <a:pt x="184125" y="532618"/>
                    <a:pt x="27452" y="387216"/>
                  </a:cubicBezTo>
                  <a:cubicBezTo>
                    <a:pt x="-8060" y="354208"/>
                    <a:pt x="-9337" y="298154"/>
                    <a:pt x="24895" y="263864"/>
                  </a:cubicBezTo>
                  <a:lnTo>
                    <a:pt x="263386" y="24991"/>
                  </a:lnTo>
                  <a:cubicBezTo>
                    <a:pt x="279507" y="8842"/>
                    <a:pt x="300566" y="484"/>
                    <a:pt x="321784" y="20"/>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13" name="Freeform: Shape 112">
              <a:extLst>
                <a:ext uri="{FF2B5EF4-FFF2-40B4-BE49-F238E27FC236}">
                  <a16:creationId xmlns:a16="http://schemas.microsoft.com/office/drawing/2014/main" id="{BC6C7173-E732-D09A-ABCC-4EF6BDE8B5F2}"/>
                </a:ext>
              </a:extLst>
            </p:cNvPr>
            <p:cNvSpPr/>
            <p:nvPr userDrawn="1"/>
          </p:nvSpPr>
          <p:spPr>
            <a:xfrm rot="365846">
              <a:off x="5969920" y="2335197"/>
              <a:ext cx="1874329" cy="4493158"/>
            </a:xfrm>
            <a:custGeom>
              <a:avLst/>
              <a:gdLst>
                <a:gd name="connsiteX0" fmla="*/ 85244 w 1874329"/>
                <a:gd name="connsiteY0" fmla="*/ 1 h 4493158"/>
                <a:gd name="connsiteX1" fmla="*/ 541346 w 1874329"/>
                <a:gd name="connsiteY1" fmla="*/ 0 h 4493158"/>
                <a:gd name="connsiteX2" fmla="*/ 626145 w 1874329"/>
                <a:gd name="connsiteY2" fmla="*/ 83513 h 4493158"/>
                <a:gd name="connsiteX3" fmla="*/ 750291 w 1874329"/>
                <a:gd name="connsiteY3" fmla="*/ 1317868 h 4493158"/>
                <a:gd name="connsiteX4" fmla="*/ 749866 w 1874329"/>
                <a:gd name="connsiteY4" fmla="*/ 1317868 h 4493158"/>
                <a:gd name="connsiteX5" fmla="*/ 775433 w 1874329"/>
                <a:gd name="connsiteY5" fmla="*/ 1450894 h 4493158"/>
                <a:gd name="connsiteX6" fmla="*/ 784951 w 1874329"/>
                <a:gd name="connsiteY6" fmla="*/ 1498127 h 4493158"/>
                <a:gd name="connsiteX7" fmla="*/ 787791 w 1874329"/>
                <a:gd name="connsiteY7" fmla="*/ 1512212 h 4493158"/>
                <a:gd name="connsiteX8" fmla="*/ 788076 w 1874329"/>
                <a:gd name="connsiteY8" fmla="*/ 1513352 h 4493158"/>
                <a:gd name="connsiteX9" fmla="*/ 790775 w 1874329"/>
                <a:gd name="connsiteY9" fmla="*/ 1525728 h 4493158"/>
                <a:gd name="connsiteX10" fmla="*/ 1169604 w 1874329"/>
                <a:gd name="connsiteY10" fmla="*/ 2793945 h 4493158"/>
                <a:gd name="connsiteX11" fmla="*/ 1244318 w 1874329"/>
                <a:gd name="connsiteY11" fmla="*/ 2977191 h 4493158"/>
                <a:gd name="connsiteX12" fmla="*/ 1244745 w 1874329"/>
                <a:gd name="connsiteY12" fmla="*/ 2978330 h 4493158"/>
                <a:gd name="connsiteX13" fmla="*/ 1244603 w 1874329"/>
                <a:gd name="connsiteY13" fmla="*/ 2978187 h 4493158"/>
                <a:gd name="connsiteX14" fmla="*/ 1860788 w 1874329"/>
                <a:gd name="connsiteY14" fmla="*/ 4151792 h 4493158"/>
                <a:gd name="connsiteX15" fmla="*/ 1836640 w 1874329"/>
                <a:gd name="connsiteY15" fmla="*/ 4269024 h 4493158"/>
                <a:gd name="connsiteX16" fmla="*/ 1534779 w 1874329"/>
                <a:gd name="connsiteY16" fmla="*/ 4471914 h 4493158"/>
                <a:gd name="connsiteX17" fmla="*/ 1335909 w 1874329"/>
                <a:gd name="connsiteY17" fmla="*/ 4493158 h 4493158"/>
                <a:gd name="connsiteX18" fmla="*/ 1151981 w 1874329"/>
                <a:gd name="connsiteY18" fmla="*/ 4191519 h 4493158"/>
                <a:gd name="connsiteX19" fmla="*/ 668190 w 1874329"/>
                <a:gd name="connsiteY19" fmla="*/ 3221758 h 4493158"/>
                <a:gd name="connsiteX20" fmla="*/ 665349 w 1874329"/>
                <a:gd name="connsiteY20" fmla="*/ 3214929 h 4493158"/>
                <a:gd name="connsiteX21" fmla="*/ 590209 w 1874329"/>
                <a:gd name="connsiteY21" fmla="*/ 3030543 h 4493158"/>
                <a:gd name="connsiteX22" fmla="*/ 173737 w 1874329"/>
                <a:gd name="connsiteY22" fmla="*/ 1633430 h 4493158"/>
                <a:gd name="connsiteX23" fmla="*/ 135812 w 1874329"/>
                <a:gd name="connsiteY23" fmla="*/ 1437947 h 4493158"/>
                <a:gd name="connsiteX24" fmla="*/ 19 w 1874329"/>
                <a:gd name="connsiteY24" fmla="*/ 86786 h 4493158"/>
                <a:gd name="connsiteX25" fmla="*/ 85244 w 1874329"/>
                <a:gd name="connsiteY25" fmla="*/ 1 h 449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4329" h="4493158">
                  <a:moveTo>
                    <a:pt x="85244" y="1"/>
                  </a:moveTo>
                  <a:lnTo>
                    <a:pt x="541346" y="0"/>
                  </a:lnTo>
                  <a:cubicBezTo>
                    <a:pt x="587653" y="0"/>
                    <a:pt x="625151" y="37133"/>
                    <a:pt x="626145" y="83513"/>
                  </a:cubicBezTo>
                  <a:cubicBezTo>
                    <a:pt x="635521" y="500656"/>
                    <a:pt x="677139" y="912678"/>
                    <a:pt x="750291" y="1317868"/>
                  </a:cubicBezTo>
                  <a:lnTo>
                    <a:pt x="749866" y="1317868"/>
                  </a:lnTo>
                  <a:cubicBezTo>
                    <a:pt x="757961" y="1362259"/>
                    <a:pt x="766626" y="1406646"/>
                    <a:pt x="775433" y="1450894"/>
                  </a:cubicBezTo>
                  <a:cubicBezTo>
                    <a:pt x="778558" y="1466686"/>
                    <a:pt x="781682" y="1482335"/>
                    <a:pt x="784951" y="1498127"/>
                  </a:cubicBezTo>
                  <a:cubicBezTo>
                    <a:pt x="785945" y="1502823"/>
                    <a:pt x="786797" y="1507517"/>
                    <a:pt x="787791" y="1512212"/>
                  </a:cubicBezTo>
                  <a:cubicBezTo>
                    <a:pt x="787933" y="1512498"/>
                    <a:pt x="788075" y="1512924"/>
                    <a:pt x="788076" y="1513352"/>
                  </a:cubicBezTo>
                  <a:cubicBezTo>
                    <a:pt x="788928" y="1517477"/>
                    <a:pt x="789921" y="1521603"/>
                    <a:pt x="790775" y="1525728"/>
                  </a:cubicBezTo>
                  <a:cubicBezTo>
                    <a:pt x="880830" y="1957383"/>
                    <a:pt x="1007106" y="2380928"/>
                    <a:pt x="1169604" y="2793945"/>
                  </a:cubicBezTo>
                  <a:cubicBezTo>
                    <a:pt x="1193751" y="2855264"/>
                    <a:pt x="1218609" y="2916299"/>
                    <a:pt x="1244318" y="2977191"/>
                  </a:cubicBezTo>
                  <a:cubicBezTo>
                    <a:pt x="1244460" y="2977617"/>
                    <a:pt x="1244745" y="2978330"/>
                    <a:pt x="1244745" y="2978330"/>
                  </a:cubicBezTo>
                  <a:lnTo>
                    <a:pt x="1244603" y="2978187"/>
                  </a:lnTo>
                  <a:cubicBezTo>
                    <a:pt x="1417896" y="3388216"/>
                    <a:pt x="1623717" y="3780033"/>
                    <a:pt x="1860788" y="4151792"/>
                  </a:cubicBezTo>
                  <a:cubicBezTo>
                    <a:pt x="1885788" y="4191059"/>
                    <a:pt x="1875276" y="4243131"/>
                    <a:pt x="1836640" y="4269024"/>
                  </a:cubicBezTo>
                  <a:lnTo>
                    <a:pt x="1534779" y="4471914"/>
                  </a:lnTo>
                  <a:lnTo>
                    <a:pt x="1335909" y="4493158"/>
                  </a:lnTo>
                  <a:lnTo>
                    <a:pt x="1151981" y="4191519"/>
                  </a:lnTo>
                  <a:cubicBezTo>
                    <a:pt x="971062" y="3880149"/>
                    <a:pt x="809559" y="3556595"/>
                    <a:pt x="668190" y="3221758"/>
                  </a:cubicBezTo>
                  <a:cubicBezTo>
                    <a:pt x="667196" y="3219480"/>
                    <a:pt x="666345" y="3217204"/>
                    <a:pt x="665349" y="3214929"/>
                  </a:cubicBezTo>
                  <a:cubicBezTo>
                    <a:pt x="639640" y="3153751"/>
                    <a:pt x="614498" y="3092289"/>
                    <a:pt x="590209" y="3030543"/>
                  </a:cubicBezTo>
                  <a:cubicBezTo>
                    <a:pt x="410807" y="2575556"/>
                    <a:pt x="271889" y="2109046"/>
                    <a:pt x="173737" y="1633430"/>
                  </a:cubicBezTo>
                  <a:cubicBezTo>
                    <a:pt x="160384" y="1568411"/>
                    <a:pt x="147743" y="1503249"/>
                    <a:pt x="135812" y="1437947"/>
                  </a:cubicBezTo>
                  <a:cubicBezTo>
                    <a:pt x="55272" y="994484"/>
                    <a:pt x="9677" y="543338"/>
                    <a:pt x="19" y="86786"/>
                  </a:cubicBezTo>
                  <a:cubicBezTo>
                    <a:pt x="-977" y="39125"/>
                    <a:pt x="37660" y="0"/>
                    <a:pt x="85244" y="1"/>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19" name="Freeform: Shape 118">
              <a:extLst>
                <a:ext uri="{FF2B5EF4-FFF2-40B4-BE49-F238E27FC236}">
                  <a16:creationId xmlns:a16="http://schemas.microsoft.com/office/drawing/2014/main" id="{DAA0AED3-6A8A-3F36-CDBD-E0584DA40E1F}"/>
                </a:ext>
              </a:extLst>
            </p:cNvPr>
            <p:cNvSpPr/>
            <p:nvPr userDrawn="1"/>
          </p:nvSpPr>
          <p:spPr>
            <a:xfrm rot="365846">
              <a:off x="6610762" y="-122945"/>
              <a:ext cx="2295303" cy="1060907"/>
            </a:xfrm>
            <a:custGeom>
              <a:avLst/>
              <a:gdLst>
                <a:gd name="connsiteX0" fmla="*/ 89739 w 2295303"/>
                <a:gd name="connsiteY0" fmla="*/ 233636 h 1060907"/>
                <a:gd name="connsiteX1" fmla="*/ 2276854 w 2295303"/>
                <a:gd name="connsiteY1" fmla="*/ 0 h 1060907"/>
                <a:gd name="connsiteX2" fmla="*/ 2288401 w 2295303"/>
                <a:gd name="connsiteY2" fmla="*/ 17139 h 1060907"/>
                <a:gd name="connsiteX3" fmla="*/ 2289591 w 2295303"/>
                <a:gd name="connsiteY3" fmla="*/ 81144 h 1060907"/>
                <a:gd name="connsiteX4" fmla="*/ 2011043 w 2295303"/>
                <a:gd name="connsiteY4" fmla="*/ 994816 h 1060907"/>
                <a:gd name="connsiteX5" fmla="*/ 1911613 w 2295303"/>
                <a:gd name="connsiteY5" fmla="*/ 1059265 h 1060907"/>
                <a:gd name="connsiteX6" fmla="*/ 795009 w 2295303"/>
                <a:gd name="connsiteY6" fmla="*/ 839029 h 1060907"/>
                <a:gd name="connsiteX7" fmla="*/ 793163 w 2295303"/>
                <a:gd name="connsiteY7" fmla="*/ 838602 h 1060907"/>
                <a:gd name="connsiteX8" fmla="*/ 599841 w 2295303"/>
                <a:gd name="connsiteY8" fmla="*/ 800473 h 1060907"/>
                <a:gd name="connsiteX9" fmla="*/ 597996 w 2295303"/>
                <a:gd name="connsiteY9" fmla="*/ 800045 h 1060907"/>
                <a:gd name="connsiteX10" fmla="*/ 68883 w 2295303"/>
                <a:gd name="connsiteY10" fmla="*/ 695760 h 1060907"/>
                <a:gd name="connsiteX11" fmla="*/ 1983 w 2295303"/>
                <a:gd name="connsiteY11" fmla="*/ 594178 h 1060907"/>
                <a:gd name="connsiteX12" fmla="*/ 81424 w 2295303"/>
                <a:gd name="connsiteY12" fmla="*/ 263024 h 1060907"/>
                <a:gd name="connsiteX13" fmla="*/ 89739 w 2295303"/>
                <a:gd name="connsiteY13" fmla="*/ 233636 h 106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95303" h="1060907">
                  <a:moveTo>
                    <a:pt x="89739" y="233636"/>
                  </a:moveTo>
                  <a:lnTo>
                    <a:pt x="2276854" y="0"/>
                  </a:lnTo>
                  <a:lnTo>
                    <a:pt x="2288401" y="17139"/>
                  </a:lnTo>
                  <a:cubicBezTo>
                    <a:pt x="2296836" y="36826"/>
                    <a:pt x="2297901" y="59661"/>
                    <a:pt x="2289591" y="81144"/>
                  </a:cubicBezTo>
                  <a:cubicBezTo>
                    <a:pt x="2173826" y="379490"/>
                    <a:pt x="2080929" y="684521"/>
                    <a:pt x="2011043" y="994816"/>
                  </a:cubicBezTo>
                  <a:cubicBezTo>
                    <a:pt x="2000959" y="1039632"/>
                    <a:pt x="1956783" y="1068229"/>
                    <a:pt x="1911613" y="1059265"/>
                  </a:cubicBezTo>
                  <a:lnTo>
                    <a:pt x="795009" y="839029"/>
                  </a:lnTo>
                  <a:lnTo>
                    <a:pt x="793163" y="838602"/>
                  </a:lnTo>
                  <a:lnTo>
                    <a:pt x="599841" y="800473"/>
                  </a:lnTo>
                  <a:lnTo>
                    <a:pt x="597996" y="800045"/>
                  </a:lnTo>
                  <a:lnTo>
                    <a:pt x="68883" y="695760"/>
                  </a:lnTo>
                  <a:cubicBezTo>
                    <a:pt x="22152" y="686654"/>
                    <a:pt x="-8244" y="640844"/>
                    <a:pt x="1983" y="594178"/>
                  </a:cubicBezTo>
                  <a:cubicBezTo>
                    <a:pt x="26236" y="483277"/>
                    <a:pt x="52718" y="372882"/>
                    <a:pt x="81424" y="263024"/>
                  </a:cubicBezTo>
                  <a:lnTo>
                    <a:pt x="89739" y="233636"/>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26" name="Freeform: Shape 125">
              <a:extLst>
                <a:ext uri="{FF2B5EF4-FFF2-40B4-BE49-F238E27FC236}">
                  <a16:creationId xmlns:a16="http://schemas.microsoft.com/office/drawing/2014/main" id="{C6BD1B10-3428-648D-0BD9-9ED6AB9144E9}"/>
                </a:ext>
              </a:extLst>
            </p:cNvPr>
            <p:cNvSpPr/>
            <p:nvPr userDrawn="1"/>
          </p:nvSpPr>
          <p:spPr>
            <a:xfrm rot="365846">
              <a:off x="8799788" y="-103608"/>
              <a:ext cx="1868806" cy="1539836"/>
            </a:xfrm>
            <a:custGeom>
              <a:avLst/>
              <a:gdLst>
                <a:gd name="connsiteX0" fmla="*/ 343523 w 1868806"/>
                <a:gd name="connsiteY0" fmla="*/ 162937 h 1539836"/>
                <a:gd name="connsiteX1" fmla="*/ 1868806 w 1868806"/>
                <a:gd name="connsiteY1" fmla="*/ 0 h 1539836"/>
                <a:gd name="connsiteX2" fmla="*/ 1717984 w 1868806"/>
                <a:gd name="connsiteY2" fmla="*/ 261594 h 1539836"/>
                <a:gd name="connsiteX3" fmla="*/ 1574289 w 1868806"/>
                <a:gd name="connsiteY3" fmla="*/ 553555 h 1539836"/>
                <a:gd name="connsiteX4" fmla="*/ 1569460 w 1868806"/>
                <a:gd name="connsiteY4" fmla="*/ 563941 h 1539836"/>
                <a:gd name="connsiteX5" fmla="*/ 1558381 w 1868806"/>
                <a:gd name="connsiteY5" fmla="*/ 588553 h 1539836"/>
                <a:gd name="connsiteX6" fmla="*/ 1536221 w 1868806"/>
                <a:gd name="connsiteY6" fmla="*/ 640056 h 1539836"/>
                <a:gd name="connsiteX7" fmla="*/ 1522018 w 1868806"/>
                <a:gd name="connsiteY7" fmla="*/ 672637 h 1539836"/>
                <a:gd name="connsiteX8" fmla="*/ 1519177 w 1868806"/>
                <a:gd name="connsiteY8" fmla="*/ 679466 h 1539836"/>
                <a:gd name="connsiteX9" fmla="*/ 1504545 w 1868806"/>
                <a:gd name="connsiteY9" fmla="*/ 715176 h 1539836"/>
                <a:gd name="connsiteX10" fmla="*/ 1481392 w 1868806"/>
                <a:gd name="connsiteY10" fmla="*/ 772085 h 1539836"/>
                <a:gd name="connsiteX11" fmla="*/ 1466762 w 1868806"/>
                <a:gd name="connsiteY11" fmla="*/ 809360 h 1539836"/>
                <a:gd name="connsiteX12" fmla="*/ 1464489 w 1868806"/>
                <a:gd name="connsiteY12" fmla="*/ 815479 h 1539836"/>
                <a:gd name="connsiteX13" fmla="*/ 1261225 w 1868806"/>
                <a:gd name="connsiteY13" fmla="*/ 1474199 h 1539836"/>
                <a:gd name="connsiteX14" fmla="*/ 1161937 w 1868806"/>
                <a:gd name="connsiteY14" fmla="*/ 1538223 h 1539836"/>
                <a:gd name="connsiteX15" fmla="*/ 68770 w 1868806"/>
                <a:gd name="connsiteY15" fmla="*/ 1322679 h 1539836"/>
                <a:gd name="connsiteX16" fmla="*/ 2151 w 1868806"/>
                <a:gd name="connsiteY16" fmla="*/ 1219675 h 1539836"/>
                <a:gd name="connsiteX17" fmla="*/ 297886 w 1868806"/>
                <a:gd name="connsiteY17" fmla="*/ 273564 h 1539836"/>
                <a:gd name="connsiteX18" fmla="*/ 321465 w 1868806"/>
                <a:gd name="connsiteY18" fmla="*/ 215658 h 1539836"/>
                <a:gd name="connsiteX19" fmla="*/ 334108 w 1868806"/>
                <a:gd name="connsiteY19" fmla="*/ 185211 h 1539836"/>
                <a:gd name="connsiteX20" fmla="*/ 339506 w 1868806"/>
                <a:gd name="connsiteY20" fmla="*/ 172266 h 1539836"/>
                <a:gd name="connsiteX21" fmla="*/ 342205 w 1868806"/>
                <a:gd name="connsiteY21" fmla="*/ 166006 h 1539836"/>
                <a:gd name="connsiteX22" fmla="*/ 343523 w 1868806"/>
                <a:gd name="connsiteY22" fmla="*/ 162937 h 15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8806" h="1539836">
                  <a:moveTo>
                    <a:pt x="343523" y="162937"/>
                  </a:moveTo>
                  <a:lnTo>
                    <a:pt x="1868806" y="0"/>
                  </a:lnTo>
                  <a:lnTo>
                    <a:pt x="1717984" y="261594"/>
                  </a:lnTo>
                  <a:cubicBezTo>
                    <a:pt x="1666866" y="357397"/>
                    <a:pt x="1618961" y="454747"/>
                    <a:pt x="1574289" y="553555"/>
                  </a:cubicBezTo>
                  <a:cubicBezTo>
                    <a:pt x="1572727" y="556970"/>
                    <a:pt x="1571022" y="560526"/>
                    <a:pt x="1569460" y="563941"/>
                  </a:cubicBezTo>
                  <a:cubicBezTo>
                    <a:pt x="1565766" y="572193"/>
                    <a:pt x="1562074" y="580303"/>
                    <a:pt x="1558381" y="588553"/>
                  </a:cubicBezTo>
                  <a:cubicBezTo>
                    <a:pt x="1550852" y="605628"/>
                    <a:pt x="1543607" y="622842"/>
                    <a:pt x="1536221" y="640056"/>
                  </a:cubicBezTo>
                  <a:cubicBezTo>
                    <a:pt x="1531534" y="651012"/>
                    <a:pt x="1526562" y="661682"/>
                    <a:pt x="1522018" y="672637"/>
                  </a:cubicBezTo>
                  <a:cubicBezTo>
                    <a:pt x="1521022" y="674914"/>
                    <a:pt x="1520028" y="677190"/>
                    <a:pt x="1519177" y="679466"/>
                  </a:cubicBezTo>
                  <a:cubicBezTo>
                    <a:pt x="1514347" y="691417"/>
                    <a:pt x="1509232" y="703226"/>
                    <a:pt x="1504545" y="715176"/>
                  </a:cubicBezTo>
                  <a:cubicBezTo>
                    <a:pt x="1497018" y="734098"/>
                    <a:pt x="1488921" y="753022"/>
                    <a:pt x="1481392" y="772085"/>
                  </a:cubicBezTo>
                  <a:cubicBezTo>
                    <a:pt x="1476422" y="784462"/>
                    <a:pt x="1471591" y="796982"/>
                    <a:pt x="1466762" y="809360"/>
                  </a:cubicBezTo>
                  <a:cubicBezTo>
                    <a:pt x="1466052" y="811354"/>
                    <a:pt x="1465342" y="813486"/>
                    <a:pt x="1464489" y="815479"/>
                  </a:cubicBezTo>
                  <a:cubicBezTo>
                    <a:pt x="1381252" y="1030879"/>
                    <a:pt x="1313497" y="1250689"/>
                    <a:pt x="1261225" y="1474199"/>
                  </a:cubicBezTo>
                  <a:cubicBezTo>
                    <a:pt x="1250857" y="1518874"/>
                    <a:pt x="1206822" y="1547042"/>
                    <a:pt x="1161937" y="1538223"/>
                  </a:cubicBezTo>
                  <a:lnTo>
                    <a:pt x="68770" y="1322679"/>
                  </a:lnTo>
                  <a:cubicBezTo>
                    <a:pt x="21470" y="1313431"/>
                    <a:pt x="-8501" y="1266766"/>
                    <a:pt x="2151" y="1219675"/>
                  </a:cubicBezTo>
                  <a:cubicBezTo>
                    <a:pt x="75162" y="897855"/>
                    <a:pt x="173883" y="582010"/>
                    <a:pt x="297886" y="273564"/>
                  </a:cubicBezTo>
                  <a:cubicBezTo>
                    <a:pt x="305699" y="254214"/>
                    <a:pt x="313512" y="234865"/>
                    <a:pt x="321465" y="215658"/>
                  </a:cubicBezTo>
                  <a:cubicBezTo>
                    <a:pt x="325727" y="205415"/>
                    <a:pt x="329846" y="195314"/>
                    <a:pt x="334108" y="185211"/>
                  </a:cubicBezTo>
                  <a:cubicBezTo>
                    <a:pt x="335955" y="180945"/>
                    <a:pt x="337659" y="176534"/>
                    <a:pt x="339506" y="172266"/>
                  </a:cubicBezTo>
                  <a:cubicBezTo>
                    <a:pt x="340358" y="170131"/>
                    <a:pt x="341353" y="168139"/>
                    <a:pt x="342205" y="166006"/>
                  </a:cubicBezTo>
                  <a:lnTo>
                    <a:pt x="343523" y="162937"/>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6" name="Freeform: Shape 75">
              <a:extLst>
                <a:ext uri="{FF2B5EF4-FFF2-40B4-BE49-F238E27FC236}">
                  <a16:creationId xmlns:a16="http://schemas.microsoft.com/office/drawing/2014/main" id="{95CFFB58-E032-670B-7652-1DA254123B7D}"/>
                </a:ext>
              </a:extLst>
            </p:cNvPr>
            <p:cNvSpPr/>
            <p:nvPr userDrawn="1"/>
          </p:nvSpPr>
          <p:spPr>
            <a:xfrm rot="365846">
              <a:off x="6305148" y="639047"/>
              <a:ext cx="747334" cy="1452008"/>
            </a:xfrm>
            <a:custGeom>
              <a:avLst/>
              <a:gdLst>
                <a:gd name="connsiteX0" fmla="*/ 191292 w 747334"/>
                <a:gd name="connsiteY0" fmla="*/ 1887 h 1452008"/>
                <a:gd name="connsiteX1" fmla="*/ 225918 w 747334"/>
                <a:gd name="connsiteY1" fmla="*/ 1651 h 1452008"/>
                <a:gd name="connsiteX2" fmla="*/ 678146 w 747334"/>
                <a:gd name="connsiteY2" fmla="*/ 90833 h 1452008"/>
                <a:gd name="connsiteX3" fmla="*/ 746074 w 747334"/>
                <a:gd name="connsiteY3" fmla="*/ 190228 h 1452008"/>
                <a:gd name="connsiteX4" fmla="*/ 667951 w 747334"/>
                <a:gd name="connsiteY4" fmla="*/ 776672 h 1452008"/>
                <a:gd name="connsiteX5" fmla="*/ 633052 w 747334"/>
                <a:gd name="connsiteY5" fmla="*/ 1367142 h 1452008"/>
                <a:gd name="connsiteX6" fmla="*/ 580001 w 747334"/>
                <a:gd name="connsiteY6" fmla="*/ 1445383 h 1452008"/>
                <a:gd name="connsiteX7" fmla="*/ 552678 w 747334"/>
                <a:gd name="connsiteY7" fmla="*/ 1450850 h 1452008"/>
                <a:gd name="connsiteX8" fmla="*/ 490612 w 747334"/>
                <a:gd name="connsiteY8" fmla="*/ 1452008 h 1452008"/>
                <a:gd name="connsiteX9" fmla="*/ 86185 w 747334"/>
                <a:gd name="connsiteY9" fmla="*/ 1452008 h 1452008"/>
                <a:gd name="connsiteX10" fmla="*/ 19 w 747334"/>
                <a:gd name="connsiteY10" fmla="*/ 1364265 h 1452008"/>
                <a:gd name="connsiteX11" fmla="*/ 124385 w 747334"/>
                <a:gd name="connsiteY11" fmla="*/ 71269 h 1452008"/>
                <a:gd name="connsiteX12" fmla="*/ 124385 w 747334"/>
                <a:gd name="connsiteY12" fmla="*/ 71125 h 1452008"/>
                <a:gd name="connsiteX13" fmla="*/ 191292 w 747334"/>
                <a:gd name="connsiteY13" fmla="*/ 1887 h 145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334" h="1452008">
                  <a:moveTo>
                    <a:pt x="191292" y="1887"/>
                  </a:moveTo>
                  <a:cubicBezTo>
                    <a:pt x="202375" y="-480"/>
                    <a:pt x="214106" y="-687"/>
                    <a:pt x="225918" y="1651"/>
                  </a:cubicBezTo>
                  <a:lnTo>
                    <a:pt x="678146" y="90833"/>
                  </a:lnTo>
                  <a:cubicBezTo>
                    <a:pt x="723958" y="99895"/>
                    <a:pt x="753973" y="144053"/>
                    <a:pt x="746074" y="190228"/>
                  </a:cubicBezTo>
                  <a:cubicBezTo>
                    <a:pt x="712900" y="384269"/>
                    <a:pt x="686763" y="579751"/>
                    <a:pt x="667951" y="776672"/>
                  </a:cubicBezTo>
                  <a:cubicBezTo>
                    <a:pt x="649281" y="972152"/>
                    <a:pt x="637505" y="1169071"/>
                    <a:pt x="633052" y="1367142"/>
                  </a:cubicBezTo>
                  <a:cubicBezTo>
                    <a:pt x="632192" y="1402527"/>
                    <a:pt x="610570" y="1432571"/>
                    <a:pt x="580001" y="1445383"/>
                  </a:cubicBezTo>
                  <a:lnTo>
                    <a:pt x="552678" y="1450850"/>
                  </a:lnTo>
                  <a:lnTo>
                    <a:pt x="490612" y="1452008"/>
                  </a:lnTo>
                  <a:lnTo>
                    <a:pt x="86185" y="1452008"/>
                  </a:lnTo>
                  <a:cubicBezTo>
                    <a:pt x="38076" y="1452008"/>
                    <a:pt x="-987" y="1412452"/>
                    <a:pt x="19" y="1364265"/>
                  </a:cubicBezTo>
                  <a:cubicBezTo>
                    <a:pt x="9354" y="927704"/>
                    <a:pt x="51000" y="496179"/>
                    <a:pt x="124385" y="71269"/>
                  </a:cubicBezTo>
                  <a:lnTo>
                    <a:pt x="124385" y="71125"/>
                  </a:lnTo>
                  <a:cubicBezTo>
                    <a:pt x="130632" y="35525"/>
                    <a:pt x="158043" y="8987"/>
                    <a:pt x="191292" y="1887"/>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7" name="Freeform: Shape 76">
              <a:extLst>
                <a:ext uri="{FF2B5EF4-FFF2-40B4-BE49-F238E27FC236}">
                  <a16:creationId xmlns:a16="http://schemas.microsoft.com/office/drawing/2014/main" id="{4989FABA-92D8-2776-60B3-9753F83BCC36}"/>
                </a:ext>
              </a:extLst>
            </p:cNvPr>
            <p:cNvSpPr/>
            <p:nvPr userDrawn="1"/>
          </p:nvSpPr>
          <p:spPr>
            <a:xfrm rot="365846">
              <a:off x="7033841" y="1007402"/>
              <a:ext cx="2769119" cy="2740254"/>
            </a:xfrm>
            <a:custGeom>
              <a:avLst/>
              <a:gdLst>
                <a:gd name="connsiteX0" fmla="*/ 177516 w 2769119"/>
                <a:gd name="connsiteY0" fmla="*/ 1870 h 2740254"/>
                <a:gd name="connsiteX1" fmla="*/ 211864 w 2769119"/>
                <a:gd name="connsiteY1" fmla="*/ 1632 h 2740254"/>
                <a:gd name="connsiteX2" fmla="*/ 1326763 w 2769119"/>
                <a:gd name="connsiteY2" fmla="*/ 221584 h 2740254"/>
                <a:gd name="connsiteX3" fmla="*/ 1328184 w 2769119"/>
                <a:gd name="connsiteY3" fmla="*/ 221869 h 2740254"/>
                <a:gd name="connsiteX4" fmla="*/ 1521931 w 2769119"/>
                <a:gd name="connsiteY4" fmla="*/ 260142 h 2740254"/>
                <a:gd name="connsiteX5" fmla="*/ 1523351 w 2769119"/>
                <a:gd name="connsiteY5" fmla="*/ 260425 h 2740254"/>
                <a:gd name="connsiteX6" fmla="*/ 2700466 w 2769119"/>
                <a:gd name="connsiteY6" fmla="*/ 492613 h 2740254"/>
                <a:gd name="connsiteX7" fmla="*/ 2768078 w 2769119"/>
                <a:gd name="connsiteY7" fmla="*/ 589358 h 2740254"/>
                <a:gd name="connsiteX8" fmla="*/ 2730011 w 2769119"/>
                <a:gd name="connsiteY8" fmla="*/ 891119 h 2740254"/>
                <a:gd name="connsiteX9" fmla="*/ 2706715 w 2769119"/>
                <a:gd name="connsiteY9" fmla="*/ 1276534 h 2740254"/>
                <a:gd name="connsiteX10" fmla="*/ 2706999 w 2769119"/>
                <a:gd name="connsiteY10" fmla="*/ 1276392 h 2740254"/>
                <a:gd name="connsiteX11" fmla="*/ 2706998 w 2769119"/>
                <a:gd name="connsiteY11" fmla="*/ 1475574 h 2740254"/>
                <a:gd name="connsiteX12" fmla="*/ 2766801 w 2769119"/>
                <a:gd name="connsiteY12" fmla="*/ 2154783 h 2740254"/>
                <a:gd name="connsiteX13" fmla="*/ 2699045 w 2769119"/>
                <a:gd name="connsiteY13" fmla="*/ 2251668 h 2740254"/>
                <a:gd name="connsiteX14" fmla="*/ 1520225 w 2769119"/>
                <a:gd name="connsiteY14" fmla="*/ 2482292 h 2740254"/>
                <a:gd name="connsiteX15" fmla="*/ 1519943 w 2769119"/>
                <a:gd name="connsiteY15" fmla="*/ 2482292 h 2740254"/>
                <a:gd name="connsiteX16" fmla="*/ 1324916 w 2769119"/>
                <a:gd name="connsiteY16" fmla="*/ 2520422 h 2740254"/>
                <a:gd name="connsiteX17" fmla="*/ 1324633 w 2769119"/>
                <a:gd name="connsiteY17" fmla="*/ 2520422 h 2740254"/>
                <a:gd name="connsiteX18" fmla="*/ 209024 w 2769119"/>
                <a:gd name="connsiteY18" fmla="*/ 2738668 h 2740254"/>
                <a:gd name="connsiteX19" fmla="*/ 108740 w 2769119"/>
                <a:gd name="connsiteY19" fmla="*/ 2669665 h 2740254"/>
                <a:gd name="connsiteX20" fmla="*/ 504 w 2769119"/>
                <a:gd name="connsiteY20" fmla="*/ 1475573 h 2740254"/>
                <a:gd name="connsiteX21" fmla="*/ 787 w 2769119"/>
                <a:gd name="connsiteY21" fmla="*/ 1276392 h 2740254"/>
                <a:gd name="connsiteX22" fmla="*/ 37577 w 2769119"/>
                <a:gd name="connsiteY22" fmla="*/ 627630 h 2740254"/>
                <a:gd name="connsiteX23" fmla="*/ 111439 w 2769119"/>
                <a:gd name="connsiteY23" fmla="*/ 70633 h 2740254"/>
                <a:gd name="connsiteX24" fmla="*/ 177516 w 2769119"/>
                <a:gd name="connsiteY24" fmla="*/ 1870 h 274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69119" h="2740254">
                  <a:moveTo>
                    <a:pt x="177516" y="1870"/>
                  </a:moveTo>
                  <a:cubicBezTo>
                    <a:pt x="188507" y="-475"/>
                    <a:pt x="200146" y="-680"/>
                    <a:pt x="211864" y="1632"/>
                  </a:cubicBezTo>
                  <a:lnTo>
                    <a:pt x="1326763" y="221584"/>
                  </a:lnTo>
                  <a:lnTo>
                    <a:pt x="1328184" y="221869"/>
                  </a:lnTo>
                  <a:lnTo>
                    <a:pt x="1521931" y="260142"/>
                  </a:lnTo>
                  <a:lnTo>
                    <a:pt x="1523351" y="260425"/>
                  </a:lnTo>
                  <a:lnTo>
                    <a:pt x="2700466" y="492613"/>
                  </a:lnTo>
                  <a:cubicBezTo>
                    <a:pt x="2745209" y="501435"/>
                    <a:pt x="2775181" y="544117"/>
                    <a:pt x="2768078" y="589358"/>
                  </a:cubicBezTo>
                  <a:cubicBezTo>
                    <a:pt x="2752311" y="689377"/>
                    <a:pt x="2739670" y="789962"/>
                    <a:pt x="2730011" y="891119"/>
                  </a:cubicBezTo>
                  <a:cubicBezTo>
                    <a:pt x="2717227" y="1019591"/>
                    <a:pt x="2709414" y="1148063"/>
                    <a:pt x="2706715" y="1276534"/>
                  </a:cubicBezTo>
                  <a:lnTo>
                    <a:pt x="2706999" y="1276392"/>
                  </a:lnTo>
                  <a:cubicBezTo>
                    <a:pt x="2705437" y="1342833"/>
                    <a:pt x="2705721" y="1409274"/>
                    <a:pt x="2706998" y="1475574"/>
                  </a:cubicBezTo>
                  <a:cubicBezTo>
                    <a:pt x="2711261" y="1702782"/>
                    <a:pt x="2731147" y="1929422"/>
                    <a:pt x="2766801" y="2154783"/>
                  </a:cubicBezTo>
                  <a:cubicBezTo>
                    <a:pt x="2774044" y="2200023"/>
                    <a:pt x="2743932" y="2242849"/>
                    <a:pt x="2699045" y="2251668"/>
                  </a:cubicBezTo>
                  <a:cubicBezTo>
                    <a:pt x="2699045" y="2251668"/>
                    <a:pt x="1520225" y="2482292"/>
                    <a:pt x="1520225" y="2482292"/>
                  </a:cubicBezTo>
                  <a:lnTo>
                    <a:pt x="1519943" y="2482292"/>
                  </a:lnTo>
                  <a:cubicBezTo>
                    <a:pt x="1519943" y="2482292"/>
                    <a:pt x="1324916" y="2520422"/>
                    <a:pt x="1324916" y="2520422"/>
                  </a:cubicBezTo>
                  <a:lnTo>
                    <a:pt x="1324633" y="2520422"/>
                  </a:lnTo>
                  <a:lnTo>
                    <a:pt x="209024" y="2738668"/>
                  </a:lnTo>
                  <a:cubicBezTo>
                    <a:pt x="162290" y="2747772"/>
                    <a:pt x="116837" y="2716758"/>
                    <a:pt x="108740" y="2669665"/>
                  </a:cubicBezTo>
                  <a:cubicBezTo>
                    <a:pt x="41269" y="2273721"/>
                    <a:pt x="5190" y="1875074"/>
                    <a:pt x="504" y="1475573"/>
                  </a:cubicBezTo>
                  <a:cubicBezTo>
                    <a:pt x="-208" y="1409132"/>
                    <a:pt x="-208" y="1342834"/>
                    <a:pt x="787" y="1276392"/>
                  </a:cubicBezTo>
                  <a:cubicBezTo>
                    <a:pt x="3913" y="1060280"/>
                    <a:pt x="16127" y="843885"/>
                    <a:pt x="37577" y="627630"/>
                  </a:cubicBezTo>
                  <a:cubicBezTo>
                    <a:pt x="55473" y="440685"/>
                    <a:pt x="80048" y="254876"/>
                    <a:pt x="111439" y="70633"/>
                  </a:cubicBezTo>
                  <a:cubicBezTo>
                    <a:pt x="117405" y="35207"/>
                    <a:pt x="144545" y="8905"/>
                    <a:pt x="177516" y="1870"/>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8" name="Freeform: Shape 77">
              <a:extLst>
                <a:ext uri="{FF2B5EF4-FFF2-40B4-BE49-F238E27FC236}">
                  <a16:creationId xmlns:a16="http://schemas.microsoft.com/office/drawing/2014/main" id="{FB4AE1F2-575F-3FC9-9799-ACDA42D3554F}"/>
                </a:ext>
              </a:extLst>
            </p:cNvPr>
            <p:cNvSpPr/>
            <p:nvPr userDrawn="1"/>
          </p:nvSpPr>
          <p:spPr>
            <a:xfrm rot="365846">
              <a:off x="8431663" y="3439888"/>
              <a:ext cx="2094518" cy="1319715"/>
            </a:xfrm>
            <a:custGeom>
              <a:avLst/>
              <a:gdLst>
                <a:gd name="connsiteX0" fmla="*/ 1855811 w 2094518"/>
                <a:gd name="connsiteY0" fmla="*/ 1615 h 1319715"/>
                <a:gd name="connsiteX1" fmla="*/ 1954956 w 2094518"/>
                <a:gd name="connsiteY1" fmla="*/ 65353 h 1319715"/>
                <a:gd name="connsiteX2" fmla="*/ 2089473 w 2094518"/>
                <a:gd name="connsiteY2" fmla="*/ 517067 h 1319715"/>
                <a:gd name="connsiteX3" fmla="*/ 2041462 w 2094518"/>
                <a:gd name="connsiteY3" fmla="*/ 624767 h 1319715"/>
                <a:gd name="connsiteX4" fmla="*/ 1647576 w 2094518"/>
                <a:gd name="connsiteY4" fmla="*/ 785677 h 1319715"/>
                <a:gd name="connsiteX5" fmla="*/ 1646724 w 2094518"/>
                <a:gd name="connsiteY5" fmla="*/ 785963 h 1319715"/>
                <a:gd name="connsiteX6" fmla="*/ 1464055 w 2094518"/>
                <a:gd name="connsiteY6" fmla="*/ 860655 h 1319715"/>
                <a:gd name="connsiteX7" fmla="*/ 1463771 w 2094518"/>
                <a:gd name="connsiteY7" fmla="*/ 860655 h 1319715"/>
                <a:gd name="connsiteX8" fmla="*/ 355833 w 2094518"/>
                <a:gd name="connsiteY8" fmla="*/ 1313366 h 1319715"/>
                <a:gd name="connsiteX9" fmla="*/ 243617 w 2094518"/>
                <a:gd name="connsiteY9" fmla="*/ 1263996 h 1319715"/>
                <a:gd name="connsiteX10" fmla="*/ 2144 w 2094518"/>
                <a:gd name="connsiteY10" fmla="*/ 454184 h 1319715"/>
                <a:gd name="connsiteX11" fmla="*/ 68904 w 2094518"/>
                <a:gd name="connsiteY11" fmla="*/ 351179 h 1319715"/>
                <a:gd name="connsiteX12" fmla="*/ 1243603 w 2094518"/>
                <a:gd name="connsiteY12" fmla="*/ 121408 h 1319715"/>
                <a:gd name="connsiteX13" fmla="*/ 1437493 w 2094518"/>
                <a:gd name="connsiteY13" fmla="*/ 83279 h 1319715"/>
                <a:gd name="connsiteX14" fmla="*/ 1438487 w 2094518"/>
                <a:gd name="connsiteY14" fmla="*/ 83279 h 1319715"/>
                <a:gd name="connsiteX15" fmla="*/ 1855811 w 2094518"/>
                <a:gd name="connsiteY15" fmla="*/ 1615 h 13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518" h="1319715">
                  <a:moveTo>
                    <a:pt x="1855811" y="1615"/>
                  </a:moveTo>
                  <a:cubicBezTo>
                    <a:pt x="1900696" y="-7206"/>
                    <a:pt x="1944447" y="20964"/>
                    <a:pt x="1954956" y="65353"/>
                  </a:cubicBezTo>
                  <a:cubicBezTo>
                    <a:pt x="1991320" y="218153"/>
                    <a:pt x="2036206" y="368821"/>
                    <a:pt x="2089473" y="517067"/>
                  </a:cubicBezTo>
                  <a:cubicBezTo>
                    <a:pt x="2104955" y="560033"/>
                    <a:pt x="2083649" y="607552"/>
                    <a:pt x="2041462" y="624767"/>
                  </a:cubicBezTo>
                  <a:lnTo>
                    <a:pt x="1647576" y="785677"/>
                  </a:lnTo>
                  <a:lnTo>
                    <a:pt x="1646724" y="785963"/>
                  </a:lnTo>
                  <a:cubicBezTo>
                    <a:pt x="1646724" y="785963"/>
                    <a:pt x="1464055" y="860655"/>
                    <a:pt x="1464055" y="860655"/>
                  </a:cubicBezTo>
                  <a:lnTo>
                    <a:pt x="1463771" y="860655"/>
                  </a:lnTo>
                  <a:lnTo>
                    <a:pt x="355833" y="1313366"/>
                  </a:lnTo>
                  <a:cubicBezTo>
                    <a:pt x="311230" y="1331576"/>
                    <a:pt x="260522" y="1309239"/>
                    <a:pt x="243617" y="1263996"/>
                  </a:cubicBezTo>
                  <a:cubicBezTo>
                    <a:pt x="145324" y="1000652"/>
                    <a:pt x="64643" y="730476"/>
                    <a:pt x="2144" y="454184"/>
                  </a:cubicBezTo>
                  <a:cubicBezTo>
                    <a:pt x="-8509" y="407092"/>
                    <a:pt x="21603" y="360426"/>
                    <a:pt x="68904" y="351179"/>
                  </a:cubicBezTo>
                  <a:cubicBezTo>
                    <a:pt x="68904" y="351179"/>
                    <a:pt x="1243603" y="121408"/>
                    <a:pt x="1243603" y="121408"/>
                  </a:cubicBezTo>
                  <a:cubicBezTo>
                    <a:pt x="1243603" y="121408"/>
                    <a:pt x="1437493" y="83279"/>
                    <a:pt x="1437493" y="83279"/>
                  </a:cubicBezTo>
                  <a:lnTo>
                    <a:pt x="1438487" y="83279"/>
                  </a:lnTo>
                  <a:lnTo>
                    <a:pt x="1855811" y="1615"/>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9" name="Freeform: Shape 78">
              <a:extLst>
                <a:ext uri="{FF2B5EF4-FFF2-40B4-BE49-F238E27FC236}">
                  <a16:creationId xmlns:a16="http://schemas.microsoft.com/office/drawing/2014/main" id="{0EB28DC2-1EC9-D2D5-216E-710668D6E9B7}"/>
                </a:ext>
              </a:extLst>
            </p:cNvPr>
            <p:cNvSpPr/>
            <p:nvPr userDrawn="1"/>
          </p:nvSpPr>
          <p:spPr>
            <a:xfrm rot="365846">
              <a:off x="6922110" y="3703510"/>
              <a:ext cx="2052989" cy="2822708"/>
            </a:xfrm>
            <a:custGeom>
              <a:avLst/>
              <a:gdLst>
                <a:gd name="connsiteX0" fmla="*/ 1099059 w 2052989"/>
                <a:gd name="connsiteY0" fmla="*/ 1597 h 2822708"/>
                <a:gd name="connsiteX1" fmla="*/ 1198491 w 2052989"/>
                <a:gd name="connsiteY1" fmla="*/ 66332 h 2822708"/>
                <a:gd name="connsiteX2" fmla="*/ 1483572 w 2052989"/>
                <a:gd name="connsiteY2" fmla="*/ 1001203 h 2822708"/>
                <a:gd name="connsiteX3" fmla="*/ 1551327 w 2052989"/>
                <a:gd name="connsiteY3" fmla="*/ 1168232 h 2822708"/>
                <a:gd name="connsiteX4" fmla="*/ 1558854 w 2052989"/>
                <a:gd name="connsiteY4" fmla="*/ 1185588 h 2822708"/>
                <a:gd name="connsiteX5" fmla="*/ 1558854 w 2052989"/>
                <a:gd name="connsiteY5" fmla="*/ 1185446 h 2822708"/>
                <a:gd name="connsiteX6" fmla="*/ 2039957 w 2052989"/>
                <a:gd name="connsiteY6" fmla="*/ 2104383 h 2822708"/>
                <a:gd name="connsiteX7" fmla="*/ 2015098 w 2052989"/>
                <a:gd name="connsiteY7" fmla="*/ 2220477 h 2822708"/>
                <a:gd name="connsiteX8" fmla="*/ 1140536 w 2052989"/>
                <a:gd name="connsiteY8" fmla="*/ 2808204 h 2822708"/>
                <a:gd name="connsiteX9" fmla="*/ 1020936 w 2052989"/>
                <a:gd name="connsiteY9" fmla="*/ 2782879 h 2822708"/>
                <a:gd name="connsiteX10" fmla="*/ 425916 w 2052989"/>
                <a:gd name="connsiteY10" fmla="*/ 1648401 h 2822708"/>
                <a:gd name="connsiteX11" fmla="*/ 424354 w 2052989"/>
                <a:gd name="connsiteY11" fmla="*/ 1644843 h 2822708"/>
                <a:gd name="connsiteX12" fmla="*/ 350632 w 2052989"/>
                <a:gd name="connsiteY12" fmla="*/ 1464015 h 2822708"/>
                <a:gd name="connsiteX13" fmla="*/ 2769 w 2052989"/>
                <a:gd name="connsiteY13" fmla="*/ 308194 h 2822708"/>
                <a:gd name="connsiteX14" fmla="*/ 68961 w 2052989"/>
                <a:gd name="connsiteY14" fmla="*/ 203055 h 2822708"/>
                <a:gd name="connsiteX15" fmla="*/ 1099059 w 2052989"/>
                <a:gd name="connsiteY15" fmla="*/ 1597 h 28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2989" h="2822708">
                  <a:moveTo>
                    <a:pt x="1099059" y="1597"/>
                  </a:moveTo>
                  <a:cubicBezTo>
                    <a:pt x="1144231" y="-7225"/>
                    <a:pt x="1188405" y="21373"/>
                    <a:pt x="1198491" y="66332"/>
                  </a:cubicBezTo>
                  <a:cubicBezTo>
                    <a:pt x="1269371" y="384024"/>
                    <a:pt x="1364539" y="696030"/>
                    <a:pt x="1483572" y="1001203"/>
                  </a:cubicBezTo>
                  <a:cubicBezTo>
                    <a:pt x="1505446" y="1057115"/>
                    <a:pt x="1527889" y="1112744"/>
                    <a:pt x="1551327" y="1168232"/>
                  </a:cubicBezTo>
                  <a:cubicBezTo>
                    <a:pt x="1553884" y="1174063"/>
                    <a:pt x="1556439" y="1179756"/>
                    <a:pt x="1558854" y="1185588"/>
                  </a:cubicBezTo>
                  <a:lnTo>
                    <a:pt x="1558854" y="1185446"/>
                  </a:lnTo>
                  <a:cubicBezTo>
                    <a:pt x="1695217" y="1505843"/>
                    <a:pt x="1855869" y="1812583"/>
                    <a:pt x="2039957" y="2104383"/>
                  </a:cubicBezTo>
                  <a:cubicBezTo>
                    <a:pt x="2064529" y="2143366"/>
                    <a:pt x="2053309" y="2194869"/>
                    <a:pt x="2015098" y="2220477"/>
                  </a:cubicBezTo>
                  <a:lnTo>
                    <a:pt x="1140536" y="2808204"/>
                  </a:lnTo>
                  <a:cubicBezTo>
                    <a:pt x="1100623" y="2835094"/>
                    <a:pt x="1046788" y="2823427"/>
                    <a:pt x="1020936" y="2782879"/>
                  </a:cubicBezTo>
                  <a:cubicBezTo>
                    <a:pt x="792247" y="2423357"/>
                    <a:pt x="593526" y="2044630"/>
                    <a:pt x="425916" y="1648401"/>
                  </a:cubicBezTo>
                  <a:cubicBezTo>
                    <a:pt x="425348" y="1647120"/>
                    <a:pt x="424780" y="1645981"/>
                    <a:pt x="424354" y="1644843"/>
                  </a:cubicBezTo>
                  <a:cubicBezTo>
                    <a:pt x="398928" y="1584805"/>
                    <a:pt x="374354" y="1524480"/>
                    <a:pt x="350632" y="1464015"/>
                  </a:cubicBezTo>
                  <a:cubicBezTo>
                    <a:pt x="223787" y="1141057"/>
                    <a:pt x="61574" y="534265"/>
                    <a:pt x="2769" y="308194"/>
                  </a:cubicBezTo>
                  <a:cubicBezTo>
                    <a:pt x="-9589" y="260675"/>
                    <a:pt x="20665" y="212446"/>
                    <a:pt x="68961" y="203055"/>
                  </a:cubicBezTo>
                  <a:lnTo>
                    <a:pt x="1099059" y="1597"/>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80" name="Freeform: Shape 79">
              <a:extLst>
                <a:ext uri="{FF2B5EF4-FFF2-40B4-BE49-F238E27FC236}">
                  <a16:creationId xmlns:a16="http://schemas.microsoft.com/office/drawing/2014/main" id="{334F2107-4CA4-3E81-D0D9-518D8A67C383}"/>
                </a:ext>
              </a:extLst>
            </p:cNvPr>
            <p:cNvSpPr/>
            <p:nvPr userDrawn="1"/>
          </p:nvSpPr>
          <p:spPr>
            <a:xfrm rot="365846">
              <a:off x="8692733" y="4513178"/>
              <a:ext cx="1513481" cy="1378453"/>
            </a:xfrm>
            <a:custGeom>
              <a:avLst/>
              <a:gdLst>
                <a:gd name="connsiteX0" fmla="*/ 1116490 w 1513481"/>
                <a:gd name="connsiteY0" fmla="*/ 1 h 1378453"/>
                <a:gd name="connsiteX1" fmla="*/ 1193792 w 1513481"/>
                <a:gd name="connsiteY1" fmla="*/ 49978 h 1378453"/>
                <a:gd name="connsiteX2" fmla="*/ 1500748 w 1513481"/>
                <a:gd name="connsiteY2" fmla="*/ 627605 h 1378453"/>
                <a:gd name="connsiteX3" fmla="*/ 1475748 w 1513481"/>
                <a:gd name="connsiteY3" fmla="*/ 743129 h 1378453"/>
                <a:gd name="connsiteX4" fmla="*/ 551898 w 1513481"/>
                <a:gd name="connsiteY4" fmla="*/ 1364005 h 1378453"/>
                <a:gd name="connsiteX5" fmla="*/ 432012 w 1513481"/>
                <a:gd name="connsiteY5" fmla="*/ 1338254 h 1378453"/>
                <a:gd name="connsiteX6" fmla="*/ 7445 w 1513481"/>
                <a:gd name="connsiteY6" fmla="*/ 541530 h 1378453"/>
                <a:gd name="connsiteX7" fmla="*/ 53040 w 1513481"/>
                <a:gd name="connsiteY7" fmla="*/ 427426 h 1378453"/>
                <a:gd name="connsiteX8" fmla="*/ 1084135 w 1513481"/>
                <a:gd name="connsiteY8" fmla="*/ 6159 h 1378453"/>
                <a:gd name="connsiteX9" fmla="*/ 1084136 w 1513481"/>
                <a:gd name="connsiteY9" fmla="*/ 6301 h 1378453"/>
                <a:gd name="connsiteX10" fmla="*/ 1116490 w 1513481"/>
                <a:gd name="connsiteY10" fmla="*/ 1 h 137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3481" h="1378453">
                  <a:moveTo>
                    <a:pt x="1116490" y="1"/>
                  </a:moveTo>
                  <a:cubicBezTo>
                    <a:pt x="1148889" y="94"/>
                    <a:pt x="1179730" y="18715"/>
                    <a:pt x="1193792" y="49978"/>
                  </a:cubicBezTo>
                  <a:cubicBezTo>
                    <a:pt x="1283848" y="249872"/>
                    <a:pt x="1386262" y="442650"/>
                    <a:pt x="1500748" y="627605"/>
                  </a:cubicBezTo>
                  <a:cubicBezTo>
                    <a:pt x="1524897" y="666585"/>
                    <a:pt x="1513675" y="717661"/>
                    <a:pt x="1475748" y="743129"/>
                  </a:cubicBezTo>
                  <a:lnTo>
                    <a:pt x="551898" y="1364005"/>
                  </a:lnTo>
                  <a:cubicBezTo>
                    <a:pt x="511842" y="1390895"/>
                    <a:pt x="457723" y="1379087"/>
                    <a:pt x="432012" y="1338254"/>
                  </a:cubicBezTo>
                  <a:cubicBezTo>
                    <a:pt x="270793" y="1081738"/>
                    <a:pt x="129176" y="815689"/>
                    <a:pt x="7445" y="541530"/>
                  </a:cubicBezTo>
                  <a:cubicBezTo>
                    <a:pt x="-12157" y="497282"/>
                    <a:pt x="8296" y="445637"/>
                    <a:pt x="53040" y="427426"/>
                  </a:cubicBezTo>
                  <a:lnTo>
                    <a:pt x="1084135" y="6159"/>
                  </a:lnTo>
                  <a:lnTo>
                    <a:pt x="1084136" y="6301"/>
                  </a:lnTo>
                  <a:cubicBezTo>
                    <a:pt x="1094718" y="1998"/>
                    <a:pt x="1105690" y="-30"/>
                    <a:pt x="1116490" y="1"/>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01" name="Freeform: Shape 100">
              <a:extLst>
                <a:ext uri="{FF2B5EF4-FFF2-40B4-BE49-F238E27FC236}">
                  <a16:creationId xmlns:a16="http://schemas.microsoft.com/office/drawing/2014/main" id="{065B84B7-27AE-1D50-B1BE-C207F463F670}"/>
                </a:ext>
              </a:extLst>
            </p:cNvPr>
            <p:cNvSpPr/>
            <p:nvPr userDrawn="1"/>
          </p:nvSpPr>
          <p:spPr>
            <a:xfrm rot="365846">
              <a:off x="9214563" y="5505422"/>
              <a:ext cx="2216841" cy="1429572"/>
            </a:xfrm>
            <a:custGeom>
              <a:avLst/>
              <a:gdLst>
                <a:gd name="connsiteX0" fmla="*/ 992067 w 2216841"/>
                <a:gd name="connsiteY0" fmla="*/ 1719 h 1429572"/>
                <a:gd name="connsiteX1" fmla="*/ 1077879 w 2216841"/>
                <a:gd name="connsiteY1" fmla="*/ 35092 h 1429572"/>
                <a:gd name="connsiteX2" fmla="*/ 1255860 w 2216841"/>
                <a:gd name="connsiteY2" fmla="*/ 265998 h 1429572"/>
                <a:gd name="connsiteX3" fmla="*/ 1263529 w 2216841"/>
                <a:gd name="connsiteY3" fmla="*/ 275529 h 1429572"/>
                <a:gd name="connsiteX4" fmla="*/ 1271625 w 2216841"/>
                <a:gd name="connsiteY4" fmla="*/ 285206 h 1429572"/>
                <a:gd name="connsiteX5" fmla="*/ 1519491 w 2216841"/>
                <a:gd name="connsiteY5" fmla="*/ 564201 h 1429572"/>
                <a:gd name="connsiteX6" fmla="*/ 1659972 w 2216841"/>
                <a:gd name="connsiteY6" fmla="*/ 705192 h 1429572"/>
                <a:gd name="connsiteX7" fmla="*/ 1659973 w 2216841"/>
                <a:gd name="connsiteY7" fmla="*/ 705336 h 1429572"/>
                <a:gd name="connsiteX8" fmla="*/ 2181841 w 2216841"/>
                <a:gd name="connsiteY8" fmla="*/ 1143108 h 1429572"/>
                <a:gd name="connsiteX9" fmla="*/ 2215098 w 2216841"/>
                <a:gd name="connsiteY9" fmla="*/ 1229197 h 1429572"/>
                <a:gd name="connsiteX10" fmla="*/ 2204122 w 2216841"/>
                <a:gd name="connsiteY10" fmla="*/ 1255283 h 1429572"/>
                <a:gd name="connsiteX11" fmla="*/ 572562 w 2216841"/>
                <a:gd name="connsiteY11" fmla="*/ 1429572 h 1429572"/>
                <a:gd name="connsiteX12" fmla="*/ 443336 w 2216841"/>
                <a:gd name="connsiteY12" fmla="*/ 1290963 h 1429572"/>
                <a:gd name="connsiteX13" fmla="*/ 281869 w 2216841"/>
                <a:gd name="connsiteY13" fmla="*/ 1103555 h 1429572"/>
                <a:gd name="connsiteX14" fmla="*/ 272350 w 2216841"/>
                <a:gd name="connsiteY14" fmla="*/ 1092175 h 1429572"/>
                <a:gd name="connsiteX15" fmla="*/ 262834 w 2216841"/>
                <a:gd name="connsiteY15" fmla="*/ 1080366 h 1429572"/>
                <a:gd name="connsiteX16" fmla="*/ 16104 w 2216841"/>
                <a:gd name="connsiteY16" fmla="*/ 756412 h 1429572"/>
                <a:gd name="connsiteX17" fmla="*/ 37695 w 2216841"/>
                <a:gd name="connsiteY17" fmla="*/ 635480 h 1429572"/>
                <a:gd name="connsiteX18" fmla="*/ 961686 w 2216841"/>
                <a:gd name="connsiteY18" fmla="*/ 14460 h 1429572"/>
                <a:gd name="connsiteX19" fmla="*/ 992067 w 2216841"/>
                <a:gd name="connsiteY19" fmla="*/ 1719 h 142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6841" h="1429572">
                  <a:moveTo>
                    <a:pt x="992067" y="1719"/>
                  </a:moveTo>
                  <a:cubicBezTo>
                    <a:pt x="1023787" y="-4762"/>
                    <a:pt x="1057744" y="7242"/>
                    <a:pt x="1077879" y="35092"/>
                  </a:cubicBezTo>
                  <a:cubicBezTo>
                    <a:pt x="1134838" y="113626"/>
                    <a:pt x="1194213" y="190735"/>
                    <a:pt x="1255860" y="265998"/>
                  </a:cubicBezTo>
                  <a:cubicBezTo>
                    <a:pt x="1258417" y="269129"/>
                    <a:pt x="1260972" y="272400"/>
                    <a:pt x="1263529" y="275529"/>
                  </a:cubicBezTo>
                  <a:cubicBezTo>
                    <a:pt x="1266228" y="278802"/>
                    <a:pt x="1268927" y="281933"/>
                    <a:pt x="1271625" y="285206"/>
                  </a:cubicBezTo>
                  <a:cubicBezTo>
                    <a:pt x="1350886" y="381523"/>
                    <a:pt x="1433554" y="474427"/>
                    <a:pt x="1519491" y="564201"/>
                  </a:cubicBezTo>
                  <a:cubicBezTo>
                    <a:pt x="1565513" y="612146"/>
                    <a:pt x="1612246" y="659097"/>
                    <a:pt x="1659972" y="705192"/>
                  </a:cubicBezTo>
                  <a:lnTo>
                    <a:pt x="1659973" y="705336"/>
                  </a:lnTo>
                  <a:cubicBezTo>
                    <a:pt x="1823324" y="862690"/>
                    <a:pt x="1997468" y="1008802"/>
                    <a:pt x="2181841" y="1143108"/>
                  </a:cubicBezTo>
                  <a:cubicBezTo>
                    <a:pt x="2209646" y="1163381"/>
                    <a:pt x="2221630" y="1197419"/>
                    <a:pt x="2215098" y="1229197"/>
                  </a:cubicBezTo>
                  <a:lnTo>
                    <a:pt x="2204122" y="1255283"/>
                  </a:lnTo>
                  <a:lnTo>
                    <a:pt x="572562" y="1429572"/>
                  </a:lnTo>
                  <a:lnTo>
                    <a:pt x="443336" y="1290963"/>
                  </a:lnTo>
                  <a:cubicBezTo>
                    <a:pt x="388188" y="1229466"/>
                    <a:pt x="334353" y="1167008"/>
                    <a:pt x="281869" y="1103555"/>
                  </a:cubicBezTo>
                  <a:cubicBezTo>
                    <a:pt x="278743" y="1099714"/>
                    <a:pt x="275475" y="1096016"/>
                    <a:pt x="272350" y="1092175"/>
                  </a:cubicBezTo>
                  <a:cubicBezTo>
                    <a:pt x="269083" y="1088331"/>
                    <a:pt x="266101" y="1084349"/>
                    <a:pt x="262834" y="1080366"/>
                  </a:cubicBezTo>
                  <a:cubicBezTo>
                    <a:pt x="177324" y="975370"/>
                    <a:pt x="95080" y="867383"/>
                    <a:pt x="16104" y="756412"/>
                  </a:cubicBezTo>
                  <a:cubicBezTo>
                    <a:pt x="-12019" y="717001"/>
                    <a:pt x="-2361" y="662369"/>
                    <a:pt x="37695" y="635480"/>
                  </a:cubicBezTo>
                  <a:lnTo>
                    <a:pt x="961686" y="14460"/>
                  </a:lnTo>
                  <a:cubicBezTo>
                    <a:pt x="971168" y="8095"/>
                    <a:pt x="981493" y="3879"/>
                    <a:pt x="992067" y="1719"/>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grpSp>
      <p:sp>
        <p:nvSpPr>
          <p:cNvPr id="44" name="Title 1">
            <a:extLst>
              <a:ext uri="{FF2B5EF4-FFF2-40B4-BE49-F238E27FC236}">
                <a16:creationId xmlns:a16="http://schemas.microsoft.com/office/drawing/2014/main" id="{485A3F76-B4CA-4F12-E7CB-D0B67D348FE4}"/>
              </a:ext>
            </a:extLst>
          </p:cNvPr>
          <p:cNvSpPr>
            <a:spLocks noGrp="1"/>
          </p:cNvSpPr>
          <p:nvPr>
            <p:ph type="title" hasCustomPrompt="1"/>
          </p:nvPr>
        </p:nvSpPr>
        <p:spPr>
          <a:xfrm>
            <a:off x="594784" y="2043756"/>
            <a:ext cx="5044845" cy="669971"/>
          </a:xfrm>
        </p:spPr>
        <p:txBody>
          <a:bodyPr anchor="b">
            <a:noAutofit/>
          </a:bodyPr>
          <a:lstStyle>
            <a:lvl1pPr marL="0" marR="0" indent="0" algn="l"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3600" b="0" kern="1200" spc="0" baseline="0" dirty="0">
                <a:solidFill>
                  <a:schemeClr val="bg1"/>
                </a:solidFill>
                <a:latin typeface="+mj-lt"/>
                <a:ea typeface="+mn-ea"/>
                <a:cs typeface="Segoe UI" panose="020B0502040204020203" pitchFamily="34" charset="0"/>
              </a:defRPr>
            </a:lvl1pPr>
          </a:lstStyle>
          <a:p>
            <a:r>
              <a:rPr lang="en-US"/>
              <a:t>Add heading here</a:t>
            </a:r>
          </a:p>
        </p:txBody>
      </p:sp>
      <p:sp>
        <p:nvSpPr>
          <p:cNvPr id="45" name="Text Placeholder 21">
            <a:extLst>
              <a:ext uri="{FF2B5EF4-FFF2-40B4-BE49-F238E27FC236}">
                <a16:creationId xmlns:a16="http://schemas.microsoft.com/office/drawing/2014/main" id="{D43B73F8-6835-C9A2-D369-51EF0215546F}"/>
              </a:ext>
            </a:extLst>
          </p:cNvPr>
          <p:cNvSpPr>
            <a:spLocks noGrp="1"/>
          </p:cNvSpPr>
          <p:nvPr userDrawn="1">
            <p:ph type="body" sz="quarter" idx="10" hasCustomPrompt="1"/>
          </p:nvPr>
        </p:nvSpPr>
        <p:spPr>
          <a:xfrm>
            <a:off x="594784" y="2856959"/>
            <a:ext cx="5036074" cy="1513028"/>
          </a:xfrm>
          <a:prstGeom prst="rect">
            <a:avLst/>
          </a:prstGeom>
        </p:spPr>
        <p:txBody>
          <a:bodyPr lIns="0" tIns="0" rIns="0" bIns="0" anchor="t"/>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161" name="Picture 160">
            <a:extLst>
              <a:ext uri="{FF2B5EF4-FFF2-40B4-BE49-F238E27FC236}">
                <a16:creationId xmlns:a16="http://schemas.microsoft.com/office/drawing/2014/main" id="{E5114BAC-667B-CD54-4D9A-B19C44A160AB}"/>
              </a:ext>
              <a:ext uri="{C183D7F6-B498-43B3-948B-1728B52AA6E4}">
                <adec:decorative xmlns:adec="http://schemas.microsoft.com/office/drawing/2017/decorative" val="1"/>
              </a:ext>
            </a:extLst>
          </p:cNvPr>
          <p:cNvPicPr>
            <a:picLocks noChangeAspect="1"/>
          </p:cNvPicPr>
          <p:nvPr/>
        </p:nvPicPr>
        <p:blipFill rotWithShape="1">
          <a:blip r:embed="rId2" cstate="print">
            <a:duotone>
              <a:schemeClr val="bg2">
                <a:shade val="45000"/>
                <a:satMod val="135000"/>
              </a:schemeClr>
              <a:prstClr val="white"/>
            </a:duotone>
            <a:alphaModFix amt="75000"/>
            <a:extLst>
              <a:ext uri="{28A0092B-C50C-407E-A947-70E740481C1C}">
                <a14:useLocalDpi xmlns:a14="http://schemas.microsoft.com/office/drawing/2010/main"/>
              </a:ext>
            </a:extLst>
          </a:blip>
          <a:srcRect l="84914" t="18056" r="2624" b="18056"/>
          <a:stretch/>
        </p:blipFill>
        <p:spPr>
          <a:xfrm rot="10800000">
            <a:off x="11264926" y="707830"/>
            <a:ext cx="927074" cy="4752830"/>
          </a:xfrm>
          <a:custGeom>
            <a:avLst/>
            <a:gdLst>
              <a:gd name="connsiteX0" fmla="*/ 0 w 927074"/>
              <a:gd name="connsiteY0" fmla="*/ 4752830 h 4752830"/>
              <a:gd name="connsiteX1" fmla="*/ 0 w 927074"/>
              <a:gd name="connsiteY1" fmla="*/ 3354056 h 4752830"/>
              <a:gd name="connsiteX2" fmla="*/ 55489 w 927074"/>
              <a:gd name="connsiteY2" fmla="*/ 3202446 h 4752830"/>
              <a:gd name="connsiteX3" fmla="*/ 180374 w 927074"/>
              <a:gd name="connsiteY3" fmla="*/ 2376415 h 4752830"/>
              <a:gd name="connsiteX4" fmla="*/ 55489 w 927074"/>
              <a:gd name="connsiteY4" fmla="*/ 1550384 h 4752830"/>
              <a:gd name="connsiteX5" fmla="*/ 0 w 927074"/>
              <a:gd name="connsiteY5" fmla="*/ 1398774 h 4752830"/>
              <a:gd name="connsiteX6" fmla="*/ 0 w 927074"/>
              <a:gd name="connsiteY6" fmla="*/ 0 h 4752830"/>
              <a:gd name="connsiteX7" fmla="*/ 122250 w 927074"/>
              <a:gd name="connsiteY7" fmla="*/ 134509 h 4752830"/>
              <a:gd name="connsiteX8" fmla="*/ 927074 w 927074"/>
              <a:gd name="connsiteY8" fmla="*/ 2376415 h 4752830"/>
              <a:gd name="connsiteX9" fmla="*/ 122250 w 927074"/>
              <a:gd name="connsiteY9" fmla="*/ 4618321 h 475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074" h="4752830">
                <a:moveTo>
                  <a:pt x="0" y="4752830"/>
                </a:moveTo>
                <a:lnTo>
                  <a:pt x="0" y="3354056"/>
                </a:lnTo>
                <a:lnTo>
                  <a:pt x="55489" y="3202446"/>
                </a:lnTo>
                <a:cubicBezTo>
                  <a:pt x="136651" y="2941503"/>
                  <a:pt x="180374" y="2664065"/>
                  <a:pt x="180374" y="2376415"/>
                </a:cubicBezTo>
                <a:cubicBezTo>
                  <a:pt x="180374" y="2088765"/>
                  <a:pt x="136651" y="1811327"/>
                  <a:pt x="55489" y="1550384"/>
                </a:cubicBezTo>
                <a:lnTo>
                  <a:pt x="0" y="1398774"/>
                </a:lnTo>
                <a:lnTo>
                  <a:pt x="0" y="0"/>
                </a:lnTo>
                <a:lnTo>
                  <a:pt x="122250" y="134509"/>
                </a:lnTo>
                <a:cubicBezTo>
                  <a:pt x="625040" y="743750"/>
                  <a:pt x="927074" y="1524810"/>
                  <a:pt x="927074" y="2376415"/>
                </a:cubicBezTo>
                <a:cubicBezTo>
                  <a:pt x="927074" y="3228020"/>
                  <a:pt x="625040" y="4009081"/>
                  <a:pt x="122250" y="4618321"/>
                </a:cubicBezTo>
                <a:close/>
              </a:path>
            </a:pathLst>
          </a:custGeom>
        </p:spPr>
      </p:pic>
      <p:pic>
        <p:nvPicPr>
          <p:cNvPr id="159" name="Picture 158">
            <a:extLst>
              <a:ext uri="{FF2B5EF4-FFF2-40B4-BE49-F238E27FC236}">
                <a16:creationId xmlns:a16="http://schemas.microsoft.com/office/drawing/2014/main" id="{9383973E-A896-AE32-8B89-54D89DC4BB69}"/>
              </a:ext>
              <a:ext uri="{C183D7F6-B498-43B3-948B-1728B52AA6E4}">
                <adec:decorative xmlns:adec="http://schemas.microsoft.com/office/drawing/2017/decorative" val="1"/>
              </a:ext>
            </a:extLst>
          </p:cNvPr>
          <p:cNvPicPr>
            <a:picLocks noChangeAspect="1"/>
          </p:cNvPicPr>
          <p:nvPr userDrawn="1"/>
        </p:nvPicPr>
        <p:blipFill rotWithShape="1">
          <a:blip r:embed="rId3" cstate="print">
            <a:alphaModFix amt="75000"/>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a:ext>
            </a:extLst>
          </a:blip>
          <a:srcRect l="2624" t="16270" r="77733" b="11600"/>
          <a:stretch/>
        </p:blipFill>
        <p:spPr>
          <a:xfrm>
            <a:off x="10395812" y="0"/>
            <a:ext cx="1796189" cy="6595552"/>
          </a:xfrm>
          <a:custGeom>
            <a:avLst/>
            <a:gdLst>
              <a:gd name="connsiteX0" fmla="*/ 1290873 w 1796189"/>
              <a:gd name="connsiteY0" fmla="*/ 0 h 6595552"/>
              <a:gd name="connsiteX1" fmla="*/ 1796189 w 1796189"/>
              <a:gd name="connsiteY1" fmla="*/ 0 h 6595552"/>
              <a:gd name="connsiteX2" fmla="*/ 1796189 w 1796189"/>
              <a:gd name="connsiteY2" fmla="*/ 817959 h 6595552"/>
              <a:gd name="connsiteX3" fmla="*/ 1704800 w 1796189"/>
              <a:gd name="connsiteY3" fmla="*/ 918513 h 6595552"/>
              <a:gd name="connsiteX4" fmla="*/ 927322 w 1796189"/>
              <a:gd name="connsiteY4" fmla="*/ 3084245 h 6595552"/>
              <a:gd name="connsiteX5" fmla="*/ 1704800 w 1796189"/>
              <a:gd name="connsiteY5" fmla="*/ 5249977 h 6595552"/>
              <a:gd name="connsiteX6" fmla="*/ 1796189 w 1796189"/>
              <a:gd name="connsiteY6" fmla="*/ 5350531 h 6595552"/>
              <a:gd name="connsiteX7" fmla="*/ 1796189 w 1796189"/>
              <a:gd name="connsiteY7" fmla="*/ 6595552 h 6595552"/>
              <a:gd name="connsiteX8" fmla="*/ 1740122 w 1796189"/>
              <a:gd name="connsiteY8" fmla="*/ 6555682 h 6595552"/>
              <a:gd name="connsiteX9" fmla="*/ 0 w 1796189"/>
              <a:gd name="connsiteY9" fmla="*/ 3084245 h 6595552"/>
              <a:gd name="connsiteX10" fmla="*/ 1268833 w 1796189"/>
              <a:gd name="connsiteY10" fmla="*/ 21013 h 659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6189" h="6595552">
                <a:moveTo>
                  <a:pt x="1290873" y="0"/>
                </a:moveTo>
                <a:lnTo>
                  <a:pt x="1796189" y="0"/>
                </a:lnTo>
                <a:lnTo>
                  <a:pt x="1796189" y="817959"/>
                </a:lnTo>
                <a:lnTo>
                  <a:pt x="1704800" y="918513"/>
                </a:lnTo>
                <a:cubicBezTo>
                  <a:pt x="1219093" y="1507053"/>
                  <a:pt x="927322" y="2261576"/>
                  <a:pt x="927322" y="3084245"/>
                </a:cubicBezTo>
                <a:cubicBezTo>
                  <a:pt x="927322" y="3906914"/>
                  <a:pt x="1219093" y="4661437"/>
                  <a:pt x="1704800" y="5249977"/>
                </a:cubicBezTo>
                <a:lnTo>
                  <a:pt x="1796189" y="5350531"/>
                </a:lnTo>
                <a:lnTo>
                  <a:pt x="1796189" y="6595552"/>
                </a:lnTo>
                <a:lnTo>
                  <a:pt x="1740122" y="6555682"/>
                </a:lnTo>
                <a:cubicBezTo>
                  <a:pt x="683761" y="5765677"/>
                  <a:pt x="0" y="4504812"/>
                  <a:pt x="0" y="3084245"/>
                </a:cubicBezTo>
                <a:cubicBezTo>
                  <a:pt x="0" y="1887979"/>
                  <a:pt x="484883" y="804963"/>
                  <a:pt x="1268833" y="21013"/>
                </a:cubicBezTo>
                <a:close/>
              </a:path>
            </a:pathLst>
          </a:custGeom>
        </p:spPr>
      </p:pic>
      <p:sp>
        <p:nvSpPr>
          <p:cNvPr id="14" name="Picture Placeholder 83">
            <a:extLst>
              <a:ext uri="{FF2B5EF4-FFF2-40B4-BE49-F238E27FC236}">
                <a16:creationId xmlns:a16="http://schemas.microsoft.com/office/drawing/2014/main" id="{7819C249-351D-C1DC-B18A-33D1791AA5EF}"/>
              </a:ext>
            </a:extLst>
          </p:cNvPr>
          <p:cNvSpPr>
            <a:spLocks noGrp="1"/>
          </p:cNvSpPr>
          <p:nvPr>
            <p:ph type="pic" sz="quarter" idx="12" hasCustomPrompt="1"/>
          </p:nvPr>
        </p:nvSpPr>
        <p:spPr>
          <a:xfrm>
            <a:off x="6238783" y="625195"/>
            <a:ext cx="870556" cy="1479615"/>
          </a:xfrm>
          <a:custGeom>
            <a:avLst/>
            <a:gdLst>
              <a:gd name="connsiteX0" fmla="*/ 335604 w 870556"/>
              <a:gd name="connsiteY0" fmla="*/ 463 h 1479615"/>
              <a:gd name="connsiteX1" fmla="*/ 370059 w 870556"/>
              <a:gd name="connsiteY1" fmla="*/ 3906 h 1479615"/>
              <a:gd name="connsiteX2" fmla="*/ 810256 w 870556"/>
              <a:gd name="connsiteY2" fmla="*/ 140619 h 1479615"/>
              <a:gd name="connsiteX3" fmla="*/ 867242 w 870556"/>
              <a:gd name="connsiteY3" fmla="*/ 246667 h 1479615"/>
              <a:gd name="connsiteX4" fmla="*/ 727269 w 870556"/>
              <a:gd name="connsiteY4" fmla="*/ 821495 h 1479615"/>
              <a:gd name="connsiteX5" fmla="*/ 629848 w 870556"/>
              <a:gd name="connsiteY5" fmla="*/ 1404918 h 1479615"/>
              <a:gd name="connsiteX6" fmla="*/ 568786 w 870556"/>
              <a:gd name="connsiteY6" fmla="*/ 1477081 h 1479615"/>
              <a:gd name="connsiteX7" fmla="*/ 541037 w 870556"/>
              <a:gd name="connsiteY7" fmla="*/ 1479615 h 1479615"/>
              <a:gd name="connsiteX8" fmla="*/ 479199 w 870556"/>
              <a:gd name="connsiteY8" fmla="*/ 1474174 h 1479615"/>
              <a:gd name="connsiteX9" fmla="*/ 77060 w 870556"/>
              <a:gd name="connsiteY9" fmla="*/ 1431216 h 1479615"/>
              <a:gd name="connsiteX10" fmla="*/ 702 w 870556"/>
              <a:gd name="connsiteY10" fmla="*/ 1334817 h 1479615"/>
              <a:gd name="connsiteX11" fmla="*/ 261705 w 870556"/>
              <a:gd name="connsiteY11" fmla="*/ 62346 h 1479615"/>
              <a:gd name="connsiteX12" fmla="*/ 261721 w 870556"/>
              <a:gd name="connsiteY12" fmla="*/ 62203 h 1479615"/>
              <a:gd name="connsiteX13" fmla="*/ 335604 w 870556"/>
              <a:gd name="connsiteY13" fmla="*/ 463 h 147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0556" h="1479615">
                <a:moveTo>
                  <a:pt x="335604" y="463"/>
                </a:moveTo>
                <a:cubicBezTo>
                  <a:pt x="346875" y="-713"/>
                  <a:pt x="358562" y="327"/>
                  <a:pt x="370059" y="3906"/>
                </a:cubicBezTo>
                <a:lnTo>
                  <a:pt x="810256" y="140619"/>
                </a:lnTo>
                <a:cubicBezTo>
                  <a:pt x="854846" y="154496"/>
                  <a:pt x="880001" y="201593"/>
                  <a:pt x="867242" y="246667"/>
                </a:cubicBezTo>
                <a:cubicBezTo>
                  <a:pt x="813644" y="436087"/>
                  <a:pt x="766891" y="627687"/>
                  <a:pt x="727269" y="821495"/>
                </a:cubicBezTo>
                <a:cubicBezTo>
                  <a:pt x="687941" y="1013886"/>
                  <a:pt x="655315" y="1208441"/>
                  <a:pt x="629848" y="1404918"/>
                </a:cubicBezTo>
                <a:cubicBezTo>
                  <a:pt x="625234" y="1440011"/>
                  <a:pt x="600543" y="1467589"/>
                  <a:pt x="568786" y="1477081"/>
                </a:cubicBezTo>
                <a:lnTo>
                  <a:pt x="541037" y="1479615"/>
                </a:lnTo>
                <a:lnTo>
                  <a:pt x="479199" y="1474174"/>
                </a:lnTo>
                <a:lnTo>
                  <a:pt x="77060" y="1431216"/>
                </a:lnTo>
                <a:cubicBezTo>
                  <a:pt x="29223" y="1426106"/>
                  <a:pt x="-5417" y="1382624"/>
                  <a:pt x="702" y="1334817"/>
                </a:cubicBezTo>
                <a:cubicBezTo>
                  <a:pt x="56355" y="901717"/>
                  <a:pt x="143602" y="477057"/>
                  <a:pt x="261705" y="62346"/>
                </a:cubicBezTo>
                <a:lnTo>
                  <a:pt x="261721" y="62203"/>
                </a:lnTo>
                <a:cubicBezTo>
                  <a:pt x="271714" y="27468"/>
                  <a:pt x="301789" y="3991"/>
                  <a:pt x="335604" y="463"/>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17" name="Picture Placeholder 64">
            <a:extLst>
              <a:ext uri="{FF2B5EF4-FFF2-40B4-BE49-F238E27FC236}">
                <a16:creationId xmlns:a16="http://schemas.microsoft.com/office/drawing/2014/main" id="{B636EFD1-EEB0-84E1-9DE9-3EBC3E3579EB}"/>
              </a:ext>
              <a:ext uri="{C183D7F6-B498-43B3-948B-1728B52AA6E4}">
                <adec:decorative xmlns:adec="http://schemas.microsoft.com/office/drawing/2017/decorative" val="1"/>
              </a:ext>
            </a:extLst>
          </p:cNvPr>
          <p:cNvSpPr>
            <a:spLocks noGrp="1"/>
          </p:cNvSpPr>
          <p:nvPr>
            <p:ph type="pic" sz="quarter" idx="11" hasCustomPrompt="1"/>
          </p:nvPr>
        </p:nvSpPr>
        <p:spPr>
          <a:xfrm>
            <a:off x="6996831" y="888344"/>
            <a:ext cx="2883120" cy="2725439"/>
          </a:xfrm>
          <a:custGeom>
            <a:avLst/>
            <a:gdLst>
              <a:gd name="connsiteX0" fmla="*/ 366691 w 2883120"/>
              <a:gd name="connsiteY0" fmla="*/ 458 h 2725439"/>
              <a:gd name="connsiteX1" fmla="*/ 400869 w 2883120"/>
              <a:gd name="connsiteY1" fmla="*/ 3870 h 2725439"/>
              <a:gd name="connsiteX2" fmla="*/ 1486097 w 2883120"/>
              <a:gd name="connsiteY2" fmla="*/ 341002 h 2725439"/>
              <a:gd name="connsiteX3" fmla="*/ 1487480 w 2883120"/>
              <a:gd name="connsiteY3" fmla="*/ 341436 h 2725439"/>
              <a:gd name="connsiteX4" fmla="*/ 1676066 w 2883120"/>
              <a:gd name="connsiteY4" fmla="*/ 400072 h 2725439"/>
              <a:gd name="connsiteX5" fmla="*/ 1677448 w 2883120"/>
              <a:gd name="connsiteY5" fmla="*/ 400505 h 2725439"/>
              <a:gd name="connsiteX6" fmla="*/ 2823240 w 2883120"/>
              <a:gd name="connsiteY6" fmla="*/ 756412 h 2725439"/>
              <a:gd name="connsiteX7" fmla="*/ 2880194 w 2883120"/>
              <a:gd name="connsiteY7" fmla="*/ 859791 h 2725439"/>
              <a:gd name="connsiteX8" fmla="*/ 2810289 w 2883120"/>
              <a:gd name="connsiteY8" fmla="*/ 1155801 h 2725439"/>
              <a:gd name="connsiteX9" fmla="*/ 2746187 w 2883120"/>
              <a:gd name="connsiteY9" fmla="*/ 1536561 h 2725439"/>
              <a:gd name="connsiteX10" fmla="*/ 2746484 w 2883120"/>
              <a:gd name="connsiteY10" fmla="*/ 1536450 h 2725439"/>
              <a:gd name="connsiteX11" fmla="*/ 2725327 w 2883120"/>
              <a:gd name="connsiteY11" fmla="*/ 1734505 h 2725439"/>
              <a:gd name="connsiteX12" fmla="*/ 2712645 w 2883120"/>
              <a:gd name="connsiteY12" fmla="*/ 2416224 h 2725439"/>
              <a:gd name="connsiteX13" fmla="*/ 2634982 w 2883120"/>
              <a:gd name="connsiteY13" fmla="*/ 2505364 h 2725439"/>
              <a:gd name="connsiteX14" fmla="*/ 1438335 w 2883120"/>
              <a:gd name="connsiteY14" fmla="*/ 2609470 h 2725439"/>
              <a:gd name="connsiteX15" fmla="*/ 1438053 w 2883120"/>
              <a:gd name="connsiteY15" fmla="*/ 2609440 h 2725439"/>
              <a:gd name="connsiteX16" fmla="*/ 1240080 w 2883120"/>
              <a:gd name="connsiteY16" fmla="*/ 2626638 h 2725439"/>
              <a:gd name="connsiteX17" fmla="*/ 1239798 w 2883120"/>
              <a:gd name="connsiteY17" fmla="*/ 2626608 h 2725439"/>
              <a:gd name="connsiteX18" fmla="*/ 107318 w 2883120"/>
              <a:gd name="connsiteY18" fmla="*/ 2725120 h 2725439"/>
              <a:gd name="connsiteX19" fmla="*/ 14932 w 2883120"/>
              <a:gd name="connsiteY19" fmla="*/ 2645855 h 2725439"/>
              <a:gd name="connsiteX20" fmla="*/ 34143 w 2883120"/>
              <a:gd name="connsiteY20" fmla="*/ 1447022 h 2725439"/>
              <a:gd name="connsiteX21" fmla="*/ 55583 w 2883120"/>
              <a:gd name="connsiteY21" fmla="*/ 1248998 h 2725439"/>
              <a:gd name="connsiteX22" fmla="*/ 161075 w 2883120"/>
              <a:gd name="connsiteY22" fmla="*/ 607814 h 2725439"/>
              <a:gd name="connsiteX23" fmla="*/ 293683 w 2883120"/>
              <a:gd name="connsiteY23" fmla="*/ 61814 h 2725439"/>
              <a:gd name="connsiteX24" fmla="*/ 366691 w 2883120"/>
              <a:gd name="connsiteY24" fmla="*/ 458 h 272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83120" h="2725439">
                <a:moveTo>
                  <a:pt x="366691" y="458"/>
                </a:moveTo>
                <a:cubicBezTo>
                  <a:pt x="377868" y="-706"/>
                  <a:pt x="389463" y="326"/>
                  <a:pt x="400869" y="3870"/>
                </a:cubicBezTo>
                <a:lnTo>
                  <a:pt x="1486097" y="341002"/>
                </a:lnTo>
                <a:lnTo>
                  <a:pt x="1487480" y="341436"/>
                </a:lnTo>
                <a:lnTo>
                  <a:pt x="1676066" y="400072"/>
                </a:lnTo>
                <a:lnTo>
                  <a:pt x="1677448" y="400505"/>
                </a:lnTo>
                <a:lnTo>
                  <a:pt x="2823240" y="756412"/>
                </a:lnTo>
                <a:cubicBezTo>
                  <a:pt x="2866793" y="769936"/>
                  <a:pt x="2892062" y="815560"/>
                  <a:pt x="2880194" y="859791"/>
                </a:cubicBezTo>
                <a:cubicBezTo>
                  <a:pt x="2853892" y="957569"/>
                  <a:pt x="2830638" y="1056243"/>
                  <a:pt x="2810289" y="1155801"/>
                </a:cubicBezTo>
                <a:cubicBezTo>
                  <a:pt x="2783931" y="1282189"/>
                  <a:pt x="2762516" y="1409104"/>
                  <a:pt x="2746187" y="1536561"/>
                </a:cubicBezTo>
                <a:lnTo>
                  <a:pt x="2746484" y="1536450"/>
                </a:lnTo>
                <a:cubicBezTo>
                  <a:pt x="2737873" y="1602350"/>
                  <a:pt x="2731099" y="1668445"/>
                  <a:pt x="2725327" y="1734505"/>
                </a:cubicBezTo>
                <a:cubicBezTo>
                  <a:pt x="2705431" y="1960881"/>
                  <a:pt x="2701131" y="2188351"/>
                  <a:pt x="2712645" y="2416224"/>
                </a:cubicBezTo>
                <a:cubicBezTo>
                  <a:pt x="2715042" y="2461978"/>
                  <a:pt x="2680551" y="2501363"/>
                  <a:pt x="2634982" y="2505364"/>
                </a:cubicBezTo>
                <a:cubicBezTo>
                  <a:pt x="2634982" y="2505364"/>
                  <a:pt x="1438335" y="2609470"/>
                  <a:pt x="1438335" y="2609470"/>
                </a:cubicBezTo>
                <a:lnTo>
                  <a:pt x="1438053" y="2609440"/>
                </a:lnTo>
                <a:cubicBezTo>
                  <a:pt x="1438053" y="2609440"/>
                  <a:pt x="1240080" y="2626638"/>
                  <a:pt x="1240080" y="2626638"/>
                </a:cubicBezTo>
                <a:lnTo>
                  <a:pt x="1239798" y="2626608"/>
                </a:lnTo>
                <a:lnTo>
                  <a:pt x="107318" y="2725120"/>
                </a:lnTo>
                <a:cubicBezTo>
                  <a:pt x="59883" y="2729209"/>
                  <a:pt x="17980" y="2693542"/>
                  <a:pt x="14932" y="2645855"/>
                </a:cubicBezTo>
                <a:cubicBezTo>
                  <a:pt x="-10100" y="2244985"/>
                  <a:pt x="-3632" y="1844761"/>
                  <a:pt x="34143" y="1447022"/>
                </a:cubicBezTo>
                <a:cubicBezTo>
                  <a:pt x="40493" y="1380881"/>
                  <a:pt x="47536" y="1314958"/>
                  <a:pt x="55583" y="1248998"/>
                </a:cubicBezTo>
                <a:cubicBezTo>
                  <a:pt x="81645" y="1034440"/>
                  <a:pt x="116777" y="820567"/>
                  <a:pt x="161075" y="607814"/>
                </a:cubicBezTo>
                <a:cubicBezTo>
                  <a:pt x="198728" y="423827"/>
                  <a:pt x="242899" y="241680"/>
                  <a:pt x="293683" y="61814"/>
                </a:cubicBezTo>
                <a:cubicBezTo>
                  <a:pt x="303378" y="27223"/>
                  <a:pt x="333158" y="3951"/>
                  <a:pt x="366691" y="458"/>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23" name="Picture Placeholder 85">
            <a:extLst>
              <a:ext uri="{FF2B5EF4-FFF2-40B4-BE49-F238E27FC236}">
                <a16:creationId xmlns:a16="http://schemas.microsoft.com/office/drawing/2014/main" id="{B9B95421-0C5F-2BF2-9F87-FAB89752A683}"/>
              </a:ext>
            </a:extLst>
          </p:cNvPr>
          <p:cNvSpPr>
            <a:spLocks noGrp="1"/>
          </p:cNvSpPr>
          <p:nvPr>
            <p:ph type="pic" sz="quarter" idx="13" hasCustomPrompt="1"/>
          </p:nvPr>
        </p:nvSpPr>
        <p:spPr>
          <a:xfrm>
            <a:off x="7046901" y="3720466"/>
            <a:ext cx="1844470" cy="2805336"/>
          </a:xfrm>
          <a:custGeom>
            <a:avLst/>
            <a:gdLst>
              <a:gd name="connsiteX0" fmla="*/ 1123600 w 1844470"/>
              <a:gd name="connsiteY0" fmla="*/ 324 h 2805336"/>
              <a:gd name="connsiteX1" fmla="*/ 1215594 w 1844470"/>
              <a:gd name="connsiteY1" fmla="*/ 75254 h 2805336"/>
              <a:gd name="connsiteX2" fmla="*/ 1399760 w 1844470"/>
              <a:gd name="connsiteY2" fmla="*/ 1035117 h 2805336"/>
              <a:gd name="connsiteX3" fmla="*/ 1449390 w 1844470"/>
              <a:gd name="connsiteY3" fmla="*/ 1208398 h 2805336"/>
              <a:gd name="connsiteX4" fmla="*/ 1455031 w 1844470"/>
              <a:gd name="connsiteY4" fmla="*/ 1226456 h 2805336"/>
              <a:gd name="connsiteX5" fmla="*/ 1455046 w 1844470"/>
              <a:gd name="connsiteY5" fmla="*/ 1226315 h 2805336"/>
              <a:gd name="connsiteX6" fmla="*/ 1835818 w 1844470"/>
              <a:gd name="connsiteY6" fmla="*/ 2191155 h 2805336"/>
              <a:gd name="connsiteX7" fmla="*/ 1798769 w 1844470"/>
              <a:gd name="connsiteY7" fmla="*/ 2303952 h 2805336"/>
              <a:gd name="connsiteX8" fmla="*/ 866727 w 1844470"/>
              <a:gd name="connsiteY8" fmla="*/ 2795459 h 2805336"/>
              <a:gd name="connsiteX9" fmla="*/ 750493 w 1844470"/>
              <a:gd name="connsiteY9" fmla="*/ 2757573 h 2805336"/>
              <a:gd name="connsiteX10" fmla="*/ 279343 w 1844470"/>
              <a:gd name="connsiteY10" fmla="*/ 1566310 h 2805336"/>
              <a:gd name="connsiteX11" fmla="*/ 278168 w 1844470"/>
              <a:gd name="connsiteY11" fmla="*/ 1562607 h 2805336"/>
              <a:gd name="connsiteX12" fmla="*/ 224070 w 1844470"/>
              <a:gd name="connsiteY12" fmla="*/ 1374971 h 2805336"/>
              <a:gd name="connsiteX13" fmla="*/ 945 w 1844470"/>
              <a:gd name="connsiteY13" fmla="*/ 188739 h 2805336"/>
              <a:gd name="connsiteX14" fmla="*/ 77931 w 1844470"/>
              <a:gd name="connsiteY14" fmla="*/ 91225 h 280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4470" h="2805336">
                <a:moveTo>
                  <a:pt x="1123600" y="324"/>
                </a:moveTo>
                <a:cubicBezTo>
                  <a:pt x="1169453" y="-3650"/>
                  <a:pt x="1210340" y="29478"/>
                  <a:pt x="1215594" y="75254"/>
                </a:cubicBezTo>
                <a:cubicBezTo>
                  <a:pt x="1252327" y="398678"/>
                  <a:pt x="1313817" y="719027"/>
                  <a:pt x="1399760" y="1035117"/>
                </a:cubicBezTo>
                <a:cubicBezTo>
                  <a:pt x="1415571" y="1093037"/>
                  <a:pt x="1431978" y="1150735"/>
                  <a:pt x="1449390" y="1208398"/>
                </a:cubicBezTo>
                <a:cubicBezTo>
                  <a:pt x="1451313" y="1214468"/>
                  <a:pt x="1453249" y="1220400"/>
                  <a:pt x="1455031" y="1226456"/>
                </a:cubicBezTo>
                <a:lnTo>
                  <a:pt x="1455046" y="1226315"/>
                </a:lnTo>
                <a:cubicBezTo>
                  <a:pt x="1556605" y="1559383"/>
                  <a:pt x="1683766" y="1881452"/>
                  <a:pt x="1835818" y="2191155"/>
                </a:cubicBezTo>
                <a:cubicBezTo>
                  <a:pt x="1856111" y="2232528"/>
                  <a:pt x="1839483" y="2282548"/>
                  <a:pt x="1798769" y="2303952"/>
                </a:cubicBezTo>
                <a:lnTo>
                  <a:pt x="866727" y="2795459"/>
                </a:lnTo>
                <a:cubicBezTo>
                  <a:pt x="824182" y="2817957"/>
                  <a:pt x="771892" y="2800638"/>
                  <a:pt x="750493" y="2757573"/>
                </a:cubicBezTo>
                <a:cubicBezTo>
                  <a:pt x="561285" y="2375794"/>
                  <a:pt x="403918" y="1978101"/>
                  <a:pt x="279343" y="1566310"/>
                </a:cubicBezTo>
                <a:cubicBezTo>
                  <a:pt x="278914" y="1564976"/>
                  <a:pt x="278471" y="1563783"/>
                  <a:pt x="278168" y="1562607"/>
                </a:cubicBezTo>
                <a:cubicBezTo>
                  <a:pt x="259263" y="1500207"/>
                  <a:pt x="241236" y="1437613"/>
                  <a:pt x="224070" y="1374971"/>
                </a:cubicBezTo>
                <a:cubicBezTo>
                  <a:pt x="132247" y="1040366"/>
                  <a:pt x="35406" y="419777"/>
                  <a:pt x="945" y="188739"/>
                </a:cubicBezTo>
                <a:cubicBezTo>
                  <a:pt x="-6295" y="140176"/>
                  <a:pt x="28911" y="95433"/>
                  <a:pt x="77931" y="91225"/>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1" name="Picture Placeholder 140">
            <a:extLst>
              <a:ext uri="{FF2B5EF4-FFF2-40B4-BE49-F238E27FC236}">
                <a16:creationId xmlns:a16="http://schemas.microsoft.com/office/drawing/2014/main" id="{F9A49CC8-682D-AC52-CFD0-A16018B04DC3}"/>
              </a:ext>
              <a:ext uri="{C183D7F6-B498-43B3-948B-1728B52AA6E4}">
                <adec:decorative xmlns:adec="http://schemas.microsoft.com/office/drawing/2017/decorative" val="1"/>
              </a:ext>
            </a:extLst>
          </p:cNvPr>
          <p:cNvSpPr>
            <a:spLocks noGrp="1"/>
          </p:cNvSpPr>
          <p:nvPr>
            <p:ph type="pic" sz="quarter" idx="17" hasCustomPrompt="1"/>
          </p:nvPr>
        </p:nvSpPr>
        <p:spPr>
          <a:xfrm>
            <a:off x="8754782" y="0"/>
            <a:ext cx="1990307" cy="1458278"/>
          </a:xfrm>
          <a:custGeom>
            <a:avLst/>
            <a:gdLst>
              <a:gd name="connsiteX0" fmla="*/ 456346 w 1990307"/>
              <a:gd name="connsiteY0" fmla="*/ 0 h 1458278"/>
              <a:gd name="connsiteX1" fmla="*/ 1990307 w 1990307"/>
              <a:gd name="connsiteY1" fmla="*/ 0 h 1458278"/>
              <a:gd name="connsiteX2" fmla="*/ 1812551 w 1990307"/>
              <a:gd name="connsiteY2" fmla="*/ 244096 h 1458278"/>
              <a:gd name="connsiteX3" fmla="*/ 1638657 w 1990307"/>
              <a:gd name="connsiteY3" fmla="*/ 519141 h 1458278"/>
              <a:gd name="connsiteX4" fmla="*/ 1632753 w 1990307"/>
              <a:gd name="connsiteY4" fmla="*/ 528956 h 1458278"/>
              <a:gd name="connsiteX5" fmla="*/ 1619122 w 1990307"/>
              <a:gd name="connsiteY5" fmla="*/ 552252 h 1458278"/>
              <a:gd name="connsiteX6" fmla="*/ 1591617 w 1990307"/>
              <a:gd name="connsiteY6" fmla="*/ 601110 h 1458278"/>
              <a:gd name="connsiteX7" fmla="*/ 1574033 w 1990307"/>
              <a:gd name="connsiteY7" fmla="*/ 631997 h 1458278"/>
              <a:gd name="connsiteX8" fmla="*/ 1570483 w 1990307"/>
              <a:gd name="connsiteY8" fmla="*/ 638486 h 1458278"/>
              <a:gd name="connsiteX9" fmla="*/ 1552141 w 1990307"/>
              <a:gd name="connsiteY9" fmla="*/ 672440 h 1458278"/>
              <a:gd name="connsiteX10" fmla="*/ 1523074 w 1990307"/>
              <a:gd name="connsiteY10" fmla="*/ 726568 h 1458278"/>
              <a:gd name="connsiteX11" fmla="*/ 1504567 w 1990307"/>
              <a:gd name="connsiteY11" fmla="*/ 762078 h 1458278"/>
              <a:gd name="connsiteX12" fmla="*/ 1501657 w 1990307"/>
              <a:gd name="connsiteY12" fmla="*/ 767921 h 1458278"/>
              <a:gd name="connsiteX13" fmla="*/ 1229574 w 1990307"/>
              <a:gd name="connsiteY13" fmla="*/ 1401324 h 1458278"/>
              <a:gd name="connsiteX14" fmla="*/ 1124047 w 1990307"/>
              <a:gd name="connsiteY14" fmla="*/ 1454439 h 1458278"/>
              <a:gd name="connsiteX15" fmla="*/ 59960 w 1990307"/>
              <a:gd name="connsiteY15" fmla="*/ 1123999 h 1458278"/>
              <a:gd name="connsiteX16" fmla="*/ 4659 w 1990307"/>
              <a:gd name="connsiteY16" fmla="*/ 1014501 h 1458278"/>
              <a:gd name="connsiteX17" fmla="*/ 399216 w 1990307"/>
              <a:gd name="connsiteY17" fmla="*/ 105155 h 1458278"/>
              <a:gd name="connsiteX18" fmla="*/ 428812 w 1990307"/>
              <a:gd name="connsiteY18" fmla="*/ 50082 h 1458278"/>
              <a:gd name="connsiteX19" fmla="*/ 444618 w 1990307"/>
              <a:gd name="connsiteY19" fmla="*/ 21150 h 1458278"/>
              <a:gd name="connsiteX20" fmla="*/ 451360 w 1990307"/>
              <a:gd name="connsiteY20" fmla="*/ 8851 h 1458278"/>
              <a:gd name="connsiteX21" fmla="*/ 454709 w 1990307"/>
              <a:gd name="connsiteY21" fmla="*/ 2913 h 145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90307" h="1458278">
                <a:moveTo>
                  <a:pt x="456346" y="0"/>
                </a:moveTo>
                <a:lnTo>
                  <a:pt x="1990307" y="0"/>
                </a:lnTo>
                <a:lnTo>
                  <a:pt x="1812551" y="244096"/>
                </a:lnTo>
                <a:cubicBezTo>
                  <a:pt x="1751546" y="333927"/>
                  <a:pt x="1693572" y="425638"/>
                  <a:pt x="1638657" y="519141"/>
                </a:cubicBezTo>
                <a:cubicBezTo>
                  <a:pt x="1636742" y="522371"/>
                  <a:pt x="1634668" y="525726"/>
                  <a:pt x="1632753" y="528956"/>
                </a:cubicBezTo>
                <a:cubicBezTo>
                  <a:pt x="1628203" y="536769"/>
                  <a:pt x="1623670" y="544441"/>
                  <a:pt x="1619122" y="552252"/>
                </a:cubicBezTo>
                <a:cubicBezTo>
                  <a:pt x="1609822" y="568430"/>
                  <a:pt x="1600789" y="584777"/>
                  <a:pt x="1591617" y="601110"/>
                </a:cubicBezTo>
                <a:cubicBezTo>
                  <a:pt x="1585792" y="611506"/>
                  <a:pt x="1579715" y="621587"/>
                  <a:pt x="1574033" y="631997"/>
                </a:cubicBezTo>
                <a:cubicBezTo>
                  <a:pt x="1572801" y="634156"/>
                  <a:pt x="1571571" y="636313"/>
                  <a:pt x="1570483" y="638486"/>
                </a:cubicBezTo>
                <a:cubicBezTo>
                  <a:pt x="1564411" y="649856"/>
                  <a:pt x="1558071" y="661055"/>
                  <a:pt x="1552141" y="672440"/>
                </a:cubicBezTo>
                <a:cubicBezTo>
                  <a:pt x="1542646" y="690455"/>
                  <a:pt x="1532585" y="708412"/>
                  <a:pt x="1523074" y="726568"/>
                </a:cubicBezTo>
                <a:cubicBezTo>
                  <a:pt x="1516817" y="738347"/>
                  <a:pt x="1510684" y="750283"/>
                  <a:pt x="1504567" y="762078"/>
                </a:cubicBezTo>
                <a:cubicBezTo>
                  <a:pt x="1503650" y="763984"/>
                  <a:pt x="1502717" y="766030"/>
                  <a:pt x="1501657" y="767921"/>
                </a:cubicBezTo>
                <a:cubicBezTo>
                  <a:pt x="1396011" y="973261"/>
                  <a:pt x="1305292" y="1184630"/>
                  <a:pt x="1229574" y="1401324"/>
                </a:cubicBezTo>
                <a:cubicBezTo>
                  <a:pt x="1214519" y="1444644"/>
                  <a:pt x="1167742" y="1467976"/>
                  <a:pt x="1124047" y="1454439"/>
                </a:cubicBezTo>
                <a:lnTo>
                  <a:pt x="59960" y="1123999"/>
                </a:lnTo>
                <a:cubicBezTo>
                  <a:pt x="13909" y="1109779"/>
                  <a:pt x="-10935" y="1060194"/>
                  <a:pt x="4659" y="1014501"/>
                </a:cubicBezTo>
                <a:cubicBezTo>
                  <a:pt x="111440" y="702257"/>
                  <a:pt x="243151" y="398685"/>
                  <a:pt x="399216" y="105155"/>
                </a:cubicBezTo>
                <a:cubicBezTo>
                  <a:pt x="409040" y="86745"/>
                  <a:pt x="418864" y="68335"/>
                  <a:pt x="428812" y="50082"/>
                </a:cubicBezTo>
                <a:cubicBezTo>
                  <a:pt x="434138" y="40349"/>
                  <a:pt x="439307" y="30743"/>
                  <a:pt x="444618" y="21150"/>
                </a:cubicBezTo>
                <a:cubicBezTo>
                  <a:pt x="446908" y="17103"/>
                  <a:pt x="449070" y="12899"/>
                  <a:pt x="451360" y="8851"/>
                </a:cubicBezTo>
                <a:cubicBezTo>
                  <a:pt x="452434" y="6819"/>
                  <a:pt x="453635" y="4944"/>
                  <a:pt x="454709" y="2913"/>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4" name="Picture Placeholder 89">
            <a:extLst>
              <a:ext uri="{FF2B5EF4-FFF2-40B4-BE49-F238E27FC236}">
                <a16:creationId xmlns:a16="http://schemas.microsoft.com/office/drawing/2014/main" id="{8C468708-EE99-C0E7-A9B0-CA66A3BA9063}"/>
              </a:ext>
              <a:ext uri="{C183D7F6-B498-43B3-948B-1728B52AA6E4}">
                <adec:decorative xmlns:adec="http://schemas.microsoft.com/office/drawing/2017/decorative" val="1"/>
              </a:ext>
            </a:extLst>
          </p:cNvPr>
          <p:cNvSpPr>
            <a:spLocks noGrp="1"/>
          </p:cNvSpPr>
          <p:nvPr>
            <p:ph type="pic" sz="quarter" idx="15" hasCustomPrompt="1"/>
          </p:nvPr>
        </p:nvSpPr>
        <p:spPr>
          <a:xfrm>
            <a:off x="8460979" y="3530777"/>
            <a:ext cx="2071867" cy="1148708"/>
          </a:xfrm>
          <a:custGeom>
            <a:avLst/>
            <a:gdLst>
              <a:gd name="connsiteX0" fmla="*/ 1891840 w 2071867"/>
              <a:gd name="connsiteY0" fmla="*/ 332 h 1148708"/>
              <a:gd name="connsiteX1" fmla="*/ 1983654 w 2071867"/>
              <a:gd name="connsiteY1" fmla="*/ 74241 h 1148708"/>
              <a:gd name="connsiteX2" fmla="*/ 2069429 w 2071867"/>
              <a:gd name="connsiteY2" fmla="*/ 537688 h 1148708"/>
              <a:gd name="connsiteX3" fmla="*/ 2010250 w 2071867"/>
              <a:gd name="connsiteY3" fmla="*/ 639679 h 1148708"/>
              <a:gd name="connsiteX4" fmla="*/ 1601500 w 2071867"/>
              <a:gd name="connsiteY4" fmla="*/ 757840 h 1148708"/>
              <a:gd name="connsiteX5" fmla="*/ 1600622 w 2071867"/>
              <a:gd name="connsiteY5" fmla="*/ 758034 h 1148708"/>
              <a:gd name="connsiteX6" fmla="*/ 1411053 w 2071867"/>
              <a:gd name="connsiteY6" fmla="*/ 812900 h 1148708"/>
              <a:gd name="connsiteX7" fmla="*/ 1410771 w 2071867"/>
              <a:gd name="connsiteY7" fmla="*/ 812870 h 1148708"/>
              <a:gd name="connsiteX8" fmla="*/ 261014 w 2071867"/>
              <a:gd name="connsiteY8" fmla="*/ 1145335 h 1148708"/>
              <a:gd name="connsiteX9" fmla="*/ 154677 w 2071867"/>
              <a:gd name="connsiteY9" fmla="*/ 1084325 h 1148708"/>
              <a:gd name="connsiteX10" fmla="*/ 589 w 2071867"/>
              <a:gd name="connsiteY10" fmla="*/ 253445 h 1148708"/>
              <a:gd name="connsiteX11" fmla="*/ 77911 w 2071867"/>
              <a:gd name="connsiteY11" fmla="*/ 158114 h 1148708"/>
              <a:gd name="connsiteX12" fmla="*/ 1270371 w 2071867"/>
              <a:gd name="connsiteY12" fmla="*/ 54419 h 1148708"/>
              <a:gd name="connsiteX13" fmla="*/ 1467215 w 2071867"/>
              <a:gd name="connsiteY13" fmla="*/ 37101 h 1148708"/>
              <a:gd name="connsiteX14" fmla="*/ 1468202 w 2071867"/>
              <a:gd name="connsiteY14" fmla="*/ 37206 h 114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1867" h="1148708">
                <a:moveTo>
                  <a:pt x="1891840" y="332"/>
                </a:moveTo>
                <a:cubicBezTo>
                  <a:pt x="1937409" y="-3671"/>
                  <a:pt x="1977919" y="28987"/>
                  <a:pt x="1983654" y="74241"/>
                </a:cubicBezTo>
                <a:cubicBezTo>
                  <a:pt x="2003582" y="230039"/>
                  <a:pt x="2032210" y="384622"/>
                  <a:pt x="2069429" y="537688"/>
                </a:cubicBezTo>
                <a:cubicBezTo>
                  <a:pt x="2080260" y="582055"/>
                  <a:pt x="2054026" y="627042"/>
                  <a:pt x="2010250" y="639679"/>
                </a:cubicBezTo>
                <a:lnTo>
                  <a:pt x="1601500" y="757840"/>
                </a:lnTo>
                <a:lnTo>
                  <a:pt x="1600622" y="758034"/>
                </a:lnTo>
                <a:cubicBezTo>
                  <a:pt x="1600622" y="758034"/>
                  <a:pt x="1411053" y="812900"/>
                  <a:pt x="1411053" y="812900"/>
                </a:cubicBezTo>
                <a:lnTo>
                  <a:pt x="1410771" y="812870"/>
                </a:lnTo>
                <a:lnTo>
                  <a:pt x="261014" y="1145335"/>
                </a:lnTo>
                <a:cubicBezTo>
                  <a:pt x="214729" y="1158705"/>
                  <a:pt x="166680" y="1131108"/>
                  <a:pt x="154677" y="1084325"/>
                </a:cubicBezTo>
                <a:cubicBezTo>
                  <a:pt x="84912" y="812030"/>
                  <a:pt x="33386" y="534813"/>
                  <a:pt x="589" y="253445"/>
                </a:cubicBezTo>
                <a:cubicBezTo>
                  <a:pt x="-5002" y="205488"/>
                  <a:pt x="29896" y="162285"/>
                  <a:pt x="77911" y="158114"/>
                </a:cubicBezTo>
                <a:cubicBezTo>
                  <a:pt x="77911" y="158114"/>
                  <a:pt x="1270371" y="54419"/>
                  <a:pt x="1270371" y="54419"/>
                </a:cubicBezTo>
                <a:cubicBezTo>
                  <a:pt x="1270371" y="54419"/>
                  <a:pt x="1467215" y="37101"/>
                  <a:pt x="1467215" y="37101"/>
                </a:cubicBezTo>
                <a:lnTo>
                  <a:pt x="1468202" y="37206"/>
                </a:ln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7" name="Picture Placeholder 87">
            <a:extLst>
              <a:ext uri="{FF2B5EF4-FFF2-40B4-BE49-F238E27FC236}">
                <a16:creationId xmlns:a16="http://schemas.microsoft.com/office/drawing/2014/main" id="{949DA1B6-8D28-10A3-0B1B-449EF21CC77D}"/>
              </a:ext>
            </a:extLst>
          </p:cNvPr>
          <p:cNvSpPr>
            <a:spLocks noGrp="1"/>
          </p:cNvSpPr>
          <p:nvPr>
            <p:ph type="pic" sz="quarter" idx="14" hasCustomPrompt="1"/>
          </p:nvPr>
        </p:nvSpPr>
        <p:spPr>
          <a:xfrm>
            <a:off x="8715934" y="4554782"/>
            <a:ext cx="1488282" cy="1306648"/>
          </a:xfrm>
          <a:custGeom>
            <a:avLst/>
            <a:gdLst>
              <a:gd name="connsiteX0" fmla="*/ 1164462 w 1488282"/>
              <a:gd name="connsiteY0" fmla="*/ 507 h 1306648"/>
              <a:gd name="connsiteX1" fmla="*/ 1236019 w 1488282"/>
              <a:gd name="connsiteY1" fmla="*/ 58412 h 1306648"/>
              <a:gd name="connsiteX2" fmla="*/ 1479883 w 1488282"/>
              <a:gd name="connsiteY2" fmla="*/ 665376 h 1306648"/>
              <a:gd name="connsiteX3" fmla="*/ 1442753 w 1488282"/>
              <a:gd name="connsiteY3" fmla="*/ 777591 h 1306648"/>
              <a:gd name="connsiteX4" fmla="*/ 458180 w 1488282"/>
              <a:gd name="connsiteY4" fmla="*/ 1296824 h 1306648"/>
              <a:gd name="connsiteX5" fmla="*/ 341708 w 1488282"/>
              <a:gd name="connsiteY5" fmla="*/ 1258484 h 1306648"/>
              <a:gd name="connsiteX6" fmla="*/ 4171 w 1488282"/>
              <a:gd name="connsiteY6" fmla="*/ 421170 h 1306648"/>
              <a:gd name="connsiteX7" fmla="*/ 61628 w 1488282"/>
              <a:gd name="connsiteY7" fmla="*/ 312555 h 1306648"/>
              <a:gd name="connsiteX8" fmla="*/ 1131636 w 1488282"/>
              <a:gd name="connsiteY8" fmla="*/ 3193 h 1306648"/>
              <a:gd name="connsiteX9" fmla="*/ 1131622 w 1488282"/>
              <a:gd name="connsiteY9" fmla="*/ 3335 h 1306648"/>
              <a:gd name="connsiteX10" fmla="*/ 1164462 w 1488282"/>
              <a:gd name="connsiteY10" fmla="*/ 507 h 130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8282" h="1306648">
                <a:moveTo>
                  <a:pt x="1164462" y="507"/>
                </a:moveTo>
                <a:cubicBezTo>
                  <a:pt x="1196668" y="4041"/>
                  <a:pt x="1225357" y="25832"/>
                  <a:pt x="1236019" y="58412"/>
                </a:cubicBezTo>
                <a:cubicBezTo>
                  <a:pt x="1304332" y="266741"/>
                  <a:pt x="1385690" y="469307"/>
                  <a:pt x="1479883" y="665376"/>
                </a:cubicBezTo>
                <a:cubicBezTo>
                  <a:pt x="1499754" y="706701"/>
                  <a:pt x="1483171" y="756296"/>
                  <a:pt x="1442753" y="777591"/>
                </a:cubicBezTo>
                <a:lnTo>
                  <a:pt x="458180" y="1296824"/>
                </a:lnTo>
                <a:cubicBezTo>
                  <a:pt x="415495" y="1319307"/>
                  <a:pt x="362936" y="1301817"/>
                  <a:pt x="341708" y="1258484"/>
                </a:cubicBezTo>
                <a:cubicBezTo>
                  <a:pt x="208648" y="986295"/>
                  <a:pt x="96092" y="706708"/>
                  <a:pt x="4171" y="421170"/>
                </a:cubicBezTo>
                <a:cubicBezTo>
                  <a:pt x="-10621" y="375090"/>
                  <a:pt x="15203" y="325910"/>
                  <a:pt x="61628" y="312555"/>
                </a:cubicBezTo>
                <a:lnTo>
                  <a:pt x="1131636" y="3193"/>
                </a:lnTo>
                <a:lnTo>
                  <a:pt x="1131622" y="3335"/>
                </a:lnTo>
                <a:cubicBezTo>
                  <a:pt x="1142601" y="180"/>
                  <a:pt x="1153727" y="-671"/>
                  <a:pt x="1164462" y="507"/>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9" name="Picture Placeholder 138">
            <a:extLst>
              <a:ext uri="{FF2B5EF4-FFF2-40B4-BE49-F238E27FC236}">
                <a16:creationId xmlns:a16="http://schemas.microsoft.com/office/drawing/2014/main" id="{ACF50393-B5C2-A5AF-82E3-C75699034D2B}"/>
              </a:ext>
            </a:extLst>
          </p:cNvPr>
          <p:cNvSpPr>
            <a:spLocks noGrp="1"/>
          </p:cNvSpPr>
          <p:nvPr>
            <p:ph type="pic" sz="quarter" idx="16" hasCustomPrompt="1"/>
          </p:nvPr>
        </p:nvSpPr>
        <p:spPr>
          <a:xfrm>
            <a:off x="9221243" y="5498432"/>
            <a:ext cx="2151364" cy="1359568"/>
          </a:xfrm>
          <a:custGeom>
            <a:avLst/>
            <a:gdLst>
              <a:gd name="connsiteX0" fmla="*/ 1061785 w 2151364"/>
              <a:gd name="connsiteY0" fmla="*/ 384 h 1359568"/>
              <a:gd name="connsiteX1" fmla="*/ 1143567 w 2151364"/>
              <a:gd name="connsiteY1" fmla="*/ 42683 h 1359568"/>
              <a:gd name="connsiteX2" fmla="*/ 1296014 w 2151364"/>
              <a:gd name="connsiteY2" fmla="*/ 291189 h 1359568"/>
              <a:gd name="connsiteX3" fmla="*/ 1302627 w 2151364"/>
              <a:gd name="connsiteY3" fmla="*/ 301481 h 1359568"/>
              <a:gd name="connsiteX4" fmla="*/ 1309650 w 2151364"/>
              <a:gd name="connsiteY4" fmla="*/ 311963 h 1359568"/>
              <a:gd name="connsiteX5" fmla="*/ 1526479 w 2151364"/>
              <a:gd name="connsiteY5" fmla="*/ 615708 h 1359568"/>
              <a:gd name="connsiteX6" fmla="*/ 1651190 w 2151364"/>
              <a:gd name="connsiteY6" fmla="*/ 770823 h 1359568"/>
              <a:gd name="connsiteX7" fmla="*/ 1651175 w 2151364"/>
              <a:gd name="connsiteY7" fmla="*/ 770965 h 1359568"/>
              <a:gd name="connsiteX8" fmla="*/ 2123590 w 2151364"/>
              <a:gd name="connsiteY8" fmla="*/ 1261693 h 1359568"/>
              <a:gd name="connsiteX9" fmla="*/ 2151364 w 2151364"/>
              <a:gd name="connsiteY9" fmla="*/ 1319120 h 1359568"/>
              <a:gd name="connsiteX10" fmla="*/ 2138142 w 2151364"/>
              <a:gd name="connsiteY10" fmla="*/ 1359568 h 1359568"/>
              <a:gd name="connsiteX11" fmla="*/ 482854 w 2151364"/>
              <a:gd name="connsiteY11" fmla="*/ 1359568 h 1359568"/>
              <a:gd name="connsiteX12" fmla="*/ 238568 w 2151364"/>
              <a:gd name="connsiteY12" fmla="*/ 1020551 h 1359568"/>
              <a:gd name="connsiteX13" fmla="*/ 230312 w 2151364"/>
              <a:gd name="connsiteY13" fmla="*/ 1008223 h 1359568"/>
              <a:gd name="connsiteX14" fmla="*/ 222104 w 2151364"/>
              <a:gd name="connsiteY14" fmla="*/ 995470 h 1359568"/>
              <a:gd name="connsiteX15" fmla="*/ 11180 w 2151364"/>
              <a:gd name="connsiteY15" fmla="*/ 647142 h 1359568"/>
              <a:gd name="connsiteX16" fmla="*/ 45494 w 2151364"/>
              <a:gd name="connsiteY16" fmla="*/ 529188 h 1359568"/>
              <a:gd name="connsiteX17" fmla="*/ 1030223 w 2151364"/>
              <a:gd name="connsiteY17" fmla="*/ 9827 h 1359568"/>
              <a:gd name="connsiteX18" fmla="*/ 1061785 w 2151364"/>
              <a:gd name="connsiteY18" fmla="*/ 384 h 135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1364" h="1359568">
                <a:moveTo>
                  <a:pt x="1061785" y="384"/>
                </a:moveTo>
                <a:cubicBezTo>
                  <a:pt x="1094014" y="-2691"/>
                  <a:pt x="1126504" y="12852"/>
                  <a:pt x="1143567" y="42683"/>
                </a:cubicBezTo>
                <a:cubicBezTo>
                  <a:pt x="1191862" y="126823"/>
                  <a:pt x="1242710" y="209804"/>
                  <a:pt x="1296014" y="291189"/>
                </a:cubicBezTo>
                <a:cubicBezTo>
                  <a:pt x="1298224" y="294574"/>
                  <a:pt x="1300417" y="298098"/>
                  <a:pt x="1302627" y="301481"/>
                </a:cubicBezTo>
                <a:cubicBezTo>
                  <a:pt x="1304963" y="305022"/>
                  <a:pt x="1307314" y="308422"/>
                  <a:pt x="1309650" y="311963"/>
                </a:cubicBezTo>
                <a:cubicBezTo>
                  <a:pt x="1378231" y="416154"/>
                  <a:pt x="1450564" y="517313"/>
                  <a:pt x="1526479" y="615708"/>
                </a:cubicBezTo>
                <a:cubicBezTo>
                  <a:pt x="1567148" y="668270"/>
                  <a:pt x="1608629" y="719918"/>
                  <a:pt x="1651190" y="770823"/>
                </a:cubicBezTo>
                <a:lnTo>
                  <a:pt x="1651175" y="770965"/>
                </a:lnTo>
                <a:cubicBezTo>
                  <a:pt x="1796887" y="944780"/>
                  <a:pt x="1954526" y="1108564"/>
                  <a:pt x="2123590" y="1261693"/>
                </a:cubicBezTo>
                <a:cubicBezTo>
                  <a:pt x="2140586" y="1277101"/>
                  <a:pt x="2149941" y="1297846"/>
                  <a:pt x="2151364" y="1319120"/>
                </a:cubicBezTo>
                <a:lnTo>
                  <a:pt x="2138142" y="1359568"/>
                </a:lnTo>
                <a:lnTo>
                  <a:pt x="482854" y="1359568"/>
                </a:lnTo>
                <a:lnTo>
                  <a:pt x="238568" y="1020551"/>
                </a:lnTo>
                <a:cubicBezTo>
                  <a:pt x="235868" y="1016400"/>
                  <a:pt x="233011" y="1012375"/>
                  <a:pt x="230312" y="1008223"/>
                </a:cubicBezTo>
                <a:cubicBezTo>
                  <a:pt x="227472" y="1004055"/>
                  <a:pt x="224929" y="999779"/>
                  <a:pt x="222104" y="995470"/>
                </a:cubicBezTo>
                <a:cubicBezTo>
                  <a:pt x="148231" y="881985"/>
                  <a:pt x="77922" y="765874"/>
                  <a:pt x="11180" y="647142"/>
                </a:cubicBezTo>
                <a:cubicBezTo>
                  <a:pt x="-12598" y="604967"/>
                  <a:pt x="2809" y="551670"/>
                  <a:pt x="45494" y="529188"/>
                </a:cubicBezTo>
                <a:lnTo>
                  <a:pt x="1030223" y="9827"/>
                </a:lnTo>
                <a:cubicBezTo>
                  <a:pt x="1040327" y="4504"/>
                  <a:pt x="1051041" y="1410"/>
                  <a:pt x="1061785" y="384"/>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Tree>
    <p:extLst>
      <p:ext uri="{BB962C8B-B14F-4D97-AF65-F5344CB8AC3E}">
        <p14:creationId xmlns:p14="http://schemas.microsoft.com/office/powerpoint/2010/main" val="833744293"/>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23154265"/>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554220"/>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and content - Green">
    <p:bg>
      <p:bgPr>
        <a:solidFill>
          <a:srgbClr val="F4F4F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43657E-8C5F-D3F5-B4CE-026D5633DA81}"/>
              </a:ext>
            </a:extLst>
          </p:cNvPr>
          <p:cNvPicPr>
            <a:picLocks noChangeAspect="1"/>
          </p:cNvPicPr>
          <p:nvPr userDrawn="1"/>
        </p:nvPicPr>
        <p:blipFill rotWithShape="1">
          <a:blip r:embed="rId2"/>
          <a:srcRect l="-31379" t="-19729" r="21544" b="937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F357639-49EE-CCDC-B31B-382104AEFED8}"/>
              </a:ext>
            </a:extLst>
          </p:cNvPr>
          <p:cNvSpPr/>
          <p:nvPr userDrawn="1"/>
        </p:nvSpPr>
        <p:spPr bwMode="auto">
          <a:xfrm rot="10800000">
            <a:off x="0" y="0"/>
            <a:ext cx="12192000" cy="6857999"/>
          </a:xfrm>
          <a:prstGeom prst="rect">
            <a:avLst/>
          </a:prstGeom>
          <a:gradFill>
            <a:gsLst>
              <a:gs pos="89000">
                <a:srgbClr val="F4F4F7"/>
              </a:gs>
              <a:gs pos="53000">
                <a:srgbClr val="F4F4F7">
                  <a:alpha val="92243"/>
                </a:srgbClr>
              </a:gs>
              <a:gs pos="0">
                <a:srgbClr val="F4F4F7">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7C30D14C-DF48-DDBB-79B9-AE624A7C0FEF}"/>
              </a:ext>
            </a:extLst>
          </p:cNvPr>
          <p:cNvSpPr txBox="1">
            <a:spLocks/>
          </p:cNvSpPr>
          <p:nvPr userDrawn="1"/>
        </p:nvSpPr>
        <p:spPr>
          <a:xfrm>
            <a:off x="584200" y="557599"/>
            <a:ext cx="3296759" cy="307777"/>
          </a:xfrm>
          <a:prstGeom prst="rect">
            <a:avLst/>
          </a:prstGeom>
          <a:noFill/>
        </p:spPr>
        <p:txBody>
          <a:bodyPr vert="horz" wrap="square" lIns="0" tIns="0" rIns="0" bIns="0" rtlCol="0" anchor="b" anchorCtr="0">
            <a:spAutoFit/>
          </a:bodyPr>
          <a:lstStyle>
            <a:lvl1pPr algn="l" defTabSz="393567" rtl="0" eaLnBrk="1" latinLnBrk="0" hangingPunct="1">
              <a:lnSpc>
                <a:spcPct val="100000"/>
              </a:lnSpc>
              <a:spcBef>
                <a:spcPct val="0"/>
              </a:spcBef>
              <a:buNone/>
              <a:defRPr lang="en-US" sz="3200" b="0" kern="1200" cap="none" spc="-22" baseline="0">
                <a:ln w="3175">
                  <a:noFill/>
                </a:ln>
                <a:solidFill>
                  <a:schemeClr val="tx1"/>
                </a:solidFill>
                <a:effectLst/>
                <a:latin typeface="+mj-lt"/>
                <a:ea typeface="+mn-ea"/>
                <a:cs typeface="Segoe UI" panose="020B0502040204020203" pitchFamily="34" charset="0"/>
              </a:defRPr>
            </a:lvl1pPr>
          </a:lstStyle>
          <a:p>
            <a:r>
              <a:rPr lang="en-CA" sz="2000">
                <a:solidFill>
                  <a:schemeClr val="tx1">
                    <a:lumMod val="65000"/>
                    <a:lumOff val="35000"/>
                  </a:schemeClr>
                </a:solidFill>
              </a:rPr>
              <a:t>Microsoft at Sibos</a:t>
            </a:r>
          </a:p>
        </p:txBody>
      </p:sp>
      <p:sp>
        <p:nvSpPr>
          <p:cNvPr id="14" name="Title 2">
            <a:extLst>
              <a:ext uri="{FF2B5EF4-FFF2-40B4-BE49-F238E27FC236}">
                <a16:creationId xmlns:a16="http://schemas.microsoft.com/office/drawing/2014/main" id="{A3F74262-8825-3C78-635A-FFBFE22C6EB5}"/>
              </a:ext>
            </a:extLst>
          </p:cNvPr>
          <p:cNvSpPr>
            <a:spLocks noGrp="1"/>
          </p:cNvSpPr>
          <p:nvPr>
            <p:ph type="title"/>
          </p:nvPr>
        </p:nvSpPr>
        <p:spPr>
          <a:xfrm>
            <a:off x="588263" y="1048214"/>
            <a:ext cx="11018520" cy="553998"/>
          </a:xfrm>
        </p:spPr>
        <p:txBody>
          <a:bodyPr>
            <a:spAutoFit/>
          </a:bodyPr>
          <a:lstStyle/>
          <a:p>
            <a:r>
              <a:rPr lang="en-US"/>
              <a:t>Click to edit Master title style</a:t>
            </a:r>
          </a:p>
        </p:txBody>
      </p:sp>
      <p:sp>
        <p:nvSpPr>
          <p:cNvPr id="16" name="Text Placeholder 7">
            <a:extLst>
              <a:ext uri="{FF2B5EF4-FFF2-40B4-BE49-F238E27FC236}">
                <a16:creationId xmlns:a16="http://schemas.microsoft.com/office/drawing/2014/main" id="{F97977F6-4587-CA41-6499-99A5C709A2A2}"/>
              </a:ext>
            </a:extLst>
          </p:cNvPr>
          <p:cNvSpPr>
            <a:spLocks noGrp="1"/>
          </p:cNvSpPr>
          <p:nvPr>
            <p:ph type="body" sz="quarter" idx="14"/>
          </p:nvPr>
        </p:nvSpPr>
        <p:spPr>
          <a:xfrm>
            <a:off x="585217" y="1913590"/>
            <a:ext cx="11018520" cy="1243417"/>
          </a:xfrm>
        </p:spPr>
        <p:txBody>
          <a:bodyPr vert="horz" wrap="square" lIns="0" tIns="0" rIns="0" bIns="0" rtlCol="0">
            <a:spAutoFit/>
          </a:bodyPr>
          <a:lstStyle>
            <a:lvl1pPr>
              <a:defRPr lang="en-US" sz="1600"/>
            </a:lvl1pPr>
            <a:lvl2pPr>
              <a:defRPr lang="en-US" sz="1400"/>
            </a:lvl2pPr>
            <a:lvl3pPr>
              <a:defRPr lang="en-US" sz="1400"/>
            </a:lvl3pPr>
            <a:lvl4pPr>
              <a:defRPr lang="en-US" sz="1200"/>
            </a:lvl4pPr>
            <a:lvl5pPr>
              <a:defRPr lang="en-US" sz="12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4697790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 square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2"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pic>
        <p:nvPicPr>
          <p:cNvPr id="4" name="MS logo gray - EMF" descr="Microsoft logo, gray text version">
            <a:extLst>
              <a:ext uri="{FF2B5EF4-FFF2-40B4-BE49-F238E27FC236}">
                <a16:creationId xmlns:a16="http://schemas.microsoft.com/office/drawing/2014/main" id="{2A68DA0C-4BC1-B932-6E68-32FC55AB43A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18132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851451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9404614"/>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1"/>
      </p:bgRef>
    </p:bg>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898962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kumimoji="0" lang="en-US" sz="4000" b="0" i="0" u="none" strike="noStrike" kern="1200" cap="none" spc="0" normalizeH="0" baseline="0" dirty="0">
                <a:ln w="3175">
                  <a:noFill/>
                </a:ln>
                <a:gradFill flip="none" rotWithShape="1">
                  <a:gsLst>
                    <a:gs pos="50475">
                      <a:srgbClr val="0078D4"/>
                    </a:gs>
                    <a:gs pos="12000">
                      <a:srgbClr val="C03BC4"/>
                    </a:gs>
                    <a:gs pos="87000">
                      <a:srgbClr val="0078D4"/>
                    </a:gs>
                  </a:gsLst>
                  <a:lin ang="10800000" scaled="1"/>
                  <a:tileRect/>
                </a:gradFill>
                <a:effectLst/>
                <a:uLnTx/>
                <a:uFillTx/>
                <a:latin typeface="+mj-lt"/>
                <a:ea typeface="+mj-lt"/>
                <a:cs typeface="Segoe UI Semibold"/>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3" name="MS logo gray - EMF" descr="Microsoft logo, gray text version">
            <a:extLst>
              <a:ext uri="{FF2B5EF4-FFF2-40B4-BE49-F238E27FC236}">
                <a16:creationId xmlns:a16="http://schemas.microsoft.com/office/drawing/2014/main" id="{8F159AA3-9F9A-3933-A98D-6705DAE2EC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02724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961556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670704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1983341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497763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1539743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4710003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1570531"/>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804736"/>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print">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84932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559088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796609"/>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553998"/>
          </a:xfrm>
        </p:spPr>
        <p:txBody>
          <a:bodyPr/>
          <a:lstStyle>
            <a:lvl1pPr algn="ctr">
              <a:defRPr kumimoji="0" lang="en-US" sz="3600" b="0" i="0" u="none" strike="noStrike" kern="1200" cap="none" spc="0" normalizeH="0" baseline="0" dirty="0">
                <a:ln w="3175">
                  <a:noFill/>
                </a:ln>
                <a:solidFill>
                  <a:schemeClr val="tx1"/>
                </a:solidFill>
                <a:effectLst/>
                <a:uLnTx/>
                <a:uFillTx/>
                <a:latin typeface="+mj-lt"/>
                <a:ea typeface="+mj-lt"/>
                <a:cs typeface="Segoe UI Semibold"/>
              </a:defRPr>
            </a:lvl1pPr>
          </a:lstStyle>
          <a:p>
            <a:r>
              <a:rPr lang="en-US"/>
              <a:t>Click to edit Master title style</a:t>
            </a:r>
          </a:p>
        </p:txBody>
      </p:sp>
    </p:spTree>
    <p:extLst>
      <p:ext uri="{BB962C8B-B14F-4D97-AF65-F5344CB8AC3E}">
        <p14:creationId xmlns:p14="http://schemas.microsoft.com/office/powerpoint/2010/main" val="287069315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87116046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1579993-9DFE-9E51-5F87-FFE178529A6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think-cell data - do not delete" hidden="1">
                        <a:extLst>
                          <a:ext uri="{FF2B5EF4-FFF2-40B4-BE49-F238E27FC236}">
                            <a16:creationId xmlns:a16="http://schemas.microsoft.com/office/drawing/2014/main" id="{61579993-9DFE-9E51-5F87-FFE178529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vert="horz"/>
          <a:lstStyle>
            <a:lvl1pPr>
              <a:defRPr>
                <a:solidFill>
                  <a:schemeClr val="accent6">
                    <a:lumMod val="10000"/>
                  </a:schemeClr>
                </a:solidFill>
              </a:defRPr>
            </a:lvl1pPr>
          </a:lstStyle>
          <a:p>
            <a:r>
              <a:rPr lang="en-US"/>
              <a:t>Click to edit Master title style</a:t>
            </a:r>
          </a:p>
        </p:txBody>
      </p:sp>
    </p:spTree>
    <p:extLst>
      <p:ext uri="{BB962C8B-B14F-4D97-AF65-F5344CB8AC3E}">
        <p14:creationId xmlns:p14="http://schemas.microsoft.com/office/powerpoint/2010/main" val="138856494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92">
          <p15:clr>
            <a:srgbClr val="A4A3A4"/>
          </p15:clr>
        </p15:guide>
        <p15:guide id="11" pos="2150">
          <p15:clr>
            <a:srgbClr val="A4A3A4"/>
          </p15:clr>
        </p15:guide>
        <p15:guide id="12" pos="2568">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44">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lvl1pPr>
              <a:defRPr>
                <a:solidFill>
                  <a:schemeClr val="accent6">
                    <a:lumMod val="10000"/>
                  </a:schemeClr>
                </a:solidFill>
              </a:defRPr>
            </a:lvl1pPr>
          </a:lstStyle>
          <a:p>
            <a:r>
              <a:rPr lang="en-US"/>
              <a:t>Click to edit Master title style</a:t>
            </a:r>
          </a:p>
        </p:txBody>
      </p:sp>
    </p:spTree>
    <p:extLst>
      <p:ext uri="{BB962C8B-B14F-4D97-AF65-F5344CB8AC3E}">
        <p14:creationId xmlns:p14="http://schemas.microsoft.com/office/powerpoint/2010/main" val="112307100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Small title - half page">
    <p:bg>
      <p:bgPr>
        <a:solidFill>
          <a:srgbClr val="F7F7F8"/>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solidFill>
                  <a:schemeClr val="accent6">
                    <a:lumMod val="10000"/>
                  </a:schemeClr>
                </a:solidFill>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15725076"/>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F0585F5-8D27-3E48-4C18-0164BE1821F6}"/>
              </a:ext>
            </a:extLst>
          </p:cNvPr>
          <p:cNvSpPr>
            <a:spLocks noGrp="1"/>
          </p:cNvSpPr>
          <p:nvPr>
            <p:ph type="pic" sz="quarter" idx="10"/>
          </p:nvPr>
        </p:nvSpPr>
        <p:spPr>
          <a:xfrm>
            <a:off x="7645400" y="492690"/>
            <a:ext cx="4546600" cy="5863838"/>
          </a:xfrm>
          <a:custGeom>
            <a:avLst/>
            <a:gdLst>
              <a:gd name="connsiteX0" fmla="*/ 128441 w 4546600"/>
              <a:gd name="connsiteY0" fmla="*/ 0 h 5863838"/>
              <a:gd name="connsiteX1" fmla="*/ 4546600 w 4546600"/>
              <a:gd name="connsiteY1" fmla="*/ 0 h 5863838"/>
              <a:gd name="connsiteX2" fmla="*/ 4546600 w 4546600"/>
              <a:gd name="connsiteY2" fmla="*/ 5863838 h 5863838"/>
              <a:gd name="connsiteX3" fmla="*/ 128441 w 4546600"/>
              <a:gd name="connsiteY3" fmla="*/ 5863838 h 5863838"/>
              <a:gd name="connsiteX4" fmla="*/ 0 w 4546600"/>
              <a:gd name="connsiteY4" fmla="*/ 5735397 h 5863838"/>
              <a:gd name="connsiteX5" fmla="*/ 0 w 4546600"/>
              <a:gd name="connsiteY5" fmla="*/ 128441 h 5863838"/>
              <a:gd name="connsiteX6" fmla="*/ 128441 w 4546600"/>
              <a:gd name="connsiteY6" fmla="*/ 0 h 586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6600" h="5863838">
                <a:moveTo>
                  <a:pt x="128441" y="0"/>
                </a:moveTo>
                <a:lnTo>
                  <a:pt x="4546600" y="0"/>
                </a:lnTo>
                <a:lnTo>
                  <a:pt x="4546600" y="5863838"/>
                </a:lnTo>
                <a:lnTo>
                  <a:pt x="128441" y="5863838"/>
                </a:lnTo>
                <a:cubicBezTo>
                  <a:pt x="57505" y="5863838"/>
                  <a:pt x="0" y="5806333"/>
                  <a:pt x="0" y="5735397"/>
                </a:cubicBezTo>
                <a:lnTo>
                  <a:pt x="0" y="128441"/>
                </a:lnTo>
                <a:cubicBezTo>
                  <a:pt x="0" y="57505"/>
                  <a:pt x="57505" y="0"/>
                  <a:pt x="128441" y="0"/>
                </a:cubicBezTo>
                <a:close/>
              </a:path>
            </a:pathLst>
          </a:custGeom>
        </p:spPr>
        <p:txBody>
          <a:bodyPr wrap="square">
            <a:noAutofit/>
          </a:bodyPr>
          <a:lstStyle/>
          <a:p>
            <a:endParaRPr lang="en-US"/>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3916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4104218"/>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8186142"/>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8086912"/>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809672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4201010"/>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nd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4153829"/>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84992557"/>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1163657"/>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nd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8089315"/>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5091307"/>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64182025"/>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1860914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1151128"/>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258119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28454438"/>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nd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62810597"/>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3625077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690420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nd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920385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295978"/>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2498002"/>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734694011"/>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56181986"/>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73562027"/>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65786560"/>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25949287"/>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07345711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82639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83943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69077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DBCB178-E5CC-FFE7-4671-EB240CF39AA9}"/>
              </a:ext>
            </a:extLst>
          </p:cNvPr>
          <p:cNvSpPr>
            <a:spLocks noGrp="1"/>
          </p:cNvSpPr>
          <p:nvPr>
            <p:ph type="pic" sz="quarter" idx="10"/>
          </p:nvPr>
        </p:nvSpPr>
        <p:spPr>
          <a:xfrm>
            <a:off x="0" y="1123950"/>
            <a:ext cx="11606784" cy="4610100"/>
          </a:xfrm>
          <a:custGeom>
            <a:avLst/>
            <a:gdLst>
              <a:gd name="connsiteX0" fmla="*/ 0 w 11606784"/>
              <a:gd name="connsiteY0" fmla="*/ 0 h 4610100"/>
              <a:gd name="connsiteX1" fmla="*/ 11378354 w 11606784"/>
              <a:gd name="connsiteY1" fmla="*/ 0 h 4610100"/>
              <a:gd name="connsiteX2" fmla="*/ 11606784 w 11606784"/>
              <a:gd name="connsiteY2" fmla="*/ 228430 h 4610100"/>
              <a:gd name="connsiteX3" fmla="*/ 11606784 w 11606784"/>
              <a:gd name="connsiteY3" fmla="*/ 4381670 h 4610100"/>
              <a:gd name="connsiteX4" fmla="*/ 11378354 w 11606784"/>
              <a:gd name="connsiteY4" fmla="*/ 4610100 h 4610100"/>
              <a:gd name="connsiteX5" fmla="*/ 0 w 11606784"/>
              <a:gd name="connsiteY5" fmla="*/ 4610100 h 461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784" h="4610100">
                <a:moveTo>
                  <a:pt x="0" y="0"/>
                </a:moveTo>
                <a:lnTo>
                  <a:pt x="11378354" y="0"/>
                </a:lnTo>
                <a:cubicBezTo>
                  <a:pt x="11504512" y="0"/>
                  <a:pt x="11606784" y="102272"/>
                  <a:pt x="11606784" y="228430"/>
                </a:cubicBezTo>
                <a:lnTo>
                  <a:pt x="11606784" y="4381670"/>
                </a:lnTo>
                <a:cubicBezTo>
                  <a:pt x="11606784" y="4507828"/>
                  <a:pt x="11504512" y="4610100"/>
                  <a:pt x="11378354" y="4610100"/>
                </a:cubicBezTo>
                <a:lnTo>
                  <a:pt x="0" y="4610100"/>
                </a:lnTo>
                <a:close/>
              </a:path>
            </a:pathLst>
          </a:custGeom>
        </p:spPr>
        <p:txBody>
          <a:bodyPr wrap="square">
            <a:noAutofit/>
          </a:bodyPr>
          <a:lstStyle/>
          <a:p>
            <a:endParaRPr lang="en-US"/>
          </a:p>
        </p:txBody>
      </p:sp>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9" name="TextBox 8">
            <a:extLst>
              <a:ext uri="{FF2B5EF4-FFF2-40B4-BE49-F238E27FC236}">
                <a16:creationId xmlns:a16="http://schemas.microsoft.com/office/drawing/2014/main" id="{C22CE592-78FF-91E3-5A84-C1C4864D1BD1}"/>
              </a:ext>
            </a:extLst>
          </p:cNvPr>
          <p:cNvSpPr txBox="1"/>
          <p:nvPr userDrawn="1"/>
        </p:nvSpPr>
        <p:spPr>
          <a:xfrm>
            <a:off x="1815548" y="145774"/>
            <a:ext cx="3273287" cy="307777"/>
          </a:xfrm>
          <a:prstGeom prst="rect">
            <a:avLst/>
          </a:prstGeom>
          <a:noFill/>
        </p:spPr>
        <p:txBody>
          <a:bodyPr wrap="square" lIns="0" tIns="0" rIns="0" bIns="0" rtlCol="0">
            <a:spAutoFit/>
          </a:bodyPr>
          <a:lstStyle/>
          <a:p>
            <a:pPr algn="l"/>
            <a:r>
              <a:rPr lang="en-US" sz="2000"/>
              <a:t>Photo grab</a:t>
            </a:r>
          </a:p>
        </p:txBody>
      </p:sp>
    </p:spTree>
    <p:extLst>
      <p:ext uri="{BB962C8B-B14F-4D97-AF65-F5344CB8AC3E}">
        <p14:creationId xmlns:p14="http://schemas.microsoft.com/office/powerpoint/2010/main" val="26834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0656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448665"/>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4688668-0419-8C87-DEF7-C0009D6BF681}"/>
              </a:ext>
            </a:extLst>
          </p:cNvPr>
          <p:cNvSpPr>
            <a:spLocks noGrp="1"/>
          </p:cNvSpPr>
          <p:nvPr>
            <p:ph type="pic" sz="quarter" idx="10"/>
          </p:nvPr>
        </p:nvSpPr>
        <p:spPr>
          <a:xfrm>
            <a:off x="584200" y="1123951"/>
            <a:ext cx="11022585" cy="4610101"/>
          </a:xfrm>
          <a:custGeom>
            <a:avLst/>
            <a:gdLst>
              <a:gd name="connsiteX0" fmla="*/ 115254 w 11022585"/>
              <a:gd name="connsiteY0" fmla="*/ 0 h 4610101"/>
              <a:gd name="connsiteX1" fmla="*/ 10907332 w 11022585"/>
              <a:gd name="connsiteY1" fmla="*/ 0 h 4610101"/>
              <a:gd name="connsiteX2" fmla="*/ 11022585 w 11022585"/>
              <a:gd name="connsiteY2" fmla="*/ 115253 h 4610101"/>
              <a:gd name="connsiteX3" fmla="*/ 11022585 w 11022585"/>
              <a:gd name="connsiteY3" fmla="*/ 4494848 h 4610101"/>
              <a:gd name="connsiteX4" fmla="*/ 10907332 w 11022585"/>
              <a:gd name="connsiteY4" fmla="*/ 4610101 h 4610101"/>
              <a:gd name="connsiteX5" fmla="*/ 115253 w 11022585"/>
              <a:gd name="connsiteY5" fmla="*/ 4610100 h 4610101"/>
              <a:gd name="connsiteX6" fmla="*/ 0 w 11022585"/>
              <a:gd name="connsiteY6" fmla="*/ 4494847 h 4610101"/>
              <a:gd name="connsiteX7" fmla="*/ 1 w 11022585"/>
              <a:gd name="connsiteY7" fmla="*/ 115253 h 4610101"/>
              <a:gd name="connsiteX8" fmla="*/ 115254 w 11022585"/>
              <a:gd name="connsiteY8" fmla="*/ 0 h 461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22585" h="4610101">
                <a:moveTo>
                  <a:pt x="115254" y="0"/>
                </a:moveTo>
                <a:lnTo>
                  <a:pt x="10907332" y="0"/>
                </a:lnTo>
                <a:cubicBezTo>
                  <a:pt x="10970984" y="0"/>
                  <a:pt x="11022585" y="51601"/>
                  <a:pt x="11022585" y="115253"/>
                </a:cubicBezTo>
                <a:lnTo>
                  <a:pt x="11022585" y="4494848"/>
                </a:lnTo>
                <a:cubicBezTo>
                  <a:pt x="11022585" y="4558500"/>
                  <a:pt x="10970984" y="4610101"/>
                  <a:pt x="10907332" y="4610101"/>
                </a:cubicBezTo>
                <a:cubicBezTo>
                  <a:pt x="7309972" y="4610101"/>
                  <a:pt x="3712613" y="4610100"/>
                  <a:pt x="115253" y="4610100"/>
                </a:cubicBezTo>
                <a:cubicBezTo>
                  <a:pt x="51601" y="4610100"/>
                  <a:pt x="0" y="4558499"/>
                  <a:pt x="0" y="4494847"/>
                </a:cubicBezTo>
                <a:lnTo>
                  <a:pt x="1" y="115253"/>
                </a:lnTo>
                <a:cubicBezTo>
                  <a:pt x="1" y="51601"/>
                  <a:pt x="51602" y="0"/>
                  <a:pt x="115254" y="0"/>
                </a:cubicBezTo>
                <a:close/>
              </a:path>
            </a:pathLst>
          </a:custGeom>
        </p:spPr>
        <p:txBody>
          <a:bodyPr wrap="square">
            <a:noAutofit/>
          </a:bodyPr>
          <a:lstStyle/>
          <a:p>
            <a:endParaRPr lang="en-US"/>
          </a:p>
        </p:txBody>
      </p:sp>
      <p:sp>
        <p:nvSpPr>
          <p:cNvPr id="7" name="TextBox 6">
            <a:extLst>
              <a:ext uri="{FF2B5EF4-FFF2-40B4-BE49-F238E27FC236}">
                <a16:creationId xmlns:a16="http://schemas.microsoft.com/office/drawing/2014/main" id="{A45AB3D2-F4EA-0C5F-6C46-7483CD851977}"/>
              </a:ext>
            </a:extLst>
          </p:cNvPr>
          <p:cNvSpPr txBox="1"/>
          <p:nvPr userDrawn="1"/>
        </p:nvSpPr>
        <p:spPr>
          <a:xfrm>
            <a:off x="3576577" y="173620"/>
            <a:ext cx="2422138" cy="307777"/>
          </a:xfrm>
          <a:prstGeom prst="rect">
            <a:avLst/>
          </a:prstGeom>
          <a:noFill/>
        </p:spPr>
        <p:txBody>
          <a:bodyPr wrap="none" lIns="0" tIns="0" rIns="0" bIns="0" rtlCol="0">
            <a:spAutoFit/>
          </a:bodyPr>
          <a:lstStyle/>
          <a:p>
            <a:pPr algn="l"/>
            <a:r>
              <a:rPr lang="en-US" sz="2000"/>
              <a:t>Picture background 2</a:t>
            </a:r>
          </a:p>
        </p:txBody>
      </p:sp>
    </p:spTree>
    <p:extLst>
      <p:ext uri="{BB962C8B-B14F-4D97-AF65-F5344CB8AC3E}">
        <p14:creationId xmlns:p14="http://schemas.microsoft.com/office/powerpoint/2010/main" val="2765409042"/>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934611189"/>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2756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MS logo gray - EMF" descr="Microsoft logo, gray text version">
            <a:extLst>
              <a:ext uri="{FF2B5EF4-FFF2-40B4-BE49-F238E27FC236}">
                <a16:creationId xmlns:a16="http://schemas.microsoft.com/office/drawing/2014/main" id="{B34B8478-5EBD-6055-97DB-6DF250A9D6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1428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6781102"/>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8319669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Customer Stories 1">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77BF71-C71E-B6F4-51F2-4D01EAD413B1}"/>
              </a:ext>
            </a:extLst>
          </p:cNvPr>
          <p:cNvSpPr>
            <a:spLocks noGrp="1"/>
          </p:cNvSpPr>
          <p:nvPr>
            <p:ph type="pic" sz="quarter" idx="17"/>
          </p:nvPr>
        </p:nvSpPr>
        <p:spPr>
          <a:xfrm>
            <a:off x="0" y="1"/>
            <a:ext cx="4062413" cy="6858000"/>
          </a:xfrm>
        </p:spPr>
        <p:txBody>
          <a:bodyPr anchor="ctr">
            <a:noAutofit/>
          </a:bodyPr>
          <a:lstStyle>
            <a:lvl1pPr marL="0" indent="0" algn="ctr">
              <a:buNone/>
              <a:defRPr/>
            </a:lvl1pPr>
          </a:lstStyle>
          <a:p>
            <a:r>
              <a:rPr lang="en-US"/>
              <a:t>Click icon to add picture</a:t>
            </a:r>
          </a:p>
        </p:txBody>
      </p:sp>
      <p:cxnSp>
        <p:nvCxnSpPr>
          <p:cNvPr id="12" name="Straight Connector 11">
            <a:extLst>
              <a:ext uri="{FF2B5EF4-FFF2-40B4-BE49-F238E27FC236}">
                <a16:creationId xmlns:a16="http://schemas.microsoft.com/office/drawing/2014/main" id="{46A1CBB3-9527-6DB1-5C30-A7FBDD640D37}"/>
              </a:ext>
            </a:extLst>
          </p:cNvPr>
          <p:cNvCxnSpPr>
            <a:cxnSpLocks/>
          </p:cNvCxnSpPr>
          <p:nvPr userDrawn="1"/>
        </p:nvCxnSpPr>
        <p:spPr>
          <a:xfrm>
            <a:off x="4614866" y="24337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13" name="Freeform: Shape 12">
            <a:extLst>
              <a:ext uri="{FF2B5EF4-FFF2-40B4-BE49-F238E27FC236}">
                <a16:creationId xmlns:a16="http://schemas.microsoft.com/office/drawing/2014/main" id="{EDEDF152-6EF9-9228-7F55-98F3A60AB72D}"/>
              </a:ext>
            </a:extLst>
          </p:cNvPr>
          <p:cNvSpPr/>
          <p:nvPr userDrawn="1"/>
        </p:nvSpPr>
        <p:spPr bwMode="auto">
          <a:xfrm>
            <a:off x="4653851" y="972649"/>
            <a:ext cx="391609" cy="339228"/>
          </a:xfrm>
          <a:custGeom>
            <a:avLst/>
            <a:gdLst/>
            <a:ahLst/>
            <a:cxnLst/>
            <a:rect l="l" t="t" r="r" b="b"/>
            <a:pathLst>
              <a:path w="1677972" h="1453530">
                <a:moveTo>
                  <a:pt x="1510531" y="0"/>
                </a:moveTo>
                <a:lnTo>
                  <a:pt x="1677972" y="317069"/>
                </a:lnTo>
                <a:cubicBezTo>
                  <a:pt x="1541407" y="381195"/>
                  <a:pt x="1446998" y="445025"/>
                  <a:pt x="1394747" y="508557"/>
                </a:cubicBezTo>
                <a:cubicBezTo>
                  <a:pt x="1342496" y="572090"/>
                  <a:pt x="1313402" y="647201"/>
                  <a:pt x="1307464" y="733890"/>
                </a:cubicBezTo>
                <a:lnTo>
                  <a:pt x="1677972" y="733890"/>
                </a:lnTo>
                <a:lnTo>
                  <a:pt x="1677972" y="1453530"/>
                </a:lnTo>
                <a:lnTo>
                  <a:pt x="903112" y="1453530"/>
                </a:lnTo>
                <a:lnTo>
                  <a:pt x="903112" y="856799"/>
                </a:lnTo>
                <a:cubicBezTo>
                  <a:pt x="903112" y="637106"/>
                  <a:pt x="948832" y="463728"/>
                  <a:pt x="1040271" y="336663"/>
                </a:cubicBezTo>
                <a:cubicBezTo>
                  <a:pt x="1131711" y="209598"/>
                  <a:pt x="1288464" y="97377"/>
                  <a:pt x="1510531" y="0"/>
                </a:cubicBezTo>
                <a:close/>
                <a:moveTo>
                  <a:pt x="607419" y="0"/>
                </a:moveTo>
                <a:lnTo>
                  <a:pt x="774860" y="317069"/>
                </a:lnTo>
                <a:cubicBezTo>
                  <a:pt x="638294" y="381195"/>
                  <a:pt x="543886" y="445025"/>
                  <a:pt x="491635" y="508557"/>
                </a:cubicBezTo>
                <a:cubicBezTo>
                  <a:pt x="439384" y="572090"/>
                  <a:pt x="410290" y="647201"/>
                  <a:pt x="404352" y="733890"/>
                </a:cubicBezTo>
                <a:lnTo>
                  <a:pt x="774860" y="733890"/>
                </a:lnTo>
                <a:lnTo>
                  <a:pt x="774860" y="1453530"/>
                </a:lnTo>
                <a:lnTo>
                  <a:pt x="0" y="1453530"/>
                </a:lnTo>
                <a:lnTo>
                  <a:pt x="0" y="856799"/>
                </a:lnTo>
                <a:cubicBezTo>
                  <a:pt x="0" y="637106"/>
                  <a:pt x="45720" y="463728"/>
                  <a:pt x="137159" y="336663"/>
                </a:cubicBezTo>
                <a:cubicBezTo>
                  <a:pt x="228598" y="209598"/>
                  <a:pt x="385352" y="97377"/>
                  <a:pt x="607419" y="0"/>
                </a:cubicBezTo>
                <a:close/>
              </a:path>
            </a:pathLst>
          </a:custGeom>
          <a:gradFill>
            <a:gsLst>
              <a:gs pos="5000">
                <a:schemeClr val="accent1"/>
              </a:gs>
              <a:gs pos="100000">
                <a:schemeClr val="accent6">
                  <a:lumMod val="50000"/>
                </a:schemeClr>
              </a:gs>
            </a:gsLst>
            <a:lin ang="3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6">
            <a:extLst>
              <a:ext uri="{FF2B5EF4-FFF2-40B4-BE49-F238E27FC236}">
                <a16:creationId xmlns:a16="http://schemas.microsoft.com/office/drawing/2014/main" id="{16EB7DDE-2EE7-5321-8A74-B230052EAD5E}"/>
              </a:ext>
            </a:extLst>
          </p:cNvPr>
          <p:cNvSpPr>
            <a:spLocks noGrp="1"/>
          </p:cNvSpPr>
          <p:nvPr>
            <p:ph type="body" sz="quarter" idx="10"/>
          </p:nvPr>
        </p:nvSpPr>
        <p:spPr>
          <a:xfrm>
            <a:off x="4614866" y="1492461"/>
            <a:ext cx="6988871" cy="504754"/>
          </a:xfrm>
        </p:spPr>
        <p:txBody>
          <a:bodyPr/>
          <a:lstStyle>
            <a:lvl1pPr marL="0" indent="0">
              <a:buNone/>
              <a:defRPr sz="1600"/>
            </a:lvl1pPr>
            <a:lvl2pPr marL="228600" indent="0" algn="r">
              <a:buNone/>
              <a:defRPr sz="1400">
                <a:solidFill>
                  <a:schemeClr val="accent1"/>
                </a:solidFill>
                <a:latin typeface="+mj-lt"/>
              </a:defRPr>
            </a:lvl2pPr>
          </a:lstStyle>
          <a:p>
            <a:pPr lvl="0"/>
            <a:r>
              <a:rPr lang="en-US"/>
              <a:t>Click to edit Master text styles</a:t>
            </a:r>
          </a:p>
          <a:p>
            <a:pPr lvl="1"/>
            <a:r>
              <a:rPr lang="en-US"/>
              <a:t>Second level</a:t>
            </a:r>
          </a:p>
        </p:txBody>
      </p:sp>
      <p:sp>
        <p:nvSpPr>
          <p:cNvPr id="19" name="Text Placeholder 16">
            <a:extLst>
              <a:ext uri="{FF2B5EF4-FFF2-40B4-BE49-F238E27FC236}">
                <a16:creationId xmlns:a16="http://schemas.microsoft.com/office/drawing/2014/main" id="{B96FA1CF-AD8C-F498-9DA3-E59AB746D98E}"/>
              </a:ext>
            </a:extLst>
          </p:cNvPr>
          <p:cNvSpPr>
            <a:spLocks noGrp="1"/>
          </p:cNvSpPr>
          <p:nvPr>
            <p:ph type="body" sz="quarter" idx="11"/>
          </p:nvPr>
        </p:nvSpPr>
        <p:spPr>
          <a:xfrm>
            <a:off x="4614867"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0" name="Text Placeholder 16">
            <a:extLst>
              <a:ext uri="{FF2B5EF4-FFF2-40B4-BE49-F238E27FC236}">
                <a16:creationId xmlns:a16="http://schemas.microsoft.com/office/drawing/2014/main" id="{C444DC7F-A2EE-0717-D281-9DFD5EABFA94}"/>
              </a:ext>
            </a:extLst>
          </p:cNvPr>
          <p:cNvSpPr>
            <a:spLocks noGrp="1"/>
          </p:cNvSpPr>
          <p:nvPr>
            <p:ph type="body" sz="quarter" idx="12"/>
          </p:nvPr>
        </p:nvSpPr>
        <p:spPr>
          <a:xfrm>
            <a:off x="7080096"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1" name="Text Placeholder 16">
            <a:extLst>
              <a:ext uri="{FF2B5EF4-FFF2-40B4-BE49-F238E27FC236}">
                <a16:creationId xmlns:a16="http://schemas.microsoft.com/office/drawing/2014/main" id="{1A2DDC52-6946-F66C-BE7B-1C94E722241A}"/>
              </a:ext>
            </a:extLst>
          </p:cNvPr>
          <p:cNvSpPr>
            <a:spLocks noGrp="1"/>
          </p:cNvSpPr>
          <p:nvPr>
            <p:ph type="body" sz="quarter" idx="13"/>
          </p:nvPr>
        </p:nvSpPr>
        <p:spPr>
          <a:xfrm>
            <a:off x="9545324" y="2721846"/>
            <a:ext cx="2064064" cy="246221"/>
          </a:xfrm>
        </p:spPr>
        <p:txBody>
          <a:bodyPr/>
          <a:lstStyle>
            <a:lvl1pPr marL="0" indent="0" algn="l" defTabSz="914400" rtl="0" eaLnBrk="1" fontAlgn="base" latinLnBrk="0" hangingPunct="1">
              <a:spcBef>
                <a:spcPct val="0"/>
              </a:spcBef>
              <a:spcAft>
                <a:spcPct val="0"/>
              </a:spcAft>
              <a:buNone/>
              <a:defRPr lang="en-US" sz="1600" b="1" kern="1200" dirty="0" smtClean="0">
                <a:solidFill>
                  <a:schemeClr val="tx2"/>
                </a:solidFill>
                <a:latin typeface="+mj-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2" name="Text Placeholder 16">
            <a:extLst>
              <a:ext uri="{FF2B5EF4-FFF2-40B4-BE49-F238E27FC236}">
                <a16:creationId xmlns:a16="http://schemas.microsoft.com/office/drawing/2014/main" id="{3964FDC3-77C6-BEB3-6680-BC857200B7D6}"/>
              </a:ext>
            </a:extLst>
          </p:cNvPr>
          <p:cNvSpPr>
            <a:spLocks noGrp="1"/>
          </p:cNvSpPr>
          <p:nvPr>
            <p:ph type="body" sz="quarter" idx="14"/>
          </p:nvPr>
        </p:nvSpPr>
        <p:spPr>
          <a:xfrm>
            <a:off x="4614867"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3" name="Text Placeholder 16">
            <a:extLst>
              <a:ext uri="{FF2B5EF4-FFF2-40B4-BE49-F238E27FC236}">
                <a16:creationId xmlns:a16="http://schemas.microsoft.com/office/drawing/2014/main" id="{11CE9894-8775-BC50-BE06-5CE40F70FBE8}"/>
              </a:ext>
            </a:extLst>
          </p:cNvPr>
          <p:cNvSpPr>
            <a:spLocks noGrp="1"/>
          </p:cNvSpPr>
          <p:nvPr>
            <p:ph type="body" sz="quarter" idx="15"/>
          </p:nvPr>
        </p:nvSpPr>
        <p:spPr>
          <a:xfrm>
            <a:off x="7080096"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
        <p:nvSpPr>
          <p:cNvPr id="24" name="Text Placeholder 16">
            <a:extLst>
              <a:ext uri="{FF2B5EF4-FFF2-40B4-BE49-F238E27FC236}">
                <a16:creationId xmlns:a16="http://schemas.microsoft.com/office/drawing/2014/main" id="{A82104D7-A817-48E7-97F6-5DBF07E08216}"/>
              </a:ext>
            </a:extLst>
          </p:cNvPr>
          <p:cNvSpPr>
            <a:spLocks noGrp="1"/>
          </p:cNvSpPr>
          <p:nvPr>
            <p:ph type="body" sz="quarter" idx="16"/>
          </p:nvPr>
        </p:nvSpPr>
        <p:spPr>
          <a:xfrm>
            <a:off x="9545324" y="3057526"/>
            <a:ext cx="2064064" cy="2308013"/>
          </a:xfrm>
        </p:spPr>
        <p:txBody>
          <a:bodyPr>
            <a:noAutofit/>
          </a:bodyPr>
          <a:lstStyle>
            <a:lvl1pPr marL="0" indent="0" algn="l" defTabSz="914400" rtl="0" eaLnBrk="1" fontAlgn="base" latinLnBrk="0" hangingPunct="1">
              <a:spcBef>
                <a:spcPct val="0"/>
              </a:spcBef>
              <a:spcAft>
                <a:spcPts val="400"/>
              </a:spcAft>
              <a:buNone/>
              <a:defRPr lang="en-US" sz="1200" b="0" kern="1200" dirty="0" smtClean="0">
                <a:solidFill>
                  <a:schemeClr val="tx1"/>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cxnSp>
        <p:nvCxnSpPr>
          <p:cNvPr id="3" name="Straight Connector 2">
            <a:extLst>
              <a:ext uri="{FF2B5EF4-FFF2-40B4-BE49-F238E27FC236}">
                <a16:creationId xmlns:a16="http://schemas.microsoft.com/office/drawing/2014/main" id="{944C1429-C176-2133-2618-F4C4271B50F2}"/>
              </a:ext>
            </a:extLst>
          </p:cNvPr>
          <p:cNvCxnSpPr>
            <a:cxnSpLocks/>
          </p:cNvCxnSpPr>
          <p:nvPr userDrawn="1"/>
        </p:nvCxnSpPr>
        <p:spPr>
          <a:xfrm>
            <a:off x="4614866" y="5532576"/>
            <a:ext cx="6994522" cy="0"/>
          </a:xfrm>
          <a:prstGeom prst="line">
            <a:avLst/>
          </a:prstGeom>
          <a:solidFill>
            <a:schemeClr val="tx1"/>
          </a:solidFill>
          <a:ln w="19050" cap="rnd">
            <a:gradFill flip="none" rotWithShape="1">
              <a:gsLst>
                <a:gs pos="0">
                  <a:schemeClr val="accent1"/>
                </a:gs>
                <a:gs pos="100000">
                  <a:schemeClr val="accent6">
                    <a:lumMod val="50000"/>
                  </a:schemeClr>
                </a:gs>
              </a:gsLst>
              <a:lin ang="0" scaled="1"/>
              <a:tileRect/>
            </a:gradFill>
            <a:prstDash val="solid"/>
            <a:round/>
          </a:ln>
          <a:effectLst>
            <a:outerShdw blurRad="177800" dist="12700" dir="13500000" algn="br" rotWithShape="0">
              <a:schemeClr val="tx1">
                <a:lumMod val="85000"/>
                <a:alpha val="30000"/>
              </a:schemeClr>
            </a:outerShdw>
          </a:effectLst>
        </p:spPr>
      </p:cxnSp>
      <p:sp>
        <p:nvSpPr>
          <p:cNvPr id="4" name="Text Placeholder 16">
            <a:extLst>
              <a:ext uri="{FF2B5EF4-FFF2-40B4-BE49-F238E27FC236}">
                <a16:creationId xmlns:a16="http://schemas.microsoft.com/office/drawing/2014/main" id="{405AE6D6-9FEE-8F72-1F01-24A5051A28E0}"/>
              </a:ext>
            </a:extLst>
          </p:cNvPr>
          <p:cNvSpPr>
            <a:spLocks noGrp="1"/>
          </p:cNvSpPr>
          <p:nvPr>
            <p:ph type="body" sz="quarter" idx="18"/>
          </p:nvPr>
        </p:nvSpPr>
        <p:spPr>
          <a:xfrm>
            <a:off x="4614867" y="5693645"/>
            <a:ext cx="6988870" cy="606733"/>
          </a:xfrm>
        </p:spPr>
        <p:txBody>
          <a:bodyPr>
            <a:noAutofit/>
          </a:bodyPr>
          <a:lstStyle>
            <a:lvl1pPr marL="0" indent="0" algn="l" defTabSz="914400" rtl="0" eaLnBrk="1" fontAlgn="base" latinLnBrk="0" hangingPunct="1">
              <a:spcBef>
                <a:spcPct val="0"/>
              </a:spcBef>
              <a:spcAft>
                <a:spcPct val="0"/>
              </a:spcAft>
              <a:buNone/>
              <a:defRPr lang="en-US" sz="1200" b="0" kern="1200" dirty="0" smtClean="0">
                <a:solidFill>
                  <a:schemeClr val="tx2"/>
                </a:solidFill>
                <a:latin typeface="+mn-lt"/>
                <a:ea typeface="+mn-ea"/>
                <a:cs typeface="+mn-cs"/>
              </a:defRPr>
            </a:lvl1pPr>
            <a:lvl2pPr marL="228600" indent="0" algn="r">
              <a:buNone/>
              <a:defRPr sz="1400">
                <a:solidFill>
                  <a:schemeClr val="accent1"/>
                </a:solidFill>
                <a:latin typeface="+mj-lt"/>
              </a:defRPr>
            </a:lvl2pPr>
          </a:lstStyle>
          <a:p>
            <a:pPr lvl="0"/>
            <a:r>
              <a:rPr lang="en-US"/>
              <a:t>Click to edit Master text styles</a:t>
            </a:r>
          </a:p>
        </p:txBody>
      </p:sp>
    </p:spTree>
    <p:extLst>
      <p:ext uri="{BB962C8B-B14F-4D97-AF65-F5344CB8AC3E}">
        <p14:creationId xmlns:p14="http://schemas.microsoft.com/office/powerpoint/2010/main" val="6075097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06685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35863"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268160367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ustomer Story 1">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09806525-DE5C-2A73-FC52-B45FE5EDCFFC}"/>
              </a:ext>
              <a:ext uri="{C183D7F6-B498-43B3-948B-1728B52AA6E4}">
                <adec:decorative xmlns:adec="http://schemas.microsoft.com/office/drawing/2017/decorative" val="1"/>
              </a:ext>
            </a:extLst>
          </p:cNvPr>
          <p:cNvCxnSpPr>
            <a:cxnSpLocks/>
          </p:cNvCxnSpPr>
          <p:nvPr userDrawn="1"/>
        </p:nvCxnSpPr>
        <p:spPr>
          <a:xfrm>
            <a:off x="4168099" y="3649663"/>
            <a:ext cx="8023901" cy="0"/>
          </a:xfrm>
          <a:prstGeom prst="line">
            <a:avLst/>
          </a:prstGeom>
          <a:ln w="107950">
            <a:gradFill flip="none" rotWithShape="1">
              <a:gsLst>
                <a:gs pos="0">
                  <a:schemeClr val="tx1">
                    <a:lumMod val="10000"/>
                    <a:lumOff val="90000"/>
                  </a:schemeClr>
                </a:gs>
                <a:gs pos="100000">
                  <a:schemeClr val="tx1">
                    <a:lumMod val="25000"/>
                    <a:lumOff val="75000"/>
                  </a:schemeClr>
                </a:gs>
              </a:gsLst>
              <a:lin ang="3000000" scaled="0"/>
              <a:tileRect/>
            </a:gra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CB0DF3B8-CE76-F9D2-1168-C3F04360B5CF}"/>
              </a:ext>
              <a:ext uri="{C183D7F6-B498-43B3-948B-1728B52AA6E4}">
                <adec:decorative xmlns:adec="http://schemas.microsoft.com/office/drawing/2017/decorative" val="1"/>
              </a:ext>
            </a:extLst>
          </p:cNvPr>
          <p:cNvGrpSpPr>
            <a:grpSpLocks/>
          </p:cNvGrpSpPr>
          <p:nvPr userDrawn="1"/>
        </p:nvGrpSpPr>
        <p:grpSpPr>
          <a:xfrm>
            <a:off x="4559017" y="3224475"/>
            <a:ext cx="850376" cy="850376"/>
            <a:chOff x="5047758" y="912128"/>
            <a:chExt cx="763571" cy="771525"/>
          </a:xfrm>
          <a:effectLst>
            <a:outerShdw blurRad="63500" sx="102000" sy="102000" algn="ctr" rotWithShape="0">
              <a:schemeClr val="bg1">
                <a:lumMod val="75000"/>
                <a:alpha val="40000"/>
              </a:schemeClr>
            </a:outerShdw>
          </a:effectLst>
        </p:grpSpPr>
        <p:sp>
          <p:nvSpPr>
            <p:cNvPr id="23" name="Freeform: Shape 24">
              <a:extLst>
                <a:ext uri="{FF2B5EF4-FFF2-40B4-BE49-F238E27FC236}">
                  <a16:creationId xmlns:a16="http://schemas.microsoft.com/office/drawing/2014/main" id="{9CBDCD4F-C35A-0D20-90B0-D7BCF550C5C9}"/>
                </a:ext>
              </a:extLst>
            </p:cNvPr>
            <p:cNvSpPr/>
            <p:nvPr/>
          </p:nvSpPr>
          <p:spPr>
            <a:xfrm>
              <a:off x="5047758" y="912128"/>
              <a:ext cx="763571" cy="771525"/>
            </a:xfrm>
            <a:custGeom>
              <a:avLst/>
              <a:gdLst>
                <a:gd name="connsiteX0" fmla="*/ -664 w 763571"/>
                <a:gd name="connsiteY0" fmla="*/ 385541 h 771525"/>
                <a:gd name="connsiteX1" fmla="*/ 381122 w 763571"/>
                <a:gd name="connsiteY1" fmla="*/ -222 h 771525"/>
                <a:gd name="connsiteX2" fmla="*/ 762907 w 763571"/>
                <a:gd name="connsiteY2" fmla="*/ 385541 h 771525"/>
                <a:gd name="connsiteX3" fmla="*/ 381122 w 763571"/>
                <a:gd name="connsiteY3" fmla="*/ 771303 h 771525"/>
                <a:gd name="connsiteX4" fmla="*/ -664 w 763571"/>
                <a:gd name="connsiteY4" fmla="*/ 385541 h 771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571" h="771525">
                  <a:moveTo>
                    <a:pt x="-664" y="385541"/>
                  </a:moveTo>
                  <a:cubicBezTo>
                    <a:pt x="-664" y="172485"/>
                    <a:pt x="170263" y="-222"/>
                    <a:pt x="381122" y="-222"/>
                  </a:cubicBezTo>
                  <a:cubicBezTo>
                    <a:pt x="591980" y="-222"/>
                    <a:pt x="762907" y="172485"/>
                    <a:pt x="762907" y="385541"/>
                  </a:cubicBezTo>
                  <a:cubicBezTo>
                    <a:pt x="762907" y="598596"/>
                    <a:pt x="591980" y="771303"/>
                    <a:pt x="381122" y="771303"/>
                  </a:cubicBezTo>
                  <a:cubicBezTo>
                    <a:pt x="170263" y="771303"/>
                    <a:pt x="-664" y="598596"/>
                    <a:pt x="-664" y="385541"/>
                  </a:cubicBezTo>
                  <a:close/>
                </a:path>
              </a:pathLst>
            </a:custGeom>
            <a:solidFill>
              <a:srgbClr val="FFFFFF"/>
            </a:solidFill>
            <a:ln w="9427" cap="flat">
              <a:noFill/>
              <a:prstDash val="solid"/>
              <a:miter/>
            </a:ln>
            <a:effectLst/>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 name="Freeform: Shape 25">
              <a:extLst>
                <a:ext uri="{FF2B5EF4-FFF2-40B4-BE49-F238E27FC236}">
                  <a16:creationId xmlns:a16="http://schemas.microsoft.com/office/drawing/2014/main" id="{AFD0939E-DD77-591D-EA85-50536385172A}"/>
                </a:ext>
              </a:extLst>
            </p:cNvPr>
            <p:cNvSpPr/>
            <p:nvPr/>
          </p:nvSpPr>
          <p:spPr>
            <a:xfrm>
              <a:off x="5118460" y="983566"/>
              <a:ext cx="622169" cy="628650"/>
            </a:xfrm>
            <a:custGeom>
              <a:avLst/>
              <a:gdLst>
                <a:gd name="connsiteX0" fmla="*/ -664 w 622169"/>
                <a:gd name="connsiteY0" fmla="*/ 314103 h 628650"/>
                <a:gd name="connsiteX1" fmla="*/ 310421 w 622169"/>
                <a:gd name="connsiteY1" fmla="*/ -222 h 628650"/>
                <a:gd name="connsiteX2" fmla="*/ 621505 w 622169"/>
                <a:gd name="connsiteY2" fmla="*/ 314103 h 628650"/>
                <a:gd name="connsiteX3" fmla="*/ 310421 w 622169"/>
                <a:gd name="connsiteY3" fmla="*/ 628428 h 628650"/>
                <a:gd name="connsiteX4" fmla="*/ -664 w 622169"/>
                <a:gd name="connsiteY4" fmla="*/ 314103 h 628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169" h="628650">
                  <a:moveTo>
                    <a:pt x="-664" y="314103"/>
                  </a:moveTo>
                  <a:cubicBezTo>
                    <a:pt x="-664" y="140510"/>
                    <a:pt x="138617" y="-222"/>
                    <a:pt x="310421" y="-222"/>
                  </a:cubicBezTo>
                  <a:cubicBezTo>
                    <a:pt x="482224" y="-222"/>
                    <a:pt x="621505" y="140510"/>
                    <a:pt x="621505" y="314103"/>
                  </a:cubicBezTo>
                  <a:cubicBezTo>
                    <a:pt x="621505" y="487696"/>
                    <a:pt x="482224" y="628428"/>
                    <a:pt x="310421" y="628428"/>
                  </a:cubicBezTo>
                  <a:cubicBezTo>
                    <a:pt x="138617" y="628428"/>
                    <a:pt x="-664" y="487696"/>
                    <a:pt x="-664" y="314103"/>
                  </a:cubicBezTo>
                  <a:close/>
                </a:path>
              </a:pathLst>
            </a:custGeom>
            <a:noFill/>
            <a:ln w="15875" cap="flat">
              <a:gradFill flip="none" rotWithShape="1">
                <a:gsLst>
                  <a:gs pos="0">
                    <a:srgbClr val="49C5B1"/>
                  </a:gs>
                  <a:gs pos="100000">
                    <a:schemeClr val="tx2"/>
                  </a:gs>
                </a:gsLst>
                <a:path path="circle">
                  <a:fillToRect l="100000" t="100000"/>
                </a:path>
                <a:tileRect r="-100000" b="-100000"/>
              </a:gradFill>
              <a:prstDash val="solid"/>
              <a:round/>
            </a:ln>
          </p:spPr>
          <p:txBody>
            <a:bodyPr rtlCol="0" anchor="ctr"/>
            <a:lstStyle/>
            <a:p>
              <a:pPr marL="0" marR="0" lvl="0" indent="0" algn="l" defTabSz="91446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sp>
        <p:nvSpPr>
          <p:cNvPr id="5" name="Freeform: Shape 4">
            <a:extLst>
              <a:ext uri="{FF2B5EF4-FFF2-40B4-BE49-F238E27FC236}">
                <a16:creationId xmlns:a16="http://schemas.microsoft.com/office/drawing/2014/main" id="{52C85C5B-AB16-B643-4172-7EC4E8603604}"/>
              </a:ext>
            </a:extLst>
          </p:cNvPr>
          <p:cNvSpPr/>
          <p:nvPr userDrawn="1"/>
        </p:nvSpPr>
        <p:spPr>
          <a:xfrm>
            <a:off x="0" y="0"/>
            <a:ext cx="4168099" cy="6858000"/>
          </a:xfrm>
          <a:custGeom>
            <a:avLst/>
            <a:gdLst>
              <a:gd name="connsiteX0" fmla="*/ 0 w 1641815"/>
              <a:gd name="connsiteY0" fmla="*/ 0 h 1641815"/>
              <a:gd name="connsiteX1" fmla="*/ 1641816 w 1641815"/>
              <a:gd name="connsiteY1" fmla="*/ 0 h 1641815"/>
              <a:gd name="connsiteX2" fmla="*/ 1641816 w 1641815"/>
              <a:gd name="connsiteY2" fmla="*/ 1641816 h 1641815"/>
              <a:gd name="connsiteX3" fmla="*/ 0 w 1641815"/>
              <a:gd name="connsiteY3" fmla="*/ 1641816 h 1641815"/>
            </a:gdLst>
            <a:ahLst/>
            <a:cxnLst>
              <a:cxn ang="0">
                <a:pos x="connsiteX0" y="connsiteY0"/>
              </a:cxn>
              <a:cxn ang="0">
                <a:pos x="connsiteX1" y="connsiteY1"/>
              </a:cxn>
              <a:cxn ang="0">
                <a:pos x="connsiteX2" y="connsiteY2"/>
              </a:cxn>
              <a:cxn ang="0">
                <a:pos x="connsiteX3" y="connsiteY3"/>
              </a:cxn>
            </a:cxnLst>
            <a:rect l="l" t="t" r="r" b="b"/>
            <a:pathLst>
              <a:path w="1641815" h="1641815">
                <a:moveTo>
                  <a:pt x="0" y="0"/>
                </a:moveTo>
                <a:lnTo>
                  <a:pt x="1641816" y="0"/>
                </a:lnTo>
                <a:lnTo>
                  <a:pt x="1641816" y="1641816"/>
                </a:lnTo>
                <a:lnTo>
                  <a:pt x="0" y="1641816"/>
                </a:lnTo>
                <a:close/>
              </a:path>
            </a:pathLst>
          </a:cu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w="3416" cap="flat">
            <a:noFill/>
            <a:prstDash val="solid"/>
            <a:miter/>
          </a:ln>
          <a:effectLst>
            <a:outerShdw blurRad="152400" dist="38100" algn="l" rotWithShape="0">
              <a:schemeClr val="bg1">
                <a:lumMod val="75000"/>
                <a:alpha val="62000"/>
              </a:schemeClr>
            </a:outerShdw>
          </a:effectLst>
        </p:spPr>
        <p:txBody>
          <a:bodyPr rtlCol="0" anchor="ctr"/>
          <a:lstStyle/>
          <a:p>
            <a:endParaRPr lang="en-US"/>
          </a:p>
        </p:txBody>
      </p:sp>
      <p:pic>
        <p:nvPicPr>
          <p:cNvPr id="10" name="Picture 9">
            <a:extLst>
              <a:ext uri="{FF2B5EF4-FFF2-40B4-BE49-F238E27FC236}">
                <a16:creationId xmlns:a16="http://schemas.microsoft.com/office/drawing/2014/main" id="{30C2B701-E635-EC9B-8CEA-C3400000BA1F}"/>
              </a:ext>
              <a:ext uri="{C183D7F6-B498-43B3-948B-1728B52AA6E4}">
                <adec:decorative xmlns:adec="http://schemas.microsoft.com/office/drawing/2017/decorative" val="1"/>
              </a:ext>
            </a:extLst>
          </p:cNvPr>
          <p:cNvPicPr>
            <a:picLocks noChangeAspect="1"/>
          </p:cNvPicPr>
          <p:nvPr userDrawn="1"/>
        </p:nvPicPr>
        <p:blipFill rotWithShape="1">
          <a:blip r:embed="rId2" cstate="screen">
            <a:alphaModFix amt="58000"/>
            <a:extLst>
              <a:ext uri="{28A0092B-C50C-407E-A947-70E740481C1C}">
                <a14:useLocalDpi xmlns:a14="http://schemas.microsoft.com/office/drawing/2010/main"/>
              </a:ext>
            </a:extLst>
          </a:blip>
          <a:srcRect t="-24311" b="59368"/>
          <a:stretch/>
        </p:blipFill>
        <p:spPr>
          <a:xfrm>
            <a:off x="4411980" y="6010508"/>
            <a:ext cx="7213883" cy="322688"/>
          </a:xfrm>
          <a:prstGeom prst="rect">
            <a:avLst/>
          </a:prstGeom>
        </p:spPr>
      </p:pic>
      <p:sp>
        <p:nvSpPr>
          <p:cNvPr id="25" name="Title 1">
            <a:extLst>
              <a:ext uri="{FF2B5EF4-FFF2-40B4-BE49-F238E27FC236}">
                <a16:creationId xmlns:a16="http://schemas.microsoft.com/office/drawing/2014/main" id="{582670F0-0464-EE0B-C775-4FBF45B2C441}"/>
              </a:ext>
            </a:extLst>
          </p:cNvPr>
          <p:cNvSpPr>
            <a:spLocks noGrp="1"/>
          </p:cNvSpPr>
          <p:nvPr userDrawn="1">
            <p:ph type="title"/>
          </p:nvPr>
        </p:nvSpPr>
        <p:spPr>
          <a:xfrm>
            <a:off x="447675" y="2197101"/>
            <a:ext cx="3329508" cy="886397"/>
          </a:xfrm>
        </p:spPr>
        <p:txBody>
          <a:bodyPr/>
          <a:lstStyle>
            <a:lvl1pPr>
              <a:defRPr sz="3200">
                <a:solidFill>
                  <a:schemeClr val="bg1"/>
                </a:solidFill>
              </a:defRPr>
            </a:lvl1pPr>
          </a:lstStyle>
          <a:p>
            <a:r>
              <a:rPr lang="en-US"/>
              <a:t>Click to edit Master title style</a:t>
            </a:r>
          </a:p>
        </p:txBody>
      </p:sp>
      <p:sp>
        <p:nvSpPr>
          <p:cNvPr id="20" name="Picture Placeholder 19">
            <a:extLst>
              <a:ext uri="{FF2B5EF4-FFF2-40B4-BE49-F238E27FC236}">
                <a16:creationId xmlns:a16="http://schemas.microsoft.com/office/drawing/2014/main" id="{3FC94FA6-63EB-11E4-37AD-82E3649A944B}"/>
              </a:ext>
            </a:extLst>
          </p:cNvPr>
          <p:cNvSpPr>
            <a:spLocks noGrp="1"/>
          </p:cNvSpPr>
          <p:nvPr userDrawn="1">
            <p:ph type="pic" sz="quarter" idx="11"/>
          </p:nvPr>
        </p:nvSpPr>
        <p:spPr>
          <a:xfrm>
            <a:off x="4168100" y="-4"/>
            <a:ext cx="8023901" cy="2925072"/>
          </a:xfrm>
        </p:spPr>
        <p:txBody>
          <a:bodyPr>
            <a:noAutofit/>
          </a:bodyPr>
          <a:lstStyle/>
          <a:p>
            <a:endParaRPr lang="en-US"/>
          </a:p>
        </p:txBody>
      </p:sp>
      <p:grpSp>
        <p:nvGrpSpPr>
          <p:cNvPr id="12" name="Group 11">
            <a:extLst>
              <a:ext uri="{FF2B5EF4-FFF2-40B4-BE49-F238E27FC236}">
                <a16:creationId xmlns:a16="http://schemas.microsoft.com/office/drawing/2014/main" id="{CF0CA992-FB73-6E07-B004-739348FE828A}"/>
              </a:ext>
            </a:extLst>
          </p:cNvPr>
          <p:cNvGrpSpPr/>
          <p:nvPr userDrawn="1"/>
        </p:nvGrpSpPr>
        <p:grpSpPr>
          <a:xfrm>
            <a:off x="0" y="1285959"/>
            <a:ext cx="3300317" cy="152167"/>
            <a:chOff x="0" y="1285959"/>
            <a:chExt cx="3300317" cy="152167"/>
          </a:xfrm>
          <a:effectLst>
            <a:outerShdw blurRad="50800" dist="25400" dir="5400000" algn="t" rotWithShape="0">
              <a:prstClr val="black">
                <a:alpha val="40000"/>
              </a:prstClr>
            </a:outerShdw>
          </a:effectLst>
        </p:grpSpPr>
        <p:grpSp>
          <p:nvGrpSpPr>
            <p:cNvPr id="14" name="Group 13">
              <a:extLst>
                <a:ext uri="{FF2B5EF4-FFF2-40B4-BE49-F238E27FC236}">
                  <a16:creationId xmlns:a16="http://schemas.microsoft.com/office/drawing/2014/main" id="{04D68D92-5763-52FB-A3A7-5270C27AB546}"/>
                </a:ext>
              </a:extLst>
            </p:cNvPr>
            <p:cNvGrpSpPr/>
            <p:nvPr userDrawn="1"/>
          </p:nvGrpSpPr>
          <p:grpSpPr>
            <a:xfrm>
              <a:off x="2696191" y="1285959"/>
              <a:ext cx="604126" cy="152167"/>
              <a:chOff x="3049826" y="4046193"/>
              <a:chExt cx="604126" cy="152167"/>
            </a:xfrm>
            <a:effectLst>
              <a:outerShdw blurRad="25400" dist="25400" dir="5400000" algn="t" rotWithShape="0">
                <a:schemeClr val="bg1">
                  <a:lumMod val="50000"/>
                  <a:alpha val="30000"/>
                </a:schemeClr>
              </a:outerShdw>
            </a:effectLst>
          </p:grpSpPr>
          <p:sp>
            <p:nvSpPr>
              <p:cNvPr id="18" name="Oval 17">
                <a:extLst>
                  <a:ext uri="{FF2B5EF4-FFF2-40B4-BE49-F238E27FC236}">
                    <a16:creationId xmlns:a16="http://schemas.microsoft.com/office/drawing/2014/main" id="{09E4DF60-CD3E-F5C7-2843-D8963FD99175}"/>
                  </a:ext>
                </a:extLst>
              </p:cNvPr>
              <p:cNvSpPr/>
              <p:nvPr/>
            </p:nvSpPr>
            <p:spPr bwMode="auto">
              <a:xfrm>
                <a:off x="3049826" y="4046193"/>
                <a:ext cx="152167" cy="152167"/>
              </a:xfrm>
              <a:prstGeom prst="ellipse">
                <a:avLst/>
              </a:prstGeom>
              <a:solidFill>
                <a:schemeClr val="tx2"/>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Oval 18">
                <a:extLst>
                  <a:ext uri="{FF2B5EF4-FFF2-40B4-BE49-F238E27FC236}">
                    <a16:creationId xmlns:a16="http://schemas.microsoft.com/office/drawing/2014/main" id="{DA010AE7-E660-7D90-7181-8E4E5E5C355A}"/>
                  </a:ext>
                </a:extLst>
              </p:cNvPr>
              <p:cNvSpPr>
                <a:spLocks/>
              </p:cNvSpPr>
              <p:nvPr/>
            </p:nvSpPr>
            <p:spPr bwMode="auto">
              <a:xfrm>
                <a:off x="3275805" y="4046193"/>
                <a:ext cx="152167" cy="152167"/>
              </a:xfrm>
              <a:prstGeom prst="ellipse">
                <a:avLst/>
              </a:prstGeom>
              <a:solidFill>
                <a:srgbClr val="49C5B1"/>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Oval 20">
                <a:extLst>
                  <a:ext uri="{FF2B5EF4-FFF2-40B4-BE49-F238E27FC236}">
                    <a16:creationId xmlns:a16="http://schemas.microsoft.com/office/drawing/2014/main" id="{9C1F5B9B-FABF-8C65-F276-6E4F3B4AFD8F}"/>
                  </a:ext>
                </a:extLst>
              </p:cNvPr>
              <p:cNvSpPr/>
              <p:nvPr/>
            </p:nvSpPr>
            <p:spPr bwMode="auto">
              <a:xfrm>
                <a:off x="3501785" y="4046193"/>
                <a:ext cx="152167" cy="152167"/>
              </a:xfrm>
              <a:prstGeom prst="ellipse">
                <a:avLst/>
              </a:prstGeom>
              <a:solidFill>
                <a:srgbClr val="8DC8E8"/>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17" name="Straight Connector 16">
              <a:extLst>
                <a:ext uri="{FF2B5EF4-FFF2-40B4-BE49-F238E27FC236}">
                  <a16:creationId xmlns:a16="http://schemas.microsoft.com/office/drawing/2014/main" id="{AA26C962-2C8D-97B9-DB60-C84F0E37AEFA}"/>
                </a:ext>
              </a:extLst>
            </p:cNvPr>
            <p:cNvCxnSpPr>
              <a:cxnSpLocks/>
            </p:cNvCxnSpPr>
            <p:nvPr/>
          </p:nvCxnSpPr>
          <p:spPr>
            <a:xfrm>
              <a:off x="0" y="1362566"/>
              <a:ext cx="2703004" cy="0"/>
            </a:xfrm>
            <a:prstGeom prst="line">
              <a:avLst/>
            </a:prstGeom>
            <a:noFill/>
            <a:ln w="19050" cap="flat" cmpd="sng" algn="ctr">
              <a:solidFill>
                <a:srgbClr val="FFFFFF"/>
              </a:solidFill>
              <a:prstDash val="solid"/>
              <a:headEnd type="none" w="lg" len="med"/>
              <a:tailEnd type="none" w="lg" len="med"/>
            </a:ln>
            <a:effectLst/>
          </p:spPr>
        </p:cxnSp>
      </p:grpSp>
    </p:spTree>
    <p:extLst>
      <p:ext uri="{BB962C8B-B14F-4D97-AF65-F5344CB8AC3E}">
        <p14:creationId xmlns:p14="http://schemas.microsoft.com/office/powerpoint/2010/main" val="3257350393"/>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Customer Story 1">
    <p:spTree>
      <p:nvGrpSpPr>
        <p:cNvPr id="1" name=""/>
        <p:cNvGrpSpPr/>
        <p:nvPr/>
      </p:nvGrpSpPr>
      <p:grpSpPr>
        <a:xfrm>
          <a:off x="0" y="0"/>
          <a:ext cx="0" cy="0"/>
          <a:chOff x="0" y="0"/>
          <a:chExt cx="0" cy="0"/>
        </a:xfrm>
      </p:grpSpPr>
      <p:sp>
        <p:nvSpPr>
          <p:cNvPr id="2" name="Rectangle 1">
            <a:hlinkClick r:id="rId2"/>
            <a:extLst>
              <a:ext uri="{FF2B5EF4-FFF2-40B4-BE49-F238E27FC236}">
                <a16:creationId xmlns:a16="http://schemas.microsoft.com/office/drawing/2014/main" id="{500FAD07-86F3-4E70-06CB-30C65B1236A7}"/>
              </a:ext>
              <a:ext uri="{C183D7F6-B498-43B3-948B-1728B52AA6E4}">
                <adec:decorative xmlns:adec="http://schemas.microsoft.com/office/drawing/2017/decorative" val="0"/>
              </a:ext>
            </a:extLst>
          </p:cNvPr>
          <p:cNvSpPr>
            <a:spLocks/>
          </p:cNvSpPr>
          <p:nvPr userDrawn="1"/>
        </p:nvSpPr>
        <p:spPr bwMode="auto">
          <a:xfrm>
            <a:off x="4356100" y="3740"/>
            <a:ext cx="7835900" cy="2643381"/>
          </a:xfrm>
          <a:prstGeom prst="rect">
            <a:avLst/>
          </a:prstGeom>
          <a:gradFill flip="none" rotWithShape="1">
            <a:gsLst>
              <a:gs pos="54000">
                <a:srgbClr val="EDF0F6">
                  <a:alpha val="28000"/>
                </a:srgbClr>
              </a:gs>
              <a:gs pos="100000">
                <a:schemeClr val="bg1">
                  <a:alpha val="52000"/>
                </a:schemeClr>
              </a:gs>
            </a:gsLst>
            <a:path path="circle">
              <a:fillToRect l="100000" t="100000"/>
            </a:path>
            <a:tileRect r="-100000" b="-100000"/>
          </a:gradFill>
          <a:ln w="22225">
            <a:gradFill flip="none" rotWithShape="1">
              <a:gsLst>
                <a:gs pos="0">
                  <a:schemeClr val="bg1">
                    <a:alpha val="40000"/>
                  </a:schemeClr>
                </a:gs>
                <a:gs pos="100000">
                  <a:schemeClr val="bg1">
                    <a:alpha val="0"/>
                  </a:schemeClr>
                </a:gs>
              </a:gsLst>
              <a:lin ang="13800000" scaled="0"/>
              <a:tileRect/>
            </a:gradFill>
            <a:headEnd type="none" w="med" len="med"/>
            <a:tailEnd type="none" w="med" len="med"/>
          </a:ln>
          <a:effectLst>
            <a:outerShdw blurRad="50800" dist="50800" dir="5400000" algn="ctr" rotWithShape="0">
              <a:srgbClr val="000000">
                <a:alpha val="3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endParaRPr lang="en-US">
              <a:solidFill>
                <a:schemeClr val="tx1"/>
              </a:solidFill>
              <a:latin typeface="Segoe Sans Text Semibold" pitchFamily="2" charset="0"/>
              <a:cs typeface="Segoe Sans Text Semibold" pitchFamily="2" charset="0"/>
            </a:endParaRPr>
          </a:p>
        </p:txBody>
      </p:sp>
      <p:cxnSp>
        <p:nvCxnSpPr>
          <p:cNvPr id="3" name="Straight Connector 2">
            <a:extLst>
              <a:ext uri="{FF2B5EF4-FFF2-40B4-BE49-F238E27FC236}">
                <a16:creationId xmlns:a16="http://schemas.microsoft.com/office/drawing/2014/main" id="{2D52FB54-DF86-26DE-3395-4FA0923C971A}"/>
              </a:ext>
              <a:ext uri="{C183D7F6-B498-43B3-948B-1728B52AA6E4}">
                <adec:decorative xmlns:adec="http://schemas.microsoft.com/office/drawing/2017/decorative" val="1"/>
              </a:ext>
            </a:extLst>
          </p:cNvPr>
          <p:cNvCxnSpPr>
            <a:cxnSpLocks/>
          </p:cNvCxnSpPr>
          <p:nvPr userDrawn="1"/>
        </p:nvCxnSpPr>
        <p:spPr>
          <a:xfrm>
            <a:off x="4356100" y="3280719"/>
            <a:ext cx="7835900" cy="0"/>
          </a:xfrm>
          <a:prstGeom prst="line">
            <a:avLst/>
          </a:prstGeom>
          <a:ln w="57150">
            <a:gradFill flip="none" rotWithShape="1">
              <a:gsLst>
                <a:gs pos="0">
                  <a:schemeClr val="accent3">
                    <a:lumMod val="40000"/>
                    <a:lumOff val="60000"/>
                  </a:schemeClr>
                </a:gs>
                <a:gs pos="100000">
                  <a:srgbClr val="57B9C5"/>
                </a:gs>
              </a:gsLst>
              <a:lin ang="0" scaled="1"/>
              <a:tileRect/>
            </a:gra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cxnSp>
      <p:sp>
        <p:nvSpPr>
          <p:cNvPr id="4" name="Oval 34_1">
            <a:extLst>
              <a:ext uri="{FF2B5EF4-FFF2-40B4-BE49-F238E27FC236}">
                <a16:creationId xmlns:a16="http://schemas.microsoft.com/office/drawing/2014/main" id="{3C3D9862-8FFF-CA67-363C-CF5AA9142B77}"/>
              </a:ext>
              <a:ext uri="{C183D7F6-B498-43B3-948B-1728B52AA6E4}">
                <adec:decorative xmlns:adec="http://schemas.microsoft.com/office/drawing/2017/decorative" val="1"/>
              </a:ext>
            </a:extLst>
          </p:cNvPr>
          <p:cNvSpPr>
            <a:spLocks/>
          </p:cNvSpPr>
          <p:nvPr userDrawn="1"/>
        </p:nvSpPr>
        <p:spPr bwMode="auto">
          <a:xfrm>
            <a:off x="4648729" y="2911360"/>
            <a:ext cx="738718" cy="738718"/>
          </a:xfrm>
          <a:prstGeom prst="ellipse">
            <a:avLst/>
          </a:prstGeom>
          <a:solidFill>
            <a:schemeClr val="bg1"/>
          </a:solidFill>
          <a:ln w="25400" cap="flat">
            <a:noFill/>
            <a:prstDash val="solid"/>
            <a:miter/>
          </a:ln>
          <a:effectLst>
            <a:outerShdw blurRad="190500" dist="114300" dir="5400000" sx="96000" sy="96000" algn="t" rotWithShape="0">
              <a:schemeClr val="bg1">
                <a:lumMod val="65000"/>
                <a:alpha val="48000"/>
              </a:schemeClr>
            </a:outerShdw>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Sans Display Semibold" pitchFamily="2" charset="0"/>
              <a:cs typeface="Segoe Sans Display Semibold" pitchFamily="2" charset="0"/>
            </a:endParaRPr>
          </a:p>
        </p:txBody>
      </p:sp>
      <p:sp>
        <p:nvSpPr>
          <p:cNvPr id="6" name="Rectangle: Top Corners Rounded 5">
            <a:extLst>
              <a:ext uri="{FF2B5EF4-FFF2-40B4-BE49-F238E27FC236}">
                <a16:creationId xmlns:a16="http://schemas.microsoft.com/office/drawing/2014/main" id="{B7485420-5CAD-13F1-47B2-0C994487C6C4}"/>
              </a:ext>
            </a:extLst>
          </p:cNvPr>
          <p:cNvSpPr/>
          <p:nvPr userDrawn="1"/>
        </p:nvSpPr>
        <p:spPr>
          <a:xfrm>
            <a:off x="293687" y="0"/>
            <a:ext cx="4062413" cy="6561438"/>
          </a:xfrm>
          <a:prstGeom prst="round2SameRect">
            <a:avLst>
              <a:gd name="adj1" fmla="val 0"/>
              <a:gd name="adj2" fmla="val 4714"/>
            </a:avLst>
          </a:prstGeom>
          <a:solidFill>
            <a:schemeClr val="bg1"/>
          </a:solidFill>
          <a:ln w="38100" cap="flat">
            <a:noFill/>
            <a:prstDash val="solid"/>
            <a:miter/>
          </a:ln>
          <a:effectLst>
            <a:outerShdw blurRad="304800" dist="50800" dir="4440000" sx="94000" sy="94000" algn="ctr" rotWithShape="0">
              <a:srgbClr val="F4F3F5">
                <a:lumMod val="75000"/>
                <a:alpha val="49000"/>
              </a:srgbClr>
            </a:outerShdw>
          </a:effectLst>
        </p:spPr>
        <p:txBody>
          <a:bodyPr rot="0" spcFirstLastPara="0" vertOverflow="overflow" horzOverflow="overflow" vert="horz" wrap="square" lIns="0" tIns="457200" rIns="0" bIns="45720" numCol="1" spcCol="0" rtlCol="0" fromWordArt="0" anchor="b" anchorCtr="0" forceAA="0" compatLnSpc="1">
            <a:prstTxWarp prst="textNoShape">
              <a:avLst/>
            </a:prstTxWarp>
            <a:noAutofit/>
          </a:bodyPr>
          <a:lstStyle/>
          <a:p>
            <a:pPr algn="ctr"/>
            <a:endParaRPr lang="en-US" sz="1000" kern="0">
              <a:solidFill>
                <a:srgbClr val="000000"/>
              </a:solidFill>
              <a:latin typeface="Segoe Sans Small" pitchFamily="2" charset="0"/>
              <a:cs typeface="Segoe Sans Small" pitchFamily="2" charset="0"/>
            </a:endParaRPr>
          </a:p>
        </p:txBody>
      </p:sp>
      <p:pic>
        <p:nvPicPr>
          <p:cNvPr id="7" name="Picture 6">
            <a:extLst>
              <a:ext uri="{FF2B5EF4-FFF2-40B4-BE49-F238E27FC236}">
                <a16:creationId xmlns:a16="http://schemas.microsoft.com/office/drawing/2014/main" id="{D01BD506-6345-AEE6-1FBD-AA769E3A2BCC}"/>
              </a:ext>
              <a:ext uri="{C183D7F6-B498-43B3-948B-1728B52AA6E4}">
                <adec:decorative xmlns:adec="http://schemas.microsoft.com/office/drawing/2017/decorative" val="1"/>
              </a:ext>
            </a:extLst>
          </p:cNvPr>
          <p:cNvPicPr>
            <a:picLocks noChangeAspect="1"/>
          </p:cNvPicPr>
          <p:nvPr userDrawn="1"/>
        </p:nvPicPr>
        <p:blipFill rotWithShape="1">
          <a:blip r:embed="rId3" cstate="screen">
            <a:alphaModFix amt="58000"/>
            <a:extLst>
              <a:ext uri="{28A0092B-C50C-407E-A947-70E740481C1C}">
                <a14:useLocalDpi xmlns:a14="http://schemas.microsoft.com/office/drawing/2010/main"/>
              </a:ext>
            </a:extLst>
          </a:blip>
          <a:srcRect t="-24311" b="59368"/>
          <a:stretch/>
        </p:blipFill>
        <p:spPr>
          <a:xfrm>
            <a:off x="4411980" y="6053393"/>
            <a:ext cx="7213883" cy="322688"/>
          </a:xfrm>
          <a:prstGeom prst="rect">
            <a:avLst/>
          </a:prstGeom>
        </p:spPr>
      </p:pic>
      <p:grpSp>
        <p:nvGrpSpPr>
          <p:cNvPr id="13" name="Group 12">
            <a:extLst>
              <a:ext uri="{FF2B5EF4-FFF2-40B4-BE49-F238E27FC236}">
                <a16:creationId xmlns:a16="http://schemas.microsoft.com/office/drawing/2014/main" id="{37C0AA97-E3A4-47CA-D834-12FF6EB578B0}"/>
              </a:ext>
            </a:extLst>
          </p:cNvPr>
          <p:cNvGrpSpPr/>
          <p:nvPr userDrawn="1"/>
        </p:nvGrpSpPr>
        <p:grpSpPr>
          <a:xfrm>
            <a:off x="293687" y="1345023"/>
            <a:ext cx="3300317" cy="152167"/>
            <a:chOff x="353635" y="4046193"/>
            <a:chExt cx="3300317" cy="152167"/>
          </a:xfrm>
        </p:grpSpPr>
        <p:cxnSp>
          <p:nvCxnSpPr>
            <p:cNvPr id="15" name="Straight Connector 14">
              <a:extLst>
                <a:ext uri="{FF2B5EF4-FFF2-40B4-BE49-F238E27FC236}">
                  <a16:creationId xmlns:a16="http://schemas.microsoft.com/office/drawing/2014/main" id="{6C77A246-9A05-B2BB-A944-D8C96D621624}"/>
                </a:ext>
              </a:extLst>
            </p:cNvPr>
            <p:cNvCxnSpPr>
              <a:cxnSpLocks/>
            </p:cNvCxnSpPr>
            <p:nvPr userDrawn="1"/>
          </p:nvCxnSpPr>
          <p:spPr>
            <a:xfrm>
              <a:off x="353635" y="4122276"/>
              <a:ext cx="2703004" cy="0"/>
            </a:xfrm>
            <a:prstGeom prst="line">
              <a:avLst/>
            </a:prstGeom>
            <a:noFill/>
            <a:ln w="22225" cap="flat" cmpd="sng" algn="ctr">
              <a:solidFill>
                <a:schemeClr val="bg1"/>
              </a:solidFill>
              <a:prstDash val="solid"/>
              <a:headEnd type="none" w="lg" len="med"/>
              <a:tailEnd type="none" w="lg" len="med"/>
            </a:ln>
            <a:effectLst>
              <a:outerShdw blurRad="25400" dist="25400" dir="5400000" algn="t" rotWithShape="0">
                <a:schemeClr val="bg1">
                  <a:lumMod val="50000"/>
                  <a:alpha val="30000"/>
                </a:schemeClr>
              </a:outerShdw>
            </a:effectLst>
          </p:spPr>
        </p:cxnSp>
        <p:grpSp>
          <p:nvGrpSpPr>
            <p:cNvPr id="16" name="Group 15">
              <a:extLst>
                <a:ext uri="{FF2B5EF4-FFF2-40B4-BE49-F238E27FC236}">
                  <a16:creationId xmlns:a16="http://schemas.microsoft.com/office/drawing/2014/main" id="{1999A071-8C7B-8C4B-453C-F5BE4623B880}"/>
                </a:ext>
              </a:extLst>
            </p:cNvPr>
            <p:cNvGrpSpPr/>
            <p:nvPr userDrawn="1"/>
          </p:nvGrpSpPr>
          <p:grpSpPr>
            <a:xfrm>
              <a:off x="3049826" y="4046193"/>
              <a:ext cx="604126" cy="152167"/>
              <a:chOff x="3049826" y="4046193"/>
              <a:chExt cx="604126" cy="152167"/>
            </a:xfrm>
            <a:effectLst>
              <a:outerShdw blurRad="25400" dist="25400" dir="5400000" algn="t" rotWithShape="0">
                <a:schemeClr val="bg1">
                  <a:lumMod val="50000"/>
                  <a:alpha val="30000"/>
                </a:schemeClr>
              </a:outerShdw>
            </a:effectLst>
          </p:grpSpPr>
          <p:sp>
            <p:nvSpPr>
              <p:cNvPr id="26" name="Oval 25">
                <a:extLst>
                  <a:ext uri="{FF2B5EF4-FFF2-40B4-BE49-F238E27FC236}">
                    <a16:creationId xmlns:a16="http://schemas.microsoft.com/office/drawing/2014/main" id="{03020CCD-4FC2-30FE-85FC-13E1B0B8FD0D}"/>
                  </a:ext>
                </a:extLst>
              </p:cNvPr>
              <p:cNvSpPr/>
              <p:nvPr/>
            </p:nvSpPr>
            <p:spPr bwMode="auto">
              <a:xfrm>
                <a:off x="3049826" y="4046193"/>
                <a:ext cx="152167" cy="152167"/>
              </a:xfrm>
              <a:prstGeom prst="ellipse">
                <a:avLst/>
              </a:prstGeom>
              <a:solidFill>
                <a:srgbClr val="225B62"/>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FE7B6DD8-2BFB-0F07-BC30-53F6351338B0}"/>
                  </a:ext>
                </a:extLst>
              </p:cNvPr>
              <p:cNvSpPr>
                <a:spLocks/>
              </p:cNvSpPr>
              <p:nvPr/>
            </p:nvSpPr>
            <p:spPr bwMode="auto">
              <a:xfrm>
                <a:off x="3275805" y="4046193"/>
                <a:ext cx="152167" cy="152167"/>
              </a:xfrm>
              <a:prstGeom prst="ellipse">
                <a:avLst/>
              </a:prstGeom>
              <a:solidFill>
                <a:srgbClr val="57B9C5"/>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8" name="Oval 27">
                <a:extLst>
                  <a:ext uri="{FF2B5EF4-FFF2-40B4-BE49-F238E27FC236}">
                    <a16:creationId xmlns:a16="http://schemas.microsoft.com/office/drawing/2014/main" id="{303A6BF6-9A9B-256B-AE98-1FC38DD4FFFD}"/>
                  </a:ext>
                </a:extLst>
              </p:cNvPr>
              <p:cNvSpPr/>
              <p:nvPr/>
            </p:nvSpPr>
            <p:spPr bwMode="auto">
              <a:xfrm>
                <a:off x="3501785" y="4046193"/>
                <a:ext cx="152167" cy="152167"/>
              </a:xfrm>
              <a:prstGeom prst="ellipse">
                <a:avLst/>
              </a:prstGeom>
              <a:solidFill>
                <a:srgbClr val="8EC8E9"/>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sp>
        <p:nvSpPr>
          <p:cNvPr id="25" name="Title 1">
            <a:extLst>
              <a:ext uri="{FF2B5EF4-FFF2-40B4-BE49-F238E27FC236}">
                <a16:creationId xmlns:a16="http://schemas.microsoft.com/office/drawing/2014/main" id="{582670F0-0464-EE0B-C775-4FBF45B2C441}"/>
              </a:ext>
            </a:extLst>
          </p:cNvPr>
          <p:cNvSpPr>
            <a:spLocks noGrp="1"/>
          </p:cNvSpPr>
          <p:nvPr userDrawn="1">
            <p:ph type="title"/>
          </p:nvPr>
        </p:nvSpPr>
        <p:spPr>
          <a:xfrm>
            <a:off x="584200" y="2197101"/>
            <a:ext cx="3329508" cy="984885"/>
          </a:xfrm>
        </p:spPr>
        <p:txBody>
          <a:bodyPr/>
          <a:lstStyle>
            <a:lvl1pPr>
              <a:defRPr sz="3200">
                <a:solidFill>
                  <a:schemeClr val="tx1"/>
                </a:solidFill>
              </a:defRPr>
            </a:lvl1pPr>
          </a:lstStyle>
          <a:p>
            <a:r>
              <a:rPr lang="en-US"/>
              <a:t>Click to edit Master title style</a:t>
            </a:r>
          </a:p>
        </p:txBody>
      </p:sp>
      <p:sp>
        <p:nvSpPr>
          <p:cNvPr id="20" name="Picture Placeholder 19">
            <a:extLst>
              <a:ext uri="{FF2B5EF4-FFF2-40B4-BE49-F238E27FC236}">
                <a16:creationId xmlns:a16="http://schemas.microsoft.com/office/drawing/2014/main" id="{3FC94FA6-63EB-11E4-37AD-82E3649A944B}"/>
              </a:ext>
            </a:extLst>
          </p:cNvPr>
          <p:cNvSpPr>
            <a:spLocks noGrp="1"/>
          </p:cNvSpPr>
          <p:nvPr userDrawn="1">
            <p:ph type="pic" sz="quarter" idx="11"/>
          </p:nvPr>
        </p:nvSpPr>
        <p:spPr>
          <a:xfrm>
            <a:off x="4356100" y="3740"/>
            <a:ext cx="7835900" cy="2643381"/>
          </a:xfrm>
        </p:spPr>
        <p:txBody>
          <a:bodyPr>
            <a:noAutofit/>
          </a:bodyPr>
          <a:lstStyle/>
          <a:p>
            <a:endParaRPr lang="en-US"/>
          </a:p>
        </p:txBody>
      </p:sp>
    </p:spTree>
    <p:extLst>
      <p:ext uri="{BB962C8B-B14F-4D97-AF65-F5344CB8AC3E}">
        <p14:creationId xmlns:p14="http://schemas.microsoft.com/office/powerpoint/2010/main" val="161198467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 or subtitle text</a:t>
            </a:r>
          </a:p>
        </p:txBody>
      </p:sp>
      <p:sp>
        <p:nvSpPr>
          <p:cNvPr id="4" name="Text Placeholder 3">
            <a:extLst>
              <a:ext uri="{FF2B5EF4-FFF2-40B4-BE49-F238E27FC236}">
                <a16:creationId xmlns:a16="http://schemas.microsoft.com/office/drawing/2014/main" id="{2C393F68-FC36-7494-75D8-E374ACD6653A}"/>
              </a:ext>
            </a:extLst>
          </p:cNvPr>
          <p:cNvSpPr>
            <a:spLocks noGrp="1"/>
          </p:cNvSpPr>
          <p:nvPr>
            <p:ph type="body" sz="quarter" idx="13" hasCustomPrompt="1"/>
          </p:nvPr>
        </p:nvSpPr>
        <p:spPr>
          <a:xfrm>
            <a:off x="584200" y="4294188"/>
            <a:ext cx="9144000" cy="246221"/>
          </a:xfrm>
        </p:spPr>
        <p:txBody>
          <a:bodyPr/>
          <a:lstStyle>
            <a:lvl1pPr marL="0" indent="0">
              <a:spcBef>
                <a:spcPts val="0"/>
              </a:spcBef>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Title, company, or other information</a:t>
            </a:r>
          </a:p>
        </p:txBody>
      </p:sp>
      <p:sp>
        <p:nvSpPr>
          <p:cNvPr id="2" name="Title 1">
            <a:extLst>
              <a:ext uri="{FF2B5EF4-FFF2-40B4-BE49-F238E27FC236}">
                <a16:creationId xmlns:a16="http://schemas.microsoft.com/office/drawing/2014/main" id="{54875775-5E8F-0839-C361-899125B71AE9}"/>
              </a:ext>
            </a:extLst>
          </p:cNvPr>
          <p:cNvSpPr txBox="1">
            <a:spLocks/>
          </p:cNvSpPr>
          <p:nvPr userDrawn="1"/>
        </p:nvSpPr>
        <p:spPr>
          <a:xfrm>
            <a:off x="584200" y="557599"/>
            <a:ext cx="3296759" cy="307777"/>
          </a:xfrm>
          <a:prstGeom prst="rect">
            <a:avLst/>
          </a:prstGeom>
          <a:noFill/>
        </p:spPr>
        <p:txBody>
          <a:bodyPr vert="horz" wrap="square" lIns="0" tIns="0" rIns="0" bIns="0" rtlCol="0" anchor="b" anchorCtr="0">
            <a:spAutoFit/>
          </a:bodyPr>
          <a:lstStyle>
            <a:lvl1pPr algn="l" defTabSz="393567" rtl="0" eaLnBrk="1" latinLnBrk="0" hangingPunct="1">
              <a:lnSpc>
                <a:spcPct val="100000"/>
              </a:lnSpc>
              <a:spcBef>
                <a:spcPct val="0"/>
              </a:spcBef>
              <a:buNone/>
              <a:defRPr lang="en-US" sz="3200" b="0" kern="1200" cap="none" spc="-22" baseline="0">
                <a:ln w="3175">
                  <a:noFill/>
                </a:ln>
                <a:solidFill>
                  <a:schemeClr val="tx1"/>
                </a:solidFill>
                <a:effectLst/>
                <a:latin typeface="+mj-lt"/>
                <a:ea typeface="+mn-ea"/>
                <a:cs typeface="Segoe UI" panose="020B0502040204020203" pitchFamily="34" charset="0"/>
              </a:defRPr>
            </a:lvl1pPr>
          </a:lstStyle>
          <a:p>
            <a:r>
              <a:rPr lang="en-CA" sz="2000">
                <a:solidFill>
                  <a:schemeClr val="tx1">
                    <a:lumMod val="65000"/>
                    <a:lumOff val="35000"/>
                  </a:schemeClr>
                </a:solidFill>
              </a:rPr>
              <a:t>Microsoft at Sibos</a:t>
            </a:r>
          </a:p>
        </p:txBody>
      </p:sp>
    </p:spTree>
    <p:extLst>
      <p:ext uri="{BB962C8B-B14F-4D97-AF65-F5344CB8AC3E}">
        <p14:creationId xmlns:p14="http://schemas.microsoft.com/office/powerpoint/2010/main" val="1979411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Content and Tiles Images ">
    <p:spTree>
      <p:nvGrpSpPr>
        <p:cNvPr id="1" name=""/>
        <p:cNvGrpSpPr/>
        <p:nvPr/>
      </p:nvGrpSpPr>
      <p:grpSpPr>
        <a:xfrm>
          <a:off x="0" y="0"/>
          <a:ext cx="0" cy="0"/>
          <a:chOff x="0" y="0"/>
          <a:chExt cx="0" cy="0"/>
        </a:xfrm>
      </p:grpSpPr>
      <p:grpSp>
        <p:nvGrpSpPr>
          <p:cNvPr id="146" name="Group 145">
            <a:extLst>
              <a:ext uri="{FF2B5EF4-FFF2-40B4-BE49-F238E27FC236}">
                <a16:creationId xmlns:a16="http://schemas.microsoft.com/office/drawing/2014/main" id="{B5011BED-4136-8869-080C-FFC282EDCC50}"/>
              </a:ext>
              <a:ext uri="{C183D7F6-B498-43B3-948B-1728B52AA6E4}">
                <adec:decorative xmlns:adec="http://schemas.microsoft.com/office/drawing/2017/decorative" val="1"/>
              </a:ext>
            </a:extLst>
          </p:cNvPr>
          <p:cNvGrpSpPr/>
          <p:nvPr userDrawn="1"/>
        </p:nvGrpSpPr>
        <p:grpSpPr>
          <a:xfrm>
            <a:off x="5969920" y="-122945"/>
            <a:ext cx="6271600" cy="7057939"/>
            <a:chOff x="5969920" y="-122945"/>
            <a:chExt cx="6271600" cy="7057939"/>
          </a:xfrm>
          <a:gradFill>
            <a:gsLst>
              <a:gs pos="11000">
                <a:schemeClr val="bg2"/>
              </a:gs>
              <a:gs pos="100000">
                <a:schemeClr val="accent2">
                  <a:lumMod val="60000"/>
                  <a:lumOff val="40000"/>
                </a:schemeClr>
              </a:gs>
            </a:gsLst>
            <a:lin ang="8100000" scaled="1"/>
          </a:gradFill>
        </p:grpSpPr>
        <p:sp>
          <p:nvSpPr>
            <p:cNvPr id="105" name="Freeform: Shape 104">
              <a:extLst>
                <a:ext uri="{FF2B5EF4-FFF2-40B4-BE49-F238E27FC236}">
                  <a16:creationId xmlns:a16="http://schemas.microsoft.com/office/drawing/2014/main" id="{44146F90-1941-B3A9-F85A-015BC7DDEEE1}"/>
                </a:ext>
              </a:extLst>
            </p:cNvPr>
            <p:cNvSpPr/>
            <p:nvPr userDrawn="1"/>
          </p:nvSpPr>
          <p:spPr>
            <a:xfrm rot="365846">
              <a:off x="7989137" y="6166404"/>
              <a:ext cx="1494678" cy="767900"/>
            </a:xfrm>
            <a:custGeom>
              <a:avLst/>
              <a:gdLst>
                <a:gd name="connsiteX0" fmla="*/ 941851 w 1494678"/>
                <a:gd name="connsiteY0" fmla="*/ 1713 h 767900"/>
                <a:gd name="connsiteX1" fmla="*/ 1027882 w 1494678"/>
                <a:gd name="connsiteY1" fmla="*/ 35485 h 767900"/>
                <a:gd name="connsiteX2" fmla="*/ 1297340 w 1494678"/>
                <a:gd name="connsiteY2" fmla="*/ 387182 h 767900"/>
                <a:gd name="connsiteX3" fmla="*/ 1299897 w 1494678"/>
                <a:gd name="connsiteY3" fmla="*/ 390311 h 767900"/>
                <a:gd name="connsiteX4" fmla="*/ 1369925 w 1494678"/>
                <a:gd name="connsiteY4" fmla="*/ 473826 h 767900"/>
                <a:gd name="connsiteX5" fmla="*/ 1494678 w 1494678"/>
                <a:gd name="connsiteY5" fmla="*/ 613513 h 767900"/>
                <a:gd name="connsiteX6" fmla="*/ 49425 w 1494678"/>
                <a:gd name="connsiteY6" fmla="*/ 767900 h 767900"/>
                <a:gd name="connsiteX7" fmla="*/ 15399 w 1494678"/>
                <a:gd name="connsiteY7" fmla="*/ 721380 h 767900"/>
                <a:gd name="connsiteX8" fmla="*/ 37841 w 1494678"/>
                <a:gd name="connsiteY8" fmla="*/ 601585 h 767900"/>
                <a:gd name="connsiteX9" fmla="*/ 911265 w 1494678"/>
                <a:gd name="connsiteY9" fmla="*/ 14570 h 767900"/>
                <a:gd name="connsiteX10" fmla="*/ 941851 w 1494678"/>
                <a:gd name="connsiteY10" fmla="*/ 1713 h 76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4678" h="767900">
                  <a:moveTo>
                    <a:pt x="941851" y="1713"/>
                  </a:moveTo>
                  <a:cubicBezTo>
                    <a:pt x="973764" y="-4797"/>
                    <a:pt x="1007854" y="7421"/>
                    <a:pt x="1027882" y="35485"/>
                  </a:cubicBezTo>
                  <a:cubicBezTo>
                    <a:pt x="1113535" y="155563"/>
                    <a:pt x="1203308" y="272795"/>
                    <a:pt x="1297340" y="387182"/>
                  </a:cubicBezTo>
                  <a:cubicBezTo>
                    <a:pt x="1298191" y="388319"/>
                    <a:pt x="1299045" y="389316"/>
                    <a:pt x="1299897" y="390311"/>
                  </a:cubicBezTo>
                  <a:cubicBezTo>
                    <a:pt x="1322908" y="418338"/>
                    <a:pt x="1346344" y="446082"/>
                    <a:pt x="1369925" y="473826"/>
                  </a:cubicBezTo>
                  <a:lnTo>
                    <a:pt x="1494678" y="613513"/>
                  </a:lnTo>
                  <a:lnTo>
                    <a:pt x="49425" y="767900"/>
                  </a:lnTo>
                  <a:lnTo>
                    <a:pt x="15399" y="721380"/>
                  </a:lnTo>
                  <a:cubicBezTo>
                    <a:pt x="-12016" y="682396"/>
                    <a:pt x="-1788" y="628190"/>
                    <a:pt x="37841" y="601585"/>
                  </a:cubicBezTo>
                  <a:lnTo>
                    <a:pt x="911265" y="14570"/>
                  </a:lnTo>
                  <a:cubicBezTo>
                    <a:pt x="920817" y="8132"/>
                    <a:pt x="931214" y="3882"/>
                    <a:pt x="941851" y="1713"/>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69" name="Freeform 64">
              <a:extLst>
                <a:ext uri="{FF2B5EF4-FFF2-40B4-BE49-F238E27FC236}">
                  <a16:creationId xmlns:a16="http://schemas.microsoft.com/office/drawing/2014/main" id="{075A33DC-3501-62F6-42EF-375B9D0B5F3E}"/>
                </a:ext>
              </a:extLst>
            </p:cNvPr>
            <p:cNvSpPr/>
            <p:nvPr userDrawn="1"/>
          </p:nvSpPr>
          <p:spPr>
            <a:xfrm rot="365846">
              <a:off x="9884384" y="2671834"/>
              <a:ext cx="552404" cy="706819"/>
            </a:xfrm>
            <a:custGeom>
              <a:avLst/>
              <a:gdLst>
                <a:gd name="connsiteX0" fmla="*/ 282722 w 369649"/>
                <a:gd name="connsiteY0" fmla="*/ 0 h 472978"/>
                <a:gd name="connsiteX1" fmla="*/ 57073 w 369649"/>
                <a:gd name="connsiteY1" fmla="*/ 0 h 472978"/>
                <a:gd name="connsiteX2" fmla="*/ 43 w 369649"/>
                <a:gd name="connsiteY2" fmla="*/ 59597 h 472978"/>
                <a:gd name="connsiteX3" fmla="*/ 34546 w 369649"/>
                <a:gd name="connsiteY3" fmla="*/ 424227 h 472978"/>
                <a:gd name="connsiteX4" fmla="*/ 101936 w 369649"/>
                <a:gd name="connsiteY4" fmla="*/ 471924 h 472978"/>
                <a:gd name="connsiteX5" fmla="*/ 323594 w 369649"/>
                <a:gd name="connsiteY5" fmla="*/ 428606 h 472978"/>
                <a:gd name="connsiteX6" fmla="*/ 369028 w 369649"/>
                <a:gd name="connsiteY6" fmla="*/ 364249 h 472978"/>
                <a:gd name="connsiteX7" fmla="*/ 339657 w 369649"/>
                <a:gd name="connsiteY7" fmla="*/ 54742 h 472978"/>
                <a:gd name="connsiteX8" fmla="*/ 282722 w 369649"/>
                <a:gd name="connsiteY8" fmla="*/ 95 h 47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649" h="472978">
                  <a:moveTo>
                    <a:pt x="282722" y="0"/>
                  </a:moveTo>
                  <a:lnTo>
                    <a:pt x="57073" y="0"/>
                  </a:lnTo>
                  <a:cubicBezTo>
                    <a:pt x="24661" y="0"/>
                    <a:pt x="-1193" y="27038"/>
                    <a:pt x="43" y="59597"/>
                  </a:cubicBezTo>
                  <a:cubicBezTo>
                    <a:pt x="4700" y="182505"/>
                    <a:pt x="16296" y="304175"/>
                    <a:pt x="34546" y="424227"/>
                  </a:cubicBezTo>
                  <a:cubicBezTo>
                    <a:pt x="39488" y="456406"/>
                    <a:pt x="70000" y="478112"/>
                    <a:pt x="101936" y="471924"/>
                  </a:cubicBezTo>
                  <a:lnTo>
                    <a:pt x="323594" y="428606"/>
                  </a:lnTo>
                  <a:cubicBezTo>
                    <a:pt x="353440" y="422799"/>
                    <a:pt x="373495" y="394428"/>
                    <a:pt x="369028" y="364249"/>
                  </a:cubicBezTo>
                  <a:cubicBezTo>
                    <a:pt x="353725" y="262191"/>
                    <a:pt x="343935" y="158990"/>
                    <a:pt x="339657" y="54742"/>
                  </a:cubicBezTo>
                  <a:cubicBezTo>
                    <a:pt x="338422" y="24182"/>
                    <a:pt x="313233" y="95"/>
                    <a:pt x="282722" y="95"/>
                  </a:cubicBez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70" name="Freeform 68">
              <a:extLst>
                <a:ext uri="{FF2B5EF4-FFF2-40B4-BE49-F238E27FC236}">
                  <a16:creationId xmlns:a16="http://schemas.microsoft.com/office/drawing/2014/main" id="{F5ECC651-A745-49FA-BF70-E9F895835C3B}"/>
                </a:ext>
              </a:extLst>
            </p:cNvPr>
            <p:cNvSpPr/>
            <p:nvPr userDrawn="1"/>
          </p:nvSpPr>
          <p:spPr>
            <a:xfrm rot="365846">
              <a:off x="10029438" y="851588"/>
              <a:ext cx="775838" cy="1640825"/>
            </a:xfrm>
            <a:custGeom>
              <a:avLst/>
              <a:gdLst>
                <a:gd name="connsiteX0" fmla="*/ 276829 w 519162"/>
                <a:gd name="connsiteY0" fmla="*/ 4474 h 1097981"/>
                <a:gd name="connsiteX1" fmla="*/ 201169 w 519162"/>
                <a:gd name="connsiteY1" fmla="*/ 37224 h 1097981"/>
                <a:gd name="connsiteX2" fmla="*/ 71615 w 519162"/>
                <a:gd name="connsiteY2" fmla="*/ 479254 h 1097981"/>
                <a:gd name="connsiteX3" fmla="*/ 57928 w 519162"/>
                <a:gd name="connsiteY3" fmla="*/ 544468 h 1097981"/>
                <a:gd name="connsiteX4" fmla="*/ 45857 w 519162"/>
                <a:gd name="connsiteY4" fmla="*/ 609968 h 1097981"/>
                <a:gd name="connsiteX5" fmla="*/ 12399 w 519162"/>
                <a:gd name="connsiteY5" fmla="*/ 853022 h 1097981"/>
                <a:gd name="connsiteX6" fmla="*/ 43 w 519162"/>
                <a:gd name="connsiteY6" fmla="*/ 1038384 h 1097981"/>
                <a:gd name="connsiteX7" fmla="*/ 57073 w 519162"/>
                <a:gd name="connsiteY7" fmla="*/ 1097981 h 1097981"/>
                <a:gd name="connsiteX8" fmla="*/ 282722 w 519162"/>
                <a:gd name="connsiteY8" fmla="*/ 1097981 h 1097981"/>
                <a:gd name="connsiteX9" fmla="*/ 339657 w 519162"/>
                <a:gd name="connsiteY9" fmla="*/ 1043334 h 1097981"/>
                <a:gd name="connsiteX10" fmla="*/ 378343 w 519162"/>
                <a:gd name="connsiteY10" fmla="*/ 675563 h 1097981"/>
                <a:gd name="connsiteX11" fmla="*/ 403911 w 519162"/>
                <a:gd name="connsiteY11" fmla="*/ 544754 h 1097981"/>
                <a:gd name="connsiteX12" fmla="*/ 515595 w 519162"/>
                <a:gd name="connsiteY12" fmla="*/ 164225 h 1097981"/>
                <a:gd name="connsiteX13" fmla="*/ 484229 w 519162"/>
                <a:gd name="connsiteY13" fmla="*/ 91966 h 1097981"/>
                <a:gd name="connsiteX14" fmla="*/ 276734 w 519162"/>
                <a:gd name="connsiteY14" fmla="*/ 4569 h 109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9162" h="1097981">
                  <a:moveTo>
                    <a:pt x="276829" y="4474"/>
                  </a:moveTo>
                  <a:cubicBezTo>
                    <a:pt x="246888" y="-8093"/>
                    <a:pt x="212480" y="6759"/>
                    <a:pt x="201169" y="37224"/>
                  </a:cubicBezTo>
                  <a:cubicBezTo>
                    <a:pt x="147941" y="180124"/>
                    <a:pt x="104598" y="327690"/>
                    <a:pt x="71615" y="479254"/>
                  </a:cubicBezTo>
                  <a:cubicBezTo>
                    <a:pt x="66863" y="500960"/>
                    <a:pt x="62300" y="522666"/>
                    <a:pt x="57928" y="544468"/>
                  </a:cubicBezTo>
                  <a:cubicBezTo>
                    <a:pt x="53651" y="566270"/>
                    <a:pt x="49754" y="588166"/>
                    <a:pt x="45857" y="609968"/>
                  </a:cubicBezTo>
                  <a:cubicBezTo>
                    <a:pt x="31599" y="690891"/>
                    <a:pt x="20478" y="772004"/>
                    <a:pt x="12399" y="853022"/>
                  </a:cubicBezTo>
                  <a:cubicBezTo>
                    <a:pt x="6506" y="914429"/>
                    <a:pt x="2419" y="976216"/>
                    <a:pt x="43" y="1038384"/>
                  </a:cubicBezTo>
                  <a:cubicBezTo>
                    <a:pt x="-1193" y="1070848"/>
                    <a:pt x="24661" y="1097981"/>
                    <a:pt x="57073" y="1097981"/>
                  </a:cubicBezTo>
                  <a:lnTo>
                    <a:pt x="282722" y="1097981"/>
                  </a:lnTo>
                  <a:cubicBezTo>
                    <a:pt x="313233" y="1097981"/>
                    <a:pt x="338421" y="1073895"/>
                    <a:pt x="339657" y="1043334"/>
                  </a:cubicBezTo>
                  <a:cubicBezTo>
                    <a:pt x="344790" y="919189"/>
                    <a:pt x="357717" y="796567"/>
                    <a:pt x="378343" y="675563"/>
                  </a:cubicBezTo>
                  <a:cubicBezTo>
                    <a:pt x="385852" y="631674"/>
                    <a:pt x="394406" y="588166"/>
                    <a:pt x="403911" y="544754"/>
                  </a:cubicBezTo>
                  <a:cubicBezTo>
                    <a:pt x="432236" y="415562"/>
                    <a:pt x="469401" y="288561"/>
                    <a:pt x="515595" y="164225"/>
                  </a:cubicBezTo>
                  <a:cubicBezTo>
                    <a:pt x="526241" y="135664"/>
                    <a:pt x="512269" y="103771"/>
                    <a:pt x="484229" y="91966"/>
                  </a:cubicBezTo>
                  <a:lnTo>
                    <a:pt x="276734" y="4569"/>
                  </a:ln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71" name="Freeform 69">
              <a:extLst>
                <a:ext uri="{FF2B5EF4-FFF2-40B4-BE49-F238E27FC236}">
                  <a16:creationId xmlns:a16="http://schemas.microsoft.com/office/drawing/2014/main" id="{7280BDA3-773F-B05C-A66C-3A72D55DCF8E}"/>
                </a:ext>
              </a:extLst>
            </p:cNvPr>
            <p:cNvSpPr/>
            <p:nvPr userDrawn="1"/>
          </p:nvSpPr>
          <p:spPr>
            <a:xfrm rot="365846">
              <a:off x="10078587" y="4378090"/>
              <a:ext cx="1238084" cy="1546905"/>
            </a:xfrm>
            <a:custGeom>
              <a:avLst/>
              <a:gdLst>
                <a:gd name="connsiteX0" fmla="*/ 581194 w 828481"/>
                <a:gd name="connsiteY0" fmla="*/ 491976 h 1035133"/>
                <a:gd name="connsiteX1" fmla="*/ 506865 w 828481"/>
                <a:gd name="connsiteY1" fmla="*/ 381445 h 1035133"/>
                <a:gd name="connsiteX2" fmla="*/ 317430 w 828481"/>
                <a:gd name="connsiteY2" fmla="*/ 33095 h 1035133"/>
                <a:gd name="connsiteX3" fmla="*/ 244241 w 828481"/>
                <a:gd name="connsiteY3" fmla="*/ 4249 h 1035133"/>
                <a:gd name="connsiteX4" fmla="*/ 35510 w 828481"/>
                <a:gd name="connsiteY4" fmla="*/ 89551 h 1035133"/>
                <a:gd name="connsiteX5" fmla="*/ 5189 w 828481"/>
                <a:gd name="connsiteY5" fmla="*/ 166285 h 1035133"/>
                <a:gd name="connsiteX6" fmla="*/ 225611 w 828481"/>
                <a:gd name="connsiteY6" fmla="*/ 570614 h 1035133"/>
                <a:gd name="connsiteX7" fmla="*/ 262015 w 828481"/>
                <a:gd name="connsiteY7" fmla="*/ 626404 h 1035133"/>
                <a:gd name="connsiteX8" fmla="*/ 299750 w 828481"/>
                <a:gd name="connsiteY8" fmla="*/ 681336 h 1035133"/>
                <a:gd name="connsiteX9" fmla="*/ 447649 w 828481"/>
                <a:gd name="connsiteY9" fmla="*/ 876884 h 1035133"/>
                <a:gd name="connsiteX10" fmla="*/ 569978 w 828481"/>
                <a:gd name="connsiteY10" fmla="*/ 1016833 h 1035133"/>
                <a:gd name="connsiteX11" fmla="*/ 652197 w 828481"/>
                <a:gd name="connsiteY11" fmla="*/ 1018357 h 1035133"/>
                <a:gd name="connsiteX12" fmla="*/ 811786 w 828481"/>
                <a:gd name="connsiteY12" fmla="*/ 858510 h 1035133"/>
                <a:gd name="connsiteX13" fmla="*/ 813497 w 828481"/>
                <a:gd name="connsiteY13" fmla="*/ 779586 h 1035133"/>
                <a:gd name="connsiteX14" fmla="*/ 581289 w 828481"/>
                <a:gd name="connsiteY14" fmla="*/ 492071 h 103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8481" h="1035133">
                  <a:moveTo>
                    <a:pt x="581194" y="491976"/>
                  </a:moveTo>
                  <a:cubicBezTo>
                    <a:pt x="555531" y="455703"/>
                    <a:pt x="530723" y="418860"/>
                    <a:pt x="506865" y="381445"/>
                  </a:cubicBezTo>
                  <a:cubicBezTo>
                    <a:pt x="435862" y="270152"/>
                    <a:pt x="372654" y="153908"/>
                    <a:pt x="317430" y="33095"/>
                  </a:cubicBezTo>
                  <a:cubicBezTo>
                    <a:pt x="304788" y="5391"/>
                    <a:pt x="272376" y="-7271"/>
                    <a:pt x="244241" y="4249"/>
                  </a:cubicBezTo>
                  <a:lnTo>
                    <a:pt x="35510" y="89551"/>
                  </a:lnTo>
                  <a:cubicBezTo>
                    <a:pt x="5474" y="101832"/>
                    <a:pt x="-8308" y="136677"/>
                    <a:pt x="5189" y="166285"/>
                  </a:cubicBezTo>
                  <a:cubicBezTo>
                    <a:pt x="68493" y="304996"/>
                    <a:pt x="141967" y="440090"/>
                    <a:pt x="225611" y="570614"/>
                  </a:cubicBezTo>
                  <a:cubicBezTo>
                    <a:pt x="237587" y="589274"/>
                    <a:pt x="249659" y="607934"/>
                    <a:pt x="262015" y="626404"/>
                  </a:cubicBezTo>
                  <a:cubicBezTo>
                    <a:pt x="274372" y="644873"/>
                    <a:pt x="287014" y="663152"/>
                    <a:pt x="299750" y="681336"/>
                  </a:cubicBezTo>
                  <a:cubicBezTo>
                    <a:pt x="346800" y="748645"/>
                    <a:pt x="396131" y="813859"/>
                    <a:pt x="447649" y="876884"/>
                  </a:cubicBezTo>
                  <a:cubicBezTo>
                    <a:pt x="486905" y="924581"/>
                    <a:pt x="527681" y="971231"/>
                    <a:pt x="569978" y="1016833"/>
                  </a:cubicBezTo>
                  <a:cubicBezTo>
                    <a:pt x="591935" y="1040634"/>
                    <a:pt x="629290" y="1041300"/>
                    <a:pt x="652197" y="1018357"/>
                  </a:cubicBezTo>
                  <a:lnTo>
                    <a:pt x="811786" y="858510"/>
                  </a:lnTo>
                  <a:cubicBezTo>
                    <a:pt x="833363" y="836899"/>
                    <a:pt x="834123" y="802054"/>
                    <a:pt x="813497" y="779586"/>
                  </a:cubicBezTo>
                  <a:cubicBezTo>
                    <a:pt x="729663" y="688381"/>
                    <a:pt x="652197" y="592416"/>
                    <a:pt x="581289" y="492071"/>
                  </a:cubicBezTo>
                  <a:close/>
                </a:path>
              </a:pathLst>
            </a:custGeom>
            <a:grpFill/>
            <a:ln w="9505" cap="flat">
              <a:noFill/>
              <a:prstDash val="solid"/>
              <a:miter/>
            </a:ln>
            <a:effectLst>
              <a:outerShdw blurRad="50800" dist="38100" dir="10800000" algn="r" rotWithShape="0">
                <a:prstClr val="black">
                  <a:alpha val="20000"/>
                </a:prstClr>
              </a:outerShdw>
            </a:effectLst>
          </p:spPr>
          <p:txBody>
            <a:bodyPr rtlCol="0" anchor="ctr"/>
            <a:lstStyle/>
            <a:p>
              <a:endParaRPr lang="en-US"/>
            </a:p>
          </p:txBody>
        </p:sp>
        <p:sp>
          <p:nvSpPr>
            <p:cNvPr id="143" name="Freeform: Shape 142">
              <a:extLst>
                <a:ext uri="{FF2B5EF4-FFF2-40B4-BE49-F238E27FC236}">
                  <a16:creationId xmlns:a16="http://schemas.microsoft.com/office/drawing/2014/main" id="{FEAEF0E5-6E61-BD84-2720-44424422D315}"/>
                </a:ext>
              </a:extLst>
            </p:cNvPr>
            <p:cNvSpPr/>
            <p:nvPr userDrawn="1"/>
          </p:nvSpPr>
          <p:spPr>
            <a:xfrm rot="365846">
              <a:off x="11045532" y="5884089"/>
              <a:ext cx="1195988" cy="956996"/>
            </a:xfrm>
            <a:custGeom>
              <a:avLst/>
              <a:gdLst>
                <a:gd name="connsiteX0" fmla="*/ 321784 w 1195988"/>
                <a:gd name="connsiteY0" fmla="*/ 20 h 956996"/>
                <a:gd name="connsiteX1" fmla="*/ 381140 w 1195988"/>
                <a:gd name="connsiteY1" fmla="*/ 22428 h 956996"/>
                <a:gd name="connsiteX2" fmla="*/ 804571 w 1195988"/>
                <a:gd name="connsiteY2" fmla="*/ 366159 h 956996"/>
                <a:gd name="connsiteX3" fmla="*/ 969341 w 1195988"/>
                <a:gd name="connsiteY3" fmla="*/ 477559 h 956996"/>
                <a:gd name="connsiteX4" fmla="*/ 969485 w 1195988"/>
                <a:gd name="connsiteY4" fmla="*/ 477700 h 956996"/>
                <a:gd name="connsiteX5" fmla="*/ 1161781 w 1195988"/>
                <a:gd name="connsiteY5" fmla="*/ 592640 h 956996"/>
                <a:gd name="connsiteX6" fmla="*/ 1195988 w 1195988"/>
                <a:gd name="connsiteY6" fmla="*/ 912849 h 956996"/>
                <a:gd name="connsiteX7" fmla="*/ 782731 w 1195988"/>
                <a:gd name="connsiteY7" fmla="*/ 956996 h 956996"/>
                <a:gd name="connsiteX8" fmla="*/ 685823 w 1195988"/>
                <a:gd name="connsiteY8" fmla="*/ 899681 h 956996"/>
                <a:gd name="connsiteX9" fmla="*/ 520911 w 1195988"/>
                <a:gd name="connsiteY9" fmla="*/ 788282 h 956996"/>
                <a:gd name="connsiteX10" fmla="*/ 27452 w 1195988"/>
                <a:gd name="connsiteY10" fmla="*/ 387216 h 956996"/>
                <a:gd name="connsiteX11" fmla="*/ 24895 w 1195988"/>
                <a:gd name="connsiteY11" fmla="*/ 263864 h 956996"/>
                <a:gd name="connsiteX12" fmla="*/ 263386 w 1195988"/>
                <a:gd name="connsiteY12" fmla="*/ 24991 h 956996"/>
                <a:gd name="connsiteX13" fmla="*/ 321784 w 1195988"/>
                <a:gd name="connsiteY13" fmla="*/ 20 h 95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5988" h="956996">
                  <a:moveTo>
                    <a:pt x="321784" y="20"/>
                  </a:moveTo>
                  <a:cubicBezTo>
                    <a:pt x="343002" y="-442"/>
                    <a:pt x="364379" y="6992"/>
                    <a:pt x="381140" y="22428"/>
                  </a:cubicBezTo>
                  <a:cubicBezTo>
                    <a:pt x="515655" y="146489"/>
                    <a:pt x="656846" y="261161"/>
                    <a:pt x="804571" y="366159"/>
                  </a:cubicBezTo>
                  <a:cubicBezTo>
                    <a:pt x="858548" y="404572"/>
                    <a:pt x="913519" y="441705"/>
                    <a:pt x="969341" y="477559"/>
                  </a:cubicBezTo>
                  <a:lnTo>
                    <a:pt x="969485" y="477700"/>
                  </a:lnTo>
                  <a:lnTo>
                    <a:pt x="1161781" y="592640"/>
                  </a:lnTo>
                  <a:lnTo>
                    <a:pt x="1195988" y="912849"/>
                  </a:lnTo>
                  <a:lnTo>
                    <a:pt x="782731" y="956996"/>
                  </a:lnTo>
                  <a:lnTo>
                    <a:pt x="685823" y="899681"/>
                  </a:lnTo>
                  <a:cubicBezTo>
                    <a:pt x="630141" y="863688"/>
                    <a:pt x="575172" y="826694"/>
                    <a:pt x="520911" y="788282"/>
                  </a:cubicBezTo>
                  <a:cubicBezTo>
                    <a:pt x="348897" y="666498"/>
                    <a:pt x="184125" y="532618"/>
                    <a:pt x="27452" y="387216"/>
                  </a:cubicBezTo>
                  <a:cubicBezTo>
                    <a:pt x="-8060" y="354208"/>
                    <a:pt x="-9337" y="298154"/>
                    <a:pt x="24895" y="263864"/>
                  </a:cubicBezTo>
                  <a:lnTo>
                    <a:pt x="263386" y="24991"/>
                  </a:lnTo>
                  <a:cubicBezTo>
                    <a:pt x="279507" y="8842"/>
                    <a:pt x="300566" y="484"/>
                    <a:pt x="321784" y="20"/>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13" name="Freeform: Shape 112">
              <a:extLst>
                <a:ext uri="{FF2B5EF4-FFF2-40B4-BE49-F238E27FC236}">
                  <a16:creationId xmlns:a16="http://schemas.microsoft.com/office/drawing/2014/main" id="{BC6C7173-E732-D09A-ABCC-4EF6BDE8B5F2}"/>
                </a:ext>
              </a:extLst>
            </p:cNvPr>
            <p:cNvSpPr/>
            <p:nvPr userDrawn="1"/>
          </p:nvSpPr>
          <p:spPr>
            <a:xfrm rot="365846">
              <a:off x="5969920" y="2335197"/>
              <a:ext cx="1874329" cy="4493158"/>
            </a:xfrm>
            <a:custGeom>
              <a:avLst/>
              <a:gdLst>
                <a:gd name="connsiteX0" fmla="*/ 85244 w 1874329"/>
                <a:gd name="connsiteY0" fmla="*/ 1 h 4493158"/>
                <a:gd name="connsiteX1" fmla="*/ 541346 w 1874329"/>
                <a:gd name="connsiteY1" fmla="*/ 0 h 4493158"/>
                <a:gd name="connsiteX2" fmla="*/ 626145 w 1874329"/>
                <a:gd name="connsiteY2" fmla="*/ 83513 h 4493158"/>
                <a:gd name="connsiteX3" fmla="*/ 750291 w 1874329"/>
                <a:gd name="connsiteY3" fmla="*/ 1317868 h 4493158"/>
                <a:gd name="connsiteX4" fmla="*/ 749866 w 1874329"/>
                <a:gd name="connsiteY4" fmla="*/ 1317868 h 4493158"/>
                <a:gd name="connsiteX5" fmla="*/ 775433 w 1874329"/>
                <a:gd name="connsiteY5" fmla="*/ 1450894 h 4493158"/>
                <a:gd name="connsiteX6" fmla="*/ 784951 w 1874329"/>
                <a:gd name="connsiteY6" fmla="*/ 1498127 h 4493158"/>
                <a:gd name="connsiteX7" fmla="*/ 787791 w 1874329"/>
                <a:gd name="connsiteY7" fmla="*/ 1512212 h 4493158"/>
                <a:gd name="connsiteX8" fmla="*/ 788076 w 1874329"/>
                <a:gd name="connsiteY8" fmla="*/ 1513352 h 4493158"/>
                <a:gd name="connsiteX9" fmla="*/ 790775 w 1874329"/>
                <a:gd name="connsiteY9" fmla="*/ 1525728 h 4493158"/>
                <a:gd name="connsiteX10" fmla="*/ 1169604 w 1874329"/>
                <a:gd name="connsiteY10" fmla="*/ 2793945 h 4493158"/>
                <a:gd name="connsiteX11" fmla="*/ 1244318 w 1874329"/>
                <a:gd name="connsiteY11" fmla="*/ 2977191 h 4493158"/>
                <a:gd name="connsiteX12" fmla="*/ 1244745 w 1874329"/>
                <a:gd name="connsiteY12" fmla="*/ 2978330 h 4493158"/>
                <a:gd name="connsiteX13" fmla="*/ 1244603 w 1874329"/>
                <a:gd name="connsiteY13" fmla="*/ 2978187 h 4493158"/>
                <a:gd name="connsiteX14" fmla="*/ 1860788 w 1874329"/>
                <a:gd name="connsiteY14" fmla="*/ 4151792 h 4493158"/>
                <a:gd name="connsiteX15" fmla="*/ 1836640 w 1874329"/>
                <a:gd name="connsiteY15" fmla="*/ 4269024 h 4493158"/>
                <a:gd name="connsiteX16" fmla="*/ 1534779 w 1874329"/>
                <a:gd name="connsiteY16" fmla="*/ 4471914 h 4493158"/>
                <a:gd name="connsiteX17" fmla="*/ 1335909 w 1874329"/>
                <a:gd name="connsiteY17" fmla="*/ 4493158 h 4493158"/>
                <a:gd name="connsiteX18" fmla="*/ 1151981 w 1874329"/>
                <a:gd name="connsiteY18" fmla="*/ 4191519 h 4493158"/>
                <a:gd name="connsiteX19" fmla="*/ 668190 w 1874329"/>
                <a:gd name="connsiteY19" fmla="*/ 3221758 h 4493158"/>
                <a:gd name="connsiteX20" fmla="*/ 665349 w 1874329"/>
                <a:gd name="connsiteY20" fmla="*/ 3214929 h 4493158"/>
                <a:gd name="connsiteX21" fmla="*/ 590209 w 1874329"/>
                <a:gd name="connsiteY21" fmla="*/ 3030543 h 4493158"/>
                <a:gd name="connsiteX22" fmla="*/ 173737 w 1874329"/>
                <a:gd name="connsiteY22" fmla="*/ 1633430 h 4493158"/>
                <a:gd name="connsiteX23" fmla="*/ 135812 w 1874329"/>
                <a:gd name="connsiteY23" fmla="*/ 1437947 h 4493158"/>
                <a:gd name="connsiteX24" fmla="*/ 19 w 1874329"/>
                <a:gd name="connsiteY24" fmla="*/ 86786 h 4493158"/>
                <a:gd name="connsiteX25" fmla="*/ 85244 w 1874329"/>
                <a:gd name="connsiteY25" fmla="*/ 1 h 449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74329" h="4493158">
                  <a:moveTo>
                    <a:pt x="85244" y="1"/>
                  </a:moveTo>
                  <a:lnTo>
                    <a:pt x="541346" y="0"/>
                  </a:lnTo>
                  <a:cubicBezTo>
                    <a:pt x="587653" y="0"/>
                    <a:pt x="625151" y="37133"/>
                    <a:pt x="626145" y="83513"/>
                  </a:cubicBezTo>
                  <a:cubicBezTo>
                    <a:pt x="635521" y="500656"/>
                    <a:pt x="677139" y="912678"/>
                    <a:pt x="750291" y="1317868"/>
                  </a:cubicBezTo>
                  <a:lnTo>
                    <a:pt x="749866" y="1317868"/>
                  </a:lnTo>
                  <a:cubicBezTo>
                    <a:pt x="757961" y="1362259"/>
                    <a:pt x="766626" y="1406646"/>
                    <a:pt x="775433" y="1450894"/>
                  </a:cubicBezTo>
                  <a:cubicBezTo>
                    <a:pt x="778558" y="1466686"/>
                    <a:pt x="781682" y="1482335"/>
                    <a:pt x="784951" y="1498127"/>
                  </a:cubicBezTo>
                  <a:cubicBezTo>
                    <a:pt x="785945" y="1502823"/>
                    <a:pt x="786797" y="1507517"/>
                    <a:pt x="787791" y="1512212"/>
                  </a:cubicBezTo>
                  <a:cubicBezTo>
                    <a:pt x="787933" y="1512498"/>
                    <a:pt x="788075" y="1512924"/>
                    <a:pt x="788076" y="1513352"/>
                  </a:cubicBezTo>
                  <a:cubicBezTo>
                    <a:pt x="788928" y="1517477"/>
                    <a:pt x="789921" y="1521603"/>
                    <a:pt x="790775" y="1525728"/>
                  </a:cubicBezTo>
                  <a:cubicBezTo>
                    <a:pt x="880830" y="1957383"/>
                    <a:pt x="1007106" y="2380928"/>
                    <a:pt x="1169604" y="2793945"/>
                  </a:cubicBezTo>
                  <a:cubicBezTo>
                    <a:pt x="1193751" y="2855264"/>
                    <a:pt x="1218609" y="2916299"/>
                    <a:pt x="1244318" y="2977191"/>
                  </a:cubicBezTo>
                  <a:cubicBezTo>
                    <a:pt x="1244460" y="2977617"/>
                    <a:pt x="1244745" y="2978330"/>
                    <a:pt x="1244745" y="2978330"/>
                  </a:cubicBezTo>
                  <a:lnTo>
                    <a:pt x="1244603" y="2978187"/>
                  </a:lnTo>
                  <a:cubicBezTo>
                    <a:pt x="1417896" y="3388216"/>
                    <a:pt x="1623717" y="3780033"/>
                    <a:pt x="1860788" y="4151792"/>
                  </a:cubicBezTo>
                  <a:cubicBezTo>
                    <a:pt x="1885788" y="4191059"/>
                    <a:pt x="1875276" y="4243131"/>
                    <a:pt x="1836640" y="4269024"/>
                  </a:cubicBezTo>
                  <a:lnTo>
                    <a:pt x="1534779" y="4471914"/>
                  </a:lnTo>
                  <a:lnTo>
                    <a:pt x="1335909" y="4493158"/>
                  </a:lnTo>
                  <a:lnTo>
                    <a:pt x="1151981" y="4191519"/>
                  </a:lnTo>
                  <a:cubicBezTo>
                    <a:pt x="971062" y="3880149"/>
                    <a:pt x="809559" y="3556595"/>
                    <a:pt x="668190" y="3221758"/>
                  </a:cubicBezTo>
                  <a:cubicBezTo>
                    <a:pt x="667196" y="3219480"/>
                    <a:pt x="666345" y="3217204"/>
                    <a:pt x="665349" y="3214929"/>
                  </a:cubicBezTo>
                  <a:cubicBezTo>
                    <a:pt x="639640" y="3153751"/>
                    <a:pt x="614498" y="3092289"/>
                    <a:pt x="590209" y="3030543"/>
                  </a:cubicBezTo>
                  <a:cubicBezTo>
                    <a:pt x="410807" y="2575556"/>
                    <a:pt x="271889" y="2109046"/>
                    <a:pt x="173737" y="1633430"/>
                  </a:cubicBezTo>
                  <a:cubicBezTo>
                    <a:pt x="160384" y="1568411"/>
                    <a:pt x="147743" y="1503249"/>
                    <a:pt x="135812" y="1437947"/>
                  </a:cubicBezTo>
                  <a:cubicBezTo>
                    <a:pt x="55272" y="994484"/>
                    <a:pt x="9677" y="543338"/>
                    <a:pt x="19" y="86786"/>
                  </a:cubicBezTo>
                  <a:cubicBezTo>
                    <a:pt x="-977" y="39125"/>
                    <a:pt x="37660" y="0"/>
                    <a:pt x="85244" y="1"/>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19" name="Freeform: Shape 118">
              <a:extLst>
                <a:ext uri="{FF2B5EF4-FFF2-40B4-BE49-F238E27FC236}">
                  <a16:creationId xmlns:a16="http://schemas.microsoft.com/office/drawing/2014/main" id="{DAA0AED3-6A8A-3F36-CDBD-E0584DA40E1F}"/>
                </a:ext>
              </a:extLst>
            </p:cNvPr>
            <p:cNvSpPr/>
            <p:nvPr userDrawn="1"/>
          </p:nvSpPr>
          <p:spPr>
            <a:xfrm rot="365846">
              <a:off x="6610762" y="-122945"/>
              <a:ext cx="2295303" cy="1060907"/>
            </a:xfrm>
            <a:custGeom>
              <a:avLst/>
              <a:gdLst>
                <a:gd name="connsiteX0" fmla="*/ 89739 w 2295303"/>
                <a:gd name="connsiteY0" fmla="*/ 233636 h 1060907"/>
                <a:gd name="connsiteX1" fmla="*/ 2276854 w 2295303"/>
                <a:gd name="connsiteY1" fmla="*/ 0 h 1060907"/>
                <a:gd name="connsiteX2" fmla="*/ 2288401 w 2295303"/>
                <a:gd name="connsiteY2" fmla="*/ 17139 h 1060907"/>
                <a:gd name="connsiteX3" fmla="*/ 2289591 w 2295303"/>
                <a:gd name="connsiteY3" fmla="*/ 81144 h 1060907"/>
                <a:gd name="connsiteX4" fmla="*/ 2011043 w 2295303"/>
                <a:gd name="connsiteY4" fmla="*/ 994816 h 1060907"/>
                <a:gd name="connsiteX5" fmla="*/ 1911613 w 2295303"/>
                <a:gd name="connsiteY5" fmla="*/ 1059265 h 1060907"/>
                <a:gd name="connsiteX6" fmla="*/ 795009 w 2295303"/>
                <a:gd name="connsiteY6" fmla="*/ 839029 h 1060907"/>
                <a:gd name="connsiteX7" fmla="*/ 793163 w 2295303"/>
                <a:gd name="connsiteY7" fmla="*/ 838602 h 1060907"/>
                <a:gd name="connsiteX8" fmla="*/ 599841 w 2295303"/>
                <a:gd name="connsiteY8" fmla="*/ 800473 h 1060907"/>
                <a:gd name="connsiteX9" fmla="*/ 597996 w 2295303"/>
                <a:gd name="connsiteY9" fmla="*/ 800045 h 1060907"/>
                <a:gd name="connsiteX10" fmla="*/ 68883 w 2295303"/>
                <a:gd name="connsiteY10" fmla="*/ 695760 h 1060907"/>
                <a:gd name="connsiteX11" fmla="*/ 1983 w 2295303"/>
                <a:gd name="connsiteY11" fmla="*/ 594178 h 1060907"/>
                <a:gd name="connsiteX12" fmla="*/ 81424 w 2295303"/>
                <a:gd name="connsiteY12" fmla="*/ 263024 h 1060907"/>
                <a:gd name="connsiteX13" fmla="*/ 89739 w 2295303"/>
                <a:gd name="connsiteY13" fmla="*/ 233636 h 106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95303" h="1060907">
                  <a:moveTo>
                    <a:pt x="89739" y="233636"/>
                  </a:moveTo>
                  <a:lnTo>
                    <a:pt x="2276854" y="0"/>
                  </a:lnTo>
                  <a:lnTo>
                    <a:pt x="2288401" y="17139"/>
                  </a:lnTo>
                  <a:cubicBezTo>
                    <a:pt x="2296836" y="36826"/>
                    <a:pt x="2297901" y="59661"/>
                    <a:pt x="2289591" y="81144"/>
                  </a:cubicBezTo>
                  <a:cubicBezTo>
                    <a:pt x="2173826" y="379490"/>
                    <a:pt x="2080929" y="684521"/>
                    <a:pt x="2011043" y="994816"/>
                  </a:cubicBezTo>
                  <a:cubicBezTo>
                    <a:pt x="2000959" y="1039632"/>
                    <a:pt x="1956783" y="1068229"/>
                    <a:pt x="1911613" y="1059265"/>
                  </a:cubicBezTo>
                  <a:lnTo>
                    <a:pt x="795009" y="839029"/>
                  </a:lnTo>
                  <a:lnTo>
                    <a:pt x="793163" y="838602"/>
                  </a:lnTo>
                  <a:lnTo>
                    <a:pt x="599841" y="800473"/>
                  </a:lnTo>
                  <a:lnTo>
                    <a:pt x="597996" y="800045"/>
                  </a:lnTo>
                  <a:lnTo>
                    <a:pt x="68883" y="695760"/>
                  </a:lnTo>
                  <a:cubicBezTo>
                    <a:pt x="22152" y="686654"/>
                    <a:pt x="-8244" y="640844"/>
                    <a:pt x="1983" y="594178"/>
                  </a:cubicBezTo>
                  <a:cubicBezTo>
                    <a:pt x="26236" y="483277"/>
                    <a:pt x="52718" y="372882"/>
                    <a:pt x="81424" y="263024"/>
                  </a:cubicBezTo>
                  <a:lnTo>
                    <a:pt x="89739" y="233636"/>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26" name="Freeform: Shape 125">
              <a:extLst>
                <a:ext uri="{FF2B5EF4-FFF2-40B4-BE49-F238E27FC236}">
                  <a16:creationId xmlns:a16="http://schemas.microsoft.com/office/drawing/2014/main" id="{C6BD1B10-3428-648D-0BD9-9ED6AB9144E9}"/>
                </a:ext>
              </a:extLst>
            </p:cNvPr>
            <p:cNvSpPr/>
            <p:nvPr userDrawn="1"/>
          </p:nvSpPr>
          <p:spPr>
            <a:xfrm rot="365846">
              <a:off x="8799788" y="-103608"/>
              <a:ext cx="1868806" cy="1539836"/>
            </a:xfrm>
            <a:custGeom>
              <a:avLst/>
              <a:gdLst>
                <a:gd name="connsiteX0" fmla="*/ 343523 w 1868806"/>
                <a:gd name="connsiteY0" fmla="*/ 162937 h 1539836"/>
                <a:gd name="connsiteX1" fmla="*/ 1868806 w 1868806"/>
                <a:gd name="connsiteY1" fmla="*/ 0 h 1539836"/>
                <a:gd name="connsiteX2" fmla="*/ 1717984 w 1868806"/>
                <a:gd name="connsiteY2" fmla="*/ 261594 h 1539836"/>
                <a:gd name="connsiteX3" fmla="*/ 1574289 w 1868806"/>
                <a:gd name="connsiteY3" fmla="*/ 553555 h 1539836"/>
                <a:gd name="connsiteX4" fmla="*/ 1569460 w 1868806"/>
                <a:gd name="connsiteY4" fmla="*/ 563941 h 1539836"/>
                <a:gd name="connsiteX5" fmla="*/ 1558381 w 1868806"/>
                <a:gd name="connsiteY5" fmla="*/ 588553 h 1539836"/>
                <a:gd name="connsiteX6" fmla="*/ 1536221 w 1868806"/>
                <a:gd name="connsiteY6" fmla="*/ 640056 h 1539836"/>
                <a:gd name="connsiteX7" fmla="*/ 1522018 w 1868806"/>
                <a:gd name="connsiteY7" fmla="*/ 672637 h 1539836"/>
                <a:gd name="connsiteX8" fmla="*/ 1519177 w 1868806"/>
                <a:gd name="connsiteY8" fmla="*/ 679466 h 1539836"/>
                <a:gd name="connsiteX9" fmla="*/ 1504545 w 1868806"/>
                <a:gd name="connsiteY9" fmla="*/ 715176 h 1539836"/>
                <a:gd name="connsiteX10" fmla="*/ 1481392 w 1868806"/>
                <a:gd name="connsiteY10" fmla="*/ 772085 h 1539836"/>
                <a:gd name="connsiteX11" fmla="*/ 1466762 w 1868806"/>
                <a:gd name="connsiteY11" fmla="*/ 809360 h 1539836"/>
                <a:gd name="connsiteX12" fmla="*/ 1464489 w 1868806"/>
                <a:gd name="connsiteY12" fmla="*/ 815479 h 1539836"/>
                <a:gd name="connsiteX13" fmla="*/ 1261225 w 1868806"/>
                <a:gd name="connsiteY13" fmla="*/ 1474199 h 1539836"/>
                <a:gd name="connsiteX14" fmla="*/ 1161937 w 1868806"/>
                <a:gd name="connsiteY14" fmla="*/ 1538223 h 1539836"/>
                <a:gd name="connsiteX15" fmla="*/ 68770 w 1868806"/>
                <a:gd name="connsiteY15" fmla="*/ 1322679 h 1539836"/>
                <a:gd name="connsiteX16" fmla="*/ 2151 w 1868806"/>
                <a:gd name="connsiteY16" fmla="*/ 1219675 h 1539836"/>
                <a:gd name="connsiteX17" fmla="*/ 297886 w 1868806"/>
                <a:gd name="connsiteY17" fmla="*/ 273564 h 1539836"/>
                <a:gd name="connsiteX18" fmla="*/ 321465 w 1868806"/>
                <a:gd name="connsiteY18" fmla="*/ 215658 h 1539836"/>
                <a:gd name="connsiteX19" fmla="*/ 334108 w 1868806"/>
                <a:gd name="connsiteY19" fmla="*/ 185211 h 1539836"/>
                <a:gd name="connsiteX20" fmla="*/ 339506 w 1868806"/>
                <a:gd name="connsiteY20" fmla="*/ 172266 h 1539836"/>
                <a:gd name="connsiteX21" fmla="*/ 342205 w 1868806"/>
                <a:gd name="connsiteY21" fmla="*/ 166006 h 1539836"/>
                <a:gd name="connsiteX22" fmla="*/ 343523 w 1868806"/>
                <a:gd name="connsiteY22" fmla="*/ 162937 h 153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68806" h="1539836">
                  <a:moveTo>
                    <a:pt x="343523" y="162937"/>
                  </a:moveTo>
                  <a:lnTo>
                    <a:pt x="1868806" y="0"/>
                  </a:lnTo>
                  <a:lnTo>
                    <a:pt x="1717984" y="261594"/>
                  </a:lnTo>
                  <a:cubicBezTo>
                    <a:pt x="1666866" y="357397"/>
                    <a:pt x="1618961" y="454747"/>
                    <a:pt x="1574289" y="553555"/>
                  </a:cubicBezTo>
                  <a:cubicBezTo>
                    <a:pt x="1572727" y="556970"/>
                    <a:pt x="1571022" y="560526"/>
                    <a:pt x="1569460" y="563941"/>
                  </a:cubicBezTo>
                  <a:cubicBezTo>
                    <a:pt x="1565766" y="572193"/>
                    <a:pt x="1562074" y="580303"/>
                    <a:pt x="1558381" y="588553"/>
                  </a:cubicBezTo>
                  <a:cubicBezTo>
                    <a:pt x="1550852" y="605628"/>
                    <a:pt x="1543607" y="622842"/>
                    <a:pt x="1536221" y="640056"/>
                  </a:cubicBezTo>
                  <a:cubicBezTo>
                    <a:pt x="1531534" y="651012"/>
                    <a:pt x="1526562" y="661682"/>
                    <a:pt x="1522018" y="672637"/>
                  </a:cubicBezTo>
                  <a:cubicBezTo>
                    <a:pt x="1521022" y="674914"/>
                    <a:pt x="1520028" y="677190"/>
                    <a:pt x="1519177" y="679466"/>
                  </a:cubicBezTo>
                  <a:cubicBezTo>
                    <a:pt x="1514347" y="691417"/>
                    <a:pt x="1509232" y="703226"/>
                    <a:pt x="1504545" y="715176"/>
                  </a:cubicBezTo>
                  <a:cubicBezTo>
                    <a:pt x="1497018" y="734098"/>
                    <a:pt x="1488921" y="753022"/>
                    <a:pt x="1481392" y="772085"/>
                  </a:cubicBezTo>
                  <a:cubicBezTo>
                    <a:pt x="1476422" y="784462"/>
                    <a:pt x="1471591" y="796982"/>
                    <a:pt x="1466762" y="809360"/>
                  </a:cubicBezTo>
                  <a:cubicBezTo>
                    <a:pt x="1466052" y="811354"/>
                    <a:pt x="1465342" y="813486"/>
                    <a:pt x="1464489" y="815479"/>
                  </a:cubicBezTo>
                  <a:cubicBezTo>
                    <a:pt x="1381252" y="1030879"/>
                    <a:pt x="1313497" y="1250689"/>
                    <a:pt x="1261225" y="1474199"/>
                  </a:cubicBezTo>
                  <a:cubicBezTo>
                    <a:pt x="1250857" y="1518874"/>
                    <a:pt x="1206822" y="1547042"/>
                    <a:pt x="1161937" y="1538223"/>
                  </a:cubicBezTo>
                  <a:lnTo>
                    <a:pt x="68770" y="1322679"/>
                  </a:lnTo>
                  <a:cubicBezTo>
                    <a:pt x="21470" y="1313431"/>
                    <a:pt x="-8501" y="1266766"/>
                    <a:pt x="2151" y="1219675"/>
                  </a:cubicBezTo>
                  <a:cubicBezTo>
                    <a:pt x="75162" y="897855"/>
                    <a:pt x="173883" y="582010"/>
                    <a:pt x="297886" y="273564"/>
                  </a:cubicBezTo>
                  <a:cubicBezTo>
                    <a:pt x="305699" y="254214"/>
                    <a:pt x="313512" y="234865"/>
                    <a:pt x="321465" y="215658"/>
                  </a:cubicBezTo>
                  <a:cubicBezTo>
                    <a:pt x="325727" y="205415"/>
                    <a:pt x="329846" y="195314"/>
                    <a:pt x="334108" y="185211"/>
                  </a:cubicBezTo>
                  <a:cubicBezTo>
                    <a:pt x="335955" y="180945"/>
                    <a:pt x="337659" y="176534"/>
                    <a:pt x="339506" y="172266"/>
                  </a:cubicBezTo>
                  <a:cubicBezTo>
                    <a:pt x="340358" y="170131"/>
                    <a:pt x="341353" y="168139"/>
                    <a:pt x="342205" y="166006"/>
                  </a:cubicBezTo>
                  <a:lnTo>
                    <a:pt x="343523" y="162937"/>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6" name="Freeform: Shape 75">
              <a:extLst>
                <a:ext uri="{FF2B5EF4-FFF2-40B4-BE49-F238E27FC236}">
                  <a16:creationId xmlns:a16="http://schemas.microsoft.com/office/drawing/2014/main" id="{95CFFB58-E032-670B-7652-1DA254123B7D}"/>
                </a:ext>
              </a:extLst>
            </p:cNvPr>
            <p:cNvSpPr/>
            <p:nvPr userDrawn="1"/>
          </p:nvSpPr>
          <p:spPr>
            <a:xfrm rot="365846">
              <a:off x="6305148" y="639047"/>
              <a:ext cx="747334" cy="1452008"/>
            </a:xfrm>
            <a:custGeom>
              <a:avLst/>
              <a:gdLst>
                <a:gd name="connsiteX0" fmla="*/ 191292 w 747334"/>
                <a:gd name="connsiteY0" fmla="*/ 1887 h 1452008"/>
                <a:gd name="connsiteX1" fmla="*/ 225918 w 747334"/>
                <a:gd name="connsiteY1" fmla="*/ 1651 h 1452008"/>
                <a:gd name="connsiteX2" fmla="*/ 678146 w 747334"/>
                <a:gd name="connsiteY2" fmla="*/ 90833 h 1452008"/>
                <a:gd name="connsiteX3" fmla="*/ 746074 w 747334"/>
                <a:gd name="connsiteY3" fmla="*/ 190228 h 1452008"/>
                <a:gd name="connsiteX4" fmla="*/ 667951 w 747334"/>
                <a:gd name="connsiteY4" fmla="*/ 776672 h 1452008"/>
                <a:gd name="connsiteX5" fmla="*/ 633052 w 747334"/>
                <a:gd name="connsiteY5" fmla="*/ 1367142 h 1452008"/>
                <a:gd name="connsiteX6" fmla="*/ 580001 w 747334"/>
                <a:gd name="connsiteY6" fmla="*/ 1445383 h 1452008"/>
                <a:gd name="connsiteX7" fmla="*/ 552678 w 747334"/>
                <a:gd name="connsiteY7" fmla="*/ 1450850 h 1452008"/>
                <a:gd name="connsiteX8" fmla="*/ 490612 w 747334"/>
                <a:gd name="connsiteY8" fmla="*/ 1452008 h 1452008"/>
                <a:gd name="connsiteX9" fmla="*/ 86185 w 747334"/>
                <a:gd name="connsiteY9" fmla="*/ 1452008 h 1452008"/>
                <a:gd name="connsiteX10" fmla="*/ 19 w 747334"/>
                <a:gd name="connsiteY10" fmla="*/ 1364265 h 1452008"/>
                <a:gd name="connsiteX11" fmla="*/ 124385 w 747334"/>
                <a:gd name="connsiteY11" fmla="*/ 71269 h 1452008"/>
                <a:gd name="connsiteX12" fmla="*/ 124385 w 747334"/>
                <a:gd name="connsiteY12" fmla="*/ 71125 h 1452008"/>
                <a:gd name="connsiteX13" fmla="*/ 191292 w 747334"/>
                <a:gd name="connsiteY13" fmla="*/ 1887 h 145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334" h="1452008">
                  <a:moveTo>
                    <a:pt x="191292" y="1887"/>
                  </a:moveTo>
                  <a:cubicBezTo>
                    <a:pt x="202375" y="-480"/>
                    <a:pt x="214106" y="-687"/>
                    <a:pt x="225918" y="1651"/>
                  </a:cubicBezTo>
                  <a:lnTo>
                    <a:pt x="678146" y="90833"/>
                  </a:lnTo>
                  <a:cubicBezTo>
                    <a:pt x="723958" y="99895"/>
                    <a:pt x="753973" y="144053"/>
                    <a:pt x="746074" y="190228"/>
                  </a:cubicBezTo>
                  <a:cubicBezTo>
                    <a:pt x="712900" y="384269"/>
                    <a:pt x="686763" y="579751"/>
                    <a:pt x="667951" y="776672"/>
                  </a:cubicBezTo>
                  <a:cubicBezTo>
                    <a:pt x="649281" y="972152"/>
                    <a:pt x="637505" y="1169071"/>
                    <a:pt x="633052" y="1367142"/>
                  </a:cubicBezTo>
                  <a:cubicBezTo>
                    <a:pt x="632192" y="1402527"/>
                    <a:pt x="610570" y="1432571"/>
                    <a:pt x="580001" y="1445383"/>
                  </a:cubicBezTo>
                  <a:lnTo>
                    <a:pt x="552678" y="1450850"/>
                  </a:lnTo>
                  <a:lnTo>
                    <a:pt x="490612" y="1452008"/>
                  </a:lnTo>
                  <a:lnTo>
                    <a:pt x="86185" y="1452008"/>
                  </a:lnTo>
                  <a:cubicBezTo>
                    <a:pt x="38076" y="1452008"/>
                    <a:pt x="-987" y="1412452"/>
                    <a:pt x="19" y="1364265"/>
                  </a:cubicBezTo>
                  <a:cubicBezTo>
                    <a:pt x="9354" y="927704"/>
                    <a:pt x="51000" y="496179"/>
                    <a:pt x="124385" y="71269"/>
                  </a:cubicBezTo>
                  <a:lnTo>
                    <a:pt x="124385" y="71125"/>
                  </a:lnTo>
                  <a:cubicBezTo>
                    <a:pt x="130632" y="35525"/>
                    <a:pt x="158043" y="8987"/>
                    <a:pt x="191292" y="1887"/>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7" name="Freeform: Shape 76">
              <a:extLst>
                <a:ext uri="{FF2B5EF4-FFF2-40B4-BE49-F238E27FC236}">
                  <a16:creationId xmlns:a16="http://schemas.microsoft.com/office/drawing/2014/main" id="{4989FABA-92D8-2776-60B3-9753F83BCC36}"/>
                </a:ext>
              </a:extLst>
            </p:cNvPr>
            <p:cNvSpPr/>
            <p:nvPr userDrawn="1"/>
          </p:nvSpPr>
          <p:spPr>
            <a:xfrm rot="365846">
              <a:off x="7033841" y="1007402"/>
              <a:ext cx="2769119" cy="2740254"/>
            </a:xfrm>
            <a:custGeom>
              <a:avLst/>
              <a:gdLst>
                <a:gd name="connsiteX0" fmla="*/ 177516 w 2769119"/>
                <a:gd name="connsiteY0" fmla="*/ 1870 h 2740254"/>
                <a:gd name="connsiteX1" fmla="*/ 211864 w 2769119"/>
                <a:gd name="connsiteY1" fmla="*/ 1632 h 2740254"/>
                <a:gd name="connsiteX2" fmla="*/ 1326763 w 2769119"/>
                <a:gd name="connsiteY2" fmla="*/ 221584 h 2740254"/>
                <a:gd name="connsiteX3" fmla="*/ 1328184 w 2769119"/>
                <a:gd name="connsiteY3" fmla="*/ 221869 h 2740254"/>
                <a:gd name="connsiteX4" fmla="*/ 1521931 w 2769119"/>
                <a:gd name="connsiteY4" fmla="*/ 260142 h 2740254"/>
                <a:gd name="connsiteX5" fmla="*/ 1523351 w 2769119"/>
                <a:gd name="connsiteY5" fmla="*/ 260425 h 2740254"/>
                <a:gd name="connsiteX6" fmla="*/ 2700466 w 2769119"/>
                <a:gd name="connsiteY6" fmla="*/ 492613 h 2740254"/>
                <a:gd name="connsiteX7" fmla="*/ 2768078 w 2769119"/>
                <a:gd name="connsiteY7" fmla="*/ 589358 h 2740254"/>
                <a:gd name="connsiteX8" fmla="*/ 2730011 w 2769119"/>
                <a:gd name="connsiteY8" fmla="*/ 891119 h 2740254"/>
                <a:gd name="connsiteX9" fmla="*/ 2706715 w 2769119"/>
                <a:gd name="connsiteY9" fmla="*/ 1276534 h 2740254"/>
                <a:gd name="connsiteX10" fmla="*/ 2706999 w 2769119"/>
                <a:gd name="connsiteY10" fmla="*/ 1276392 h 2740254"/>
                <a:gd name="connsiteX11" fmla="*/ 2706998 w 2769119"/>
                <a:gd name="connsiteY11" fmla="*/ 1475574 h 2740254"/>
                <a:gd name="connsiteX12" fmla="*/ 2766801 w 2769119"/>
                <a:gd name="connsiteY12" fmla="*/ 2154783 h 2740254"/>
                <a:gd name="connsiteX13" fmla="*/ 2699045 w 2769119"/>
                <a:gd name="connsiteY13" fmla="*/ 2251668 h 2740254"/>
                <a:gd name="connsiteX14" fmla="*/ 1520225 w 2769119"/>
                <a:gd name="connsiteY14" fmla="*/ 2482292 h 2740254"/>
                <a:gd name="connsiteX15" fmla="*/ 1519943 w 2769119"/>
                <a:gd name="connsiteY15" fmla="*/ 2482292 h 2740254"/>
                <a:gd name="connsiteX16" fmla="*/ 1324916 w 2769119"/>
                <a:gd name="connsiteY16" fmla="*/ 2520422 h 2740254"/>
                <a:gd name="connsiteX17" fmla="*/ 1324633 w 2769119"/>
                <a:gd name="connsiteY17" fmla="*/ 2520422 h 2740254"/>
                <a:gd name="connsiteX18" fmla="*/ 209024 w 2769119"/>
                <a:gd name="connsiteY18" fmla="*/ 2738668 h 2740254"/>
                <a:gd name="connsiteX19" fmla="*/ 108740 w 2769119"/>
                <a:gd name="connsiteY19" fmla="*/ 2669665 h 2740254"/>
                <a:gd name="connsiteX20" fmla="*/ 504 w 2769119"/>
                <a:gd name="connsiteY20" fmla="*/ 1475573 h 2740254"/>
                <a:gd name="connsiteX21" fmla="*/ 787 w 2769119"/>
                <a:gd name="connsiteY21" fmla="*/ 1276392 h 2740254"/>
                <a:gd name="connsiteX22" fmla="*/ 37577 w 2769119"/>
                <a:gd name="connsiteY22" fmla="*/ 627630 h 2740254"/>
                <a:gd name="connsiteX23" fmla="*/ 111439 w 2769119"/>
                <a:gd name="connsiteY23" fmla="*/ 70633 h 2740254"/>
                <a:gd name="connsiteX24" fmla="*/ 177516 w 2769119"/>
                <a:gd name="connsiteY24" fmla="*/ 1870 h 274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69119" h="2740254">
                  <a:moveTo>
                    <a:pt x="177516" y="1870"/>
                  </a:moveTo>
                  <a:cubicBezTo>
                    <a:pt x="188507" y="-475"/>
                    <a:pt x="200146" y="-680"/>
                    <a:pt x="211864" y="1632"/>
                  </a:cubicBezTo>
                  <a:lnTo>
                    <a:pt x="1326763" y="221584"/>
                  </a:lnTo>
                  <a:lnTo>
                    <a:pt x="1328184" y="221869"/>
                  </a:lnTo>
                  <a:lnTo>
                    <a:pt x="1521931" y="260142"/>
                  </a:lnTo>
                  <a:lnTo>
                    <a:pt x="1523351" y="260425"/>
                  </a:lnTo>
                  <a:lnTo>
                    <a:pt x="2700466" y="492613"/>
                  </a:lnTo>
                  <a:cubicBezTo>
                    <a:pt x="2745209" y="501435"/>
                    <a:pt x="2775181" y="544117"/>
                    <a:pt x="2768078" y="589358"/>
                  </a:cubicBezTo>
                  <a:cubicBezTo>
                    <a:pt x="2752311" y="689377"/>
                    <a:pt x="2739670" y="789962"/>
                    <a:pt x="2730011" y="891119"/>
                  </a:cubicBezTo>
                  <a:cubicBezTo>
                    <a:pt x="2717227" y="1019591"/>
                    <a:pt x="2709414" y="1148063"/>
                    <a:pt x="2706715" y="1276534"/>
                  </a:cubicBezTo>
                  <a:lnTo>
                    <a:pt x="2706999" y="1276392"/>
                  </a:lnTo>
                  <a:cubicBezTo>
                    <a:pt x="2705437" y="1342833"/>
                    <a:pt x="2705721" y="1409274"/>
                    <a:pt x="2706998" y="1475574"/>
                  </a:cubicBezTo>
                  <a:cubicBezTo>
                    <a:pt x="2711261" y="1702782"/>
                    <a:pt x="2731147" y="1929422"/>
                    <a:pt x="2766801" y="2154783"/>
                  </a:cubicBezTo>
                  <a:cubicBezTo>
                    <a:pt x="2774044" y="2200023"/>
                    <a:pt x="2743932" y="2242849"/>
                    <a:pt x="2699045" y="2251668"/>
                  </a:cubicBezTo>
                  <a:cubicBezTo>
                    <a:pt x="2699045" y="2251668"/>
                    <a:pt x="1520225" y="2482292"/>
                    <a:pt x="1520225" y="2482292"/>
                  </a:cubicBezTo>
                  <a:lnTo>
                    <a:pt x="1519943" y="2482292"/>
                  </a:lnTo>
                  <a:cubicBezTo>
                    <a:pt x="1519943" y="2482292"/>
                    <a:pt x="1324916" y="2520422"/>
                    <a:pt x="1324916" y="2520422"/>
                  </a:cubicBezTo>
                  <a:lnTo>
                    <a:pt x="1324633" y="2520422"/>
                  </a:lnTo>
                  <a:lnTo>
                    <a:pt x="209024" y="2738668"/>
                  </a:lnTo>
                  <a:cubicBezTo>
                    <a:pt x="162290" y="2747772"/>
                    <a:pt x="116837" y="2716758"/>
                    <a:pt x="108740" y="2669665"/>
                  </a:cubicBezTo>
                  <a:cubicBezTo>
                    <a:pt x="41269" y="2273721"/>
                    <a:pt x="5190" y="1875074"/>
                    <a:pt x="504" y="1475573"/>
                  </a:cubicBezTo>
                  <a:cubicBezTo>
                    <a:pt x="-208" y="1409132"/>
                    <a:pt x="-208" y="1342834"/>
                    <a:pt x="787" y="1276392"/>
                  </a:cubicBezTo>
                  <a:cubicBezTo>
                    <a:pt x="3913" y="1060280"/>
                    <a:pt x="16127" y="843885"/>
                    <a:pt x="37577" y="627630"/>
                  </a:cubicBezTo>
                  <a:cubicBezTo>
                    <a:pt x="55473" y="440685"/>
                    <a:pt x="80048" y="254876"/>
                    <a:pt x="111439" y="70633"/>
                  </a:cubicBezTo>
                  <a:cubicBezTo>
                    <a:pt x="117405" y="35207"/>
                    <a:pt x="144545" y="8905"/>
                    <a:pt x="177516" y="1870"/>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8" name="Freeform: Shape 77">
              <a:extLst>
                <a:ext uri="{FF2B5EF4-FFF2-40B4-BE49-F238E27FC236}">
                  <a16:creationId xmlns:a16="http://schemas.microsoft.com/office/drawing/2014/main" id="{FB4AE1F2-575F-3FC9-9799-ACDA42D3554F}"/>
                </a:ext>
              </a:extLst>
            </p:cNvPr>
            <p:cNvSpPr/>
            <p:nvPr userDrawn="1"/>
          </p:nvSpPr>
          <p:spPr>
            <a:xfrm rot="365846">
              <a:off x="8431663" y="3439888"/>
              <a:ext cx="2094518" cy="1319715"/>
            </a:xfrm>
            <a:custGeom>
              <a:avLst/>
              <a:gdLst>
                <a:gd name="connsiteX0" fmla="*/ 1855811 w 2094518"/>
                <a:gd name="connsiteY0" fmla="*/ 1615 h 1319715"/>
                <a:gd name="connsiteX1" fmla="*/ 1954956 w 2094518"/>
                <a:gd name="connsiteY1" fmla="*/ 65353 h 1319715"/>
                <a:gd name="connsiteX2" fmla="*/ 2089473 w 2094518"/>
                <a:gd name="connsiteY2" fmla="*/ 517067 h 1319715"/>
                <a:gd name="connsiteX3" fmla="*/ 2041462 w 2094518"/>
                <a:gd name="connsiteY3" fmla="*/ 624767 h 1319715"/>
                <a:gd name="connsiteX4" fmla="*/ 1647576 w 2094518"/>
                <a:gd name="connsiteY4" fmla="*/ 785677 h 1319715"/>
                <a:gd name="connsiteX5" fmla="*/ 1646724 w 2094518"/>
                <a:gd name="connsiteY5" fmla="*/ 785963 h 1319715"/>
                <a:gd name="connsiteX6" fmla="*/ 1464055 w 2094518"/>
                <a:gd name="connsiteY6" fmla="*/ 860655 h 1319715"/>
                <a:gd name="connsiteX7" fmla="*/ 1463771 w 2094518"/>
                <a:gd name="connsiteY7" fmla="*/ 860655 h 1319715"/>
                <a:gd name="connsiteX8" fmla="*/ 355833 w 2094518"/>
                <a:gd name="connsiteY8" fmla="*/ 1313366 h 1319715"/>
                <a:gd name="connsiteX9" fmla="*/ 243617 w 2094518"/>
                <a:gd name="connsiteY9" fmla="*/ 1263996 h 1319715"/>
                <a:gd name="connsiteX10" fmla="*/ 2144 w 2094518"/>
                <a:gd name="connsiteY10" fmla="*/ 454184 h 1319715"/>
                <a:gd name="connsiteX11" fmla="*/ 68904 w 2094518"/>
                <a:gd name="connsiteY11" fmla="*/ 351179 h 1319715"/>
                <a:gd name="connsiteX12" fmla="*/ 1243603 w 2094518"/>
                <a:gd name="connsiteY12" fmla="*/ 121408 h 1319715"/>
                <a:gd name="connsiteX13" fmla="*/ 1437493 w 2094518"/>
                <a:gd name="connsiteY13" fmla="*/ 83279 h 1319715"/>
                <a:gd name="connsiteX14" fmla="*/ 1438487 w 2094518"/>
                <a:gd name="connsiteY14" fmla="*/ 83279 h 1319715"/>
                <a:gd name="connsiteX15" fmla="*/ 1855811 w 2094518"/>
                <a:gd name="connsiteY15" fmla="*/ 1615 h 131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4518" h="1319715">
                  <a:moveTo>
                    <a:pt x="1855811" y="1615"/>
                  </a:moveTo>
                  <a:cubicBezTo>
                    <a:pt x="1900696" y="-7206"/>
                    <a:pt x="1944447" y="20964"/>
                    <a:pt x="1954956" y="65353"/>
                  </a:cubicBezTo>
                  <a:cubicBezTo>
                    <a:pt x="1991320" y="218153"/>
                    <a:pt x="2036206" y="368821"/>
                    <a:pt x="2089473" y="517067"/>
                  </a:cubicBezTo>
                  <a:cubicBezTo>
                    <a:pt x="2104955" y="560033"/>
                    <a:pt x="2083649" y="607552"/>
                    <a:pt x="2041462" y="624767"/>
                  </a:cubicBezTo>
                  <a:lnTo>
                    <a:pt x="1647576" y="785677"/>
                  </a:lnTo>
                  <a:lnTo>
                    <a:pt x="1646724" y="785963"/>
                  </a:lnTo>
                  <a:cubicBezTo>
                    <a:pt x="1646724" y="785963"/>
                    <a:pt x="1464055" y="860655"/>
                    <a:pt x="1464055" y="860655"/>
                  </a:cubicBezTo>
                  <a:lnTo>
                    <a:pt x="1463771" y="860655"/>
                  </a:lnTo>
                  <a:lnTo>
                    <a:pt x="355833" y="1313366"/>
                  </a:lnTo>
                  <a:cubicBezTo>
                    <a:pt x="311230" y="1331576"/>
                    <a:pt x="260522" y="1309239"/>
                    <a:pt x="243617" y="1263996"/>
                  </a:cubicBezTo>
                  <a:cubicBezTo>
                    <a:pt x="145324" y="1000652"/>
                    <a:pt x="64643" y="730476"/>
                    <a:pt x="2144" y="454184"/>
                  </a:cubicBezTo>
                  <a:cubicBezTo>
                    <a:pt x="-8509" y="407092"/>
                    <a:pt x="21603" y="360426"/>
                    <a:pt x="68904" y="351179"/>
                  </a:cubicBezTo>
                  <a:cubicBezTo>
                    <a:pt x="68904" y="351179"/>
                    <a:pt x="1243603" y="121408"/>
                    <a:pt x="1243603" y="121408"/>
                  </a:cubicBezTo>
                  <a:cubicBezTo>
                    <a:pt x="1243603" y="121408"/>
                    <a:pt x="1437493" y="83279"/>
                    <a:pt x="1437493" y="83279"/>
                  </a:cubicBezTo>
                  <a:lnTo>
                    <a:pt x="1438487" y="83279"/>
                  </a:lnTo>
                  <a:lnTo>
                    <a:pt x="1855811" y="1615"/>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79" name="Freeform: Shape 78">
              <a:extLst>
                <a:ext uri="{FF2B5EF4-FFF2-40B4-BE49-F238E27FC236}">
                  <a16:creationId xmlns:a16="http://schemas.microsoft.com/office/drawing/2014/main" id="{0EB28DC2-1EC9-D2D5-216E-710668D6E9B7}"/>
                </a:ext>
              </a:extLst>
            </p:cNvPr>
            <p:cNvSpPr/>
            <p:nvPr userDrawn="1"/>
          </p:nvSpPr>
          <p:spPr>
            <a:xfrm rot="365846">
              <a:off x="6922110" y="3703510"/>
              <a:ext cx="2052989" cy="2822708"/>
            </a:xfrm>
            <a:custGeom>
              <a:avLst/>
              <a:gdLst>
                <a:gd name="connsiteX0" fmla="*/ 1099059 w 2052989"/>
                <a:gd name="connsiteY0" fmla="*/ 1597 h 2822708"/>
                <a:gd name="connsiteX1" fmla="*/ 1198491 w 2052989"/>
                <a:gd name="connsiteY1" fmla="*/ 66332 h 2822708"/>
                <a:gd name="connsiteX2" fmla="*/ 1483572 w 2052989"/>
                <a:gd name="connsiteY2" fmla="*/ 1001203 h 2822708"/>
                <a:gd name="connsiteX3" fmla="*/ 1551327 w 2052989"/>
                <a:gd name="connsiteY3" fmla="*/ 1168232 h 2822708"/>
                <a:gd name="connsiteX4" fmla="*/ 1558854 w 2052989"/>
                <a:gd name="connsiteY4" fmla="*/ 1185588 h 2822708"/>
                <a:gd name="connsiteX5" fmla="*/ 1558854 w 2052989"/>
                <a:gd name="connsiteY5" fmla="*/ 1185446 h 2822708"/>
                <a:gd name="connsiteX6" fmla="*/ 2039957 w 2052989"/>
                <a:gd name="connsiteY6" fmla="*/ 2104383 h 2822708"/>
                <a:gd name="connsiteX7" fmla="*/ 2015098 w 2052989"/>
                <a:gd name="connsiteY7" fmla="*/ 2220477 h 2822708"/>
                <a:gd name="connsiteX8" fmla="*/ 1140536 w 2052989"/>
                <a:gd name="connsiteY8" fmla="*/ 2808204 h 2822708"/>
                <a:gd name="connsiteX9" fmla="*/ 1020936 w 2052989"/>
                <a:gd name="connsiteY9" fmla="*/ 2782879 h 2822708"/>
                <a:gd name="connsiteX10" fmla="*/ 425916 w 2052989"/>
                <a:gd name="connsiteY10" fmla="*/ 1648401 h 2822708"/>
                <a:gd name="connsiteX11" fmla="*/ 424354 w 2052989"/>
                <a:gd name="connsiteY11" fmla="*/ 1644843 h 2822708"/>
                <a:gd name="connsiteX12" fmla="*/ 350632 w 2052989"/>
                <a:gd name="connsiteY12" fmla="*/ 1464015 h 2822708"/>
                <a:gd name="connsiteX13" fmla="*/ 2769 w 2052989"/>
                <a:gd name="connsiteY13" fmla="*/ 308194 h 2822708"/>
                <a:gd name="connsiteX14" fmla="*/ 68961 w 2052989"/>
                <a:gd name="connsiteY14" fmla="*/ 203055 h 2822708"/>
                <a:gd name="connsiteX15" fmla="*/ 1099059 w 2052989"/>
                <a:gd name="connsiteY15" fmla="*/ 1597 h 28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52989" h="2822708">
                  <a:moveTo>
                    <a:pt x="1099059" y="1597"/>
                  </a:moveTo>
                  <a:cubicBezTo>
                    <a:pt x="1144231" y="-7225"/>
                    <a:pt x="1188405" y="21373"/>
                    <a:pt x="1198491" y="66332"/>
                  </a:cubicBezTo>
                  <a:cubicBezTo>
                    <a:pt x="1269371" y="384024"/>
                    <a:pt x="1364539" y="696030"/>
                    <a:pt x="1483572" y="1001203"/>
                  </a:cubicBezTo>
                  <a:cubicBezTo>
                    <a:pt x="1505446" y="1057115"/>
                    <a:pt x="1527889" y="1112744"/>
                    <a:pt x="1551327" y="1168232"/>
                  </a:cubicBezTo>
                  <a:cubicBezTo>
                    <a:pt x="1553884" y="1174063"/>
                    <a:pt x="1556439" y="1179756"/>
                    <a:pt x="1558854" y="1185588"/>
                  </a:cubicBezTo>
                  <a:lnTo>
                    <a:pt x="1558854" y="1185446"/>
                  </a:lnTo>
                  <a:cubicBezTo>
                    <a:pt x="1695217" y="1505843"/>
                    <a:pt x="1855869" y="1812583"/>
                    <a:pt x="2039957" y="2104383"/>
                  </a:cubicBezTo>
                  <a:cubicBezTo>
                    <a:pt x="2064529" y="2143366"/>
                    <a:pt x="2053309" y="2194869"/>
                    <a:pt x="2015098" y="2220477"/>
                  </a:cubicBezTo>
                  <a:lnTo>
                    <a:pt x="1140536" y="2808204"/>
                  </a:lnTo>
                  <a:cubicBezTo>
                    <a:pt x="1100623" y="2835094"/>
                    <a:pt x="1046788" y="2823427"/>
                    <a:pt x="1020936" y="2782879"/>
                  </a:cubicBezTo>
                  <a:cubicBezTo>
                    <a:pt x="792247" y="2423357"/>
                    <a:pt x="593526" y="2044630"/>
                    <a:pt x="425916" y="1648401"/>
                  </a:cubicBezTo>
                  <a:cubicBezTo>
                    <a:pt x="425348" y="1647120"/>
                    <a:pt x="424780" y="1645981"/>
                    <a:pt x="424354" y="1644843"/>
                  </a:cubicBezTo>
                  <a:cubicBezTo>
                    <a:pt x="398928" y="1584805"/>
                    <a:pt x="374354" y="1524480"/>
                    <a:pt x="350632" y="1464015"/>
                  </a:cubicBezTo>
                  <a:cubicBezTo>
                    <a:pt x="223787" y="1141057"/>
                    <a:pt x="61574" y="534265"/>
                    <a:pt x="2769" y="308194"/>
                  </a:cubicBezTo>
                  <a:cubicBezTo>
                    <a:pt x="-9589" y="260675"/>
                    <a:pt x="20665" y="212446"/>
                    <a:pt x="68961" y="203055"/>
                  </a:cubicBezTo>
                  <a:lnTo>
                    <a:pt x="1099059" y="1597"/>
                  </a:ln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80" name="Freeform: Shape 79">
              <a:extLst>
                <a:ext uri="{FF2B5EF4-FFF2-40B4-BE49-F238E27FC236}">
                  <a16:creationId xmlns:a16="http://schemas.microsoft.com/office/drawing/2014/main" id="{334F2107-4CA4-3E81-D0D9-518D8A67C383}"/>
                </a:ext>
              </a:extLst>
            </p:cNvPr>
            <p:cNvSpPr/>
            <p:nvPr userDrawn="1"/>
          </p:nvSpPr>
          <p:spPr>
            <a:xfrm rot="365846">
              <a:off x="8692733" y="4513178"/>
              <a:ext cx="1513481" cy="1378453"/>
            </a:xfrm>
            <a:custGeom>
              <a:avLst/>
              <a:gdLst>
                <a:gd name="connsiteX0" fmla="*/ 1116490 w 1513481"/>
                <a:gd name="connsiteY0" fmla="*/ 1 h 1378453"/>
                <a:gd name="connsiteX1" fmla="*/ 1193792 w 1513481"/>
                <a:gd name="connsiteY1" fmla="*/ 49978 h 1378453"/>
                <a:gd name="connsiteX2" fmla="*/ 1500748 w 1513481"/>
                <a:gd name="connsiteY2" fmla="*/ 627605 h 1378453"/>
                <a:gd name="connsiteX3" fmla="*/ 1475748 w 1513481"/>
                <a:gd name="connsiteY3" fmla="*/ 743129 h 1378453"/>
                <a:gd name="connsiteX4" fmla="*/ 551898 w 1513481"/>
                <a:gd name="connsiteY4" fmla="*/ 1364005 h 1378453"/>
                <a:gd name="connsiteX5" fmla="*/ 432012 w 1513481"/>
                <a:gd name="connsiteY5" fmla="*/ 1338254 h 1378453"/>
                <a:gd name="connsiteX6" fmla="*/ 7445 w 1513481"/>
                <a:gd name="connsiteY6" fmla="*/ 541530 h 1378453"/>
                <a:gd name="connsiteX7" fmla="*/ 53040 w 1513481"/>
                <a:gd name="connsiteY7" fmla="*/ 427426 h 1378453"/>
                <a:gd name="connsiteX8" fmla="*/ 1084135 w 1513481"/>
                <a:gd name="connsiteY8" fmla="*/ 6159 h 1378453"/>
                <a:gd name="connsiteX9" fmla="*/ 1084136 w 1513481"/>
                <a:gd name="connsiteY9" fmla="*/ 6301 h 1378453"/>
                <a:gd name="connsiteX10" fmla="*/ 1116490 w 1513481"/>
                <a:gd name="connsiteY10" fmla="*/ 1 h 137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3481" h="1378453">
                  <a:moveTo>
                    <a:pt x="1116490" y="1"/>
                  </a:moveTo>
                  <a:cubicBezTo>
                    <a:pt x="1148889" y="94"/>
                    <a:pt x="1179730" y="18715"/>
                    <a:pt x="1193792" y="49978"/>
                  </a:cubicBezTo>
                  <a:cubicBezTo>
                    <a:pt x="1283848" y="249872"/>
                    <a:pt x="1386262" y="442650"/>
                    <a:pt x="1500748" y="627605"/>
                  </a:cubicBezTo>
                  <a:cubicBezTo>
                    <a:pt x="1524897" y="666585"/>
                    <a:pt x="1513675" y="717661"/>
                    <a:pt x="1475748" y="743129"/>
                  </a:cubicBezTo>
                  <a:lnTo>
                    <a:pt x="551898" y="1364005"/>
                  </a:lnTo>
                  <a:cubicBezTo>
                    <a:pt x="511842" y="1390895"/>
                    <a:pt x="457723" y="1379087"/>
                    <a:pt x="432012" y="1338254"/>
                  </a:cubicBezTo>
                  <a:cubicBezTo>
                    <a:pt x="270793" y="1081738"/>
                    <a:pt x="129176" y="815689"/>
                    <a:pt x="7445" y="541530"/>
                  </a:cubicBezTo>
                  <a:cubicBezTo>
                    <a:pt x="-12157" y="497282"/>
                    <a:pt x="8296" y="445637"/>
                    <a:pt x="53040" y="427426"/>
                  </a:cubicBezTo>
                  <a:lnTo>
                    <a:pt x="1084135" y="6159"/>
                  </a:lnTo>
                  <a:lnTo>
                    <a:pt x="1084136" y="6301"/>
                  </a:lnTo>
                  <a:cubicBezTo>
                    <a:pt x="1094718" y="1998"/>
                    <a:pt x="1105690" y="-30"/>
                    <a:pt x="1116490" y="1"/>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sp>
          <p:nvSpPr>
            <p:cNvPr id="101" name="Freeform: Shape 100">
              <a:extLst>
                <a:ext uri="{FF2B5EF4-FFF2-40B4-BE49-F238E27FC236}">
                  <a16:creationId xmlns:a16="http://schemas.microsoft.com/office/drawing/2014/main" id="{065B84B7-27AE-1D50-B1BE-C207F463F670}"/>
                </a:ext>
              </a:extLst>
            </p:cNvPr>
            <p:cNvSpPr/>
            <p:nvPr userDrawn="1"/>
          </p:nvSpPr>
          <p:spPr>
            <a:xfrm rot="365846">
              <a:off x="9214563" y="5505422"/>
              <a:ext cx="2216841" cy="1429572"/>
            </a:xfrm>
            <a:custGeom>
              <a:avLst/>
              <a:gdLst>
                <a:gd name="connsiteX0" fmla="*/ 992067 w 2216841"/>
                <a:gd name="connsiteY0" fmla="*/ 1719 h 1429572"/>
                <a:gd name="connsiteX1" fmla="*/ 1077879 w 2216841"/>
                <a:gd name="connsiteY1" fmla="*/ 35092 h 1429572"/>
                <a:gd name="connsiteX2" fmla="*/ 1255860 w 2216841"/>
                <a:gd name="connsiteY2" fmla="*/ 265998 h 1429572"/>
                <a:gd name="connsiteX3" fmla="*/ 1263529 w 2216841"/>
                <a:gd name="connsiteY3" fmla="*/ 275529 h 1429572"/>
                <a:gd name="connsiteX4" fmla="*/ 1271625 w 2216841"/>
                <a:gd name="connsiteY4" fmla="*/ 285206 h 1429572"/>
                <a:gd name="connsiteX5" fmla="*/ 1519491 w 2216841"/>
                <a:gd name="connsiteY5" fmla="*/ 564201 h 1429572"/>
                <a:gd name="connsiteX6" fmla="*/ 1659972 w 2216841"/>
                <a:gd name="connsiteY6" fmla="*/ 705192 h 1429572"/>
                <a:gd name="connsiteX7" fmla="*/ 1659973 w 2216841"/>
                <a:gd name="connsiteY7" fmla="*/ 705336 h 1429572"/>
                <a:gd name="connsiteX8" fmla="*/ 2181841 w 2216841"/>
                <a:gd name="connsiteY8" fmla="*/ 1143108 h 1429572"/>
                <a:gd name="connsiteX9" fmla="*/ 2215098 w 2216841"/>
                <a:gd name="connsiteY9" fmla="*/ 1229197 h 1429572"/>
                <a:gd name="connsiteX10" fmla="*/ 2204122 w 2216841"/>
                <a:gd name="connsiteY10" fmla="*/ 1255283 h 1429572"/>
                <a:gd name="connsiteX11" fmla="*/ 572562 w 2216841"/>
                <a:gd name="connsiteY11" fmla="*/ 1429572 h 1429572"/>
                <a:gd name="connsiteX12" fmla="*/ 443336 w 2216841"/>
                <a:gd name="connsiteY12" fmla="*/ 1290963 h 1429572"/>
                <a:gd name="connsiteX13" fmla="*/ 281869 w 2216841"/>
                <a:gd name="connsiteY13" fmla="*/ 1103555 h 1429572"/>
                <a:gd name="connsiteX14" fmla="*/ 272350 w 2216841"/>
                <a:gd name="connsiteY14" fmla="*/ 1092175 h 1429572"/>
                <a:gd name="connsiteX15" fmla="*/ 262834 w 2216841"/>
                <a:gd name="connsiteY15" fmla="*/ 1080366 h 1429572"/>
                <a:gd name="connsiteX16" fmla="*/ 16104 w 2216841"/>
                <a:gd name="connsiteY16" fmla="*/ 756412 h 1429572"/>
                <a:gd name="connsiteX17" fmla="*/ 37695 w 2216841"/>
                <a:gd name="connsiteY17" fmla="*/ 635480 h 1429572"/>
                <a:gd name="connsiteX18" fmla="*/ 961686 w 2216841"/>
                <a:gd name="connsiteY18" fmla="*/ 14460 h 1429572"/>
                <a:gd name="connsiteX19" fmla="*/ 992067 w 2216841"/>
                <a:gd name="connsiteY19" fmla="*/ 1719 h 1429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16841" h="1429572">
                  <a:moveTo>
                    <a:pt x="992067" y="1719"/>
                  </a:moveTo>
                  <a:cubicBezTo>
                    <a:pt x="1023787" y="-4762"/>
                    <a:pt x="1057744" y="7242"/>
                    <a:pt x="1077879" y="35092"/>
                  </a:cubicBezTo>
                  <a:cubicBezTo>
                    <a:pt x="1134838" y="113626"/>
                    <a:pt x="1194213" y="190735"/>
                    <a:pt x="1255860" y="265998"/>
                  </a:cubicBezTo>
                  <a:cubicBezTo>
                    <a:pt x="1258417" y="269129"/>
                    <a:pt x="1260972" y="272400"/>
                    <a:pt x="1263529" y="275529"/>
                  </a:cubicBezTo>
                  <a:cubicBezTo>
                    <a:pt x="1266228" y="278802"/>
                    <a:pt x="1268927" y="281933"/>
                    <a:pt x="1271625" y="285206"/>
                  </a:cubicBezTo>
                  <a:cubicBezTo>
                    <a:pt x="1350886" y="381523"/>
                    <a:pt x="1433554" y="474427"/>
                    <a:pt x="1519491" y="564201"/>
                  </a:cubicBezTo>
                  <a:cubicBezTo>
                    <a:pt x="1565513" y="612146"/>
                    <a:pt x="1612246" y="659097"/>
                    <a:pt x="1659972" y="705192"/>
                  </a:cubicBezTo>
                  <a:lnTo>
                    <a:pt x="1659973" y="705336"/>
                  </a:lnTo>
                  <a:cubicBezTo>
                    <a:pt x="1823324" y="862690"/>
                    <a:pt x="1997468" y="1008802"/>
                    <a:pt x="2181841" y="1143108"/>
                  </a:cubicBezTo>
                  <a:cubicBezTo>
                    <a:pt x="2209646" y="1163381"/>
                    <a:pt x="2221630" y="1197419"/>
                    <a:pt x="2215098" y="1229197"/>
                  </a:cubicBezTo>
                  <a:lnTo>
                    <a:pt x="2204122" y="1255283"/>
                  </a:lnTo>
                  <a:lnTo>
                    <a:pt x="572562" y="1429572"/>
                  </a:lnTo>
                  <a:lnTo>
                    <a:pt x="443336" y="1290963"/>
                  </a:lnTo>
                  <a:cubicBezTo>
                    <a:pt x="388188" y="1229466"/>
                    <a:pt x="334353" y="1167008"/>
                    <a:pt x="281869" y="1103555"/>
                  </a:cubicBezTo>
                  <a:cubicBezTo>
                    <a:pt x="278743" y="1099714"/>
                    <a:pt x="275475" y="1096016"/>
                    <a:pt x="272350" y="1092175"/>
                  </a:cubicBezTo>
                  <a:cubicBezTo>
                    <a:pt x="269083" y="1088331"/>
                    <a:pt x="266101" y="1084349"/>
                    <a:pt x="262834" y="1080366"/>
                  </a:cubicBezTo>
                  <a:cubicBezTo>
                    <a:pt x="177324" y="975370"/>
                    <a:pt x="95080" y="867383"/>
                    <a:pt x="16104" y="756412"/>
                  </a:cubicBezTo>
                  <a:cubicBezTo>
                    <a:pt x="-12019" y="717001"/>
                    <a:pt x="-2361" y="662369"/>
                    <a:pt x="37695" y="635480"/>
                  </a:cubicBezTo>
                  <a:lnTo>
                    <a:pt x="961686" y="14460"/>
                  </a:lnTo>
                  <a:cubicBezTo>
                    <a:pt x="971168" y="8095"/>
                    <a:pt x="981493" y="3879"/>
                    <a:pt x="992067" y="1719"/>
                  </a:cubicBezTo>
                  <a:close/>
                </a:path>
              </a:pathLst>
            </a:custGeom>
            <a:grpFill/>
            <a:ln w="9505" cap="flat">
              <a:noFill/>
              <a:prstDash val="solid"/>
              <a:miter/>
            </a:ln>
            <a:effectLst>
              <a:outerShdw blurRad="50800" dist="38100" dir="10800000" algn="r" rotWithShape="0">
                <a:prstClr val="black">
                  <a:alpha val="20000"/>
                </a:prstClr>
              </a:outerShdw>
            </a:effectLst>
          </p:spPr>
          <p:txBody>
            <a:bodyPr wrap="square" rtlCol="0" anchor="ctr">
              <a:noAutofit/>
            </a:bodyPr>
            <a:lstStyle/>
            <a:p>
              <a:endParaRPr lang="en-US"/>
            </a:p>
          </p:txBody>
        </p:sp>
      </p:grpSp>
      <p:sp>
        <p:nvSpPr>
          <p:cNvPr id="44" name="Title 1">
            <a:extLst>
              <a:ext uri="{FF2B5EF4-FFF2-40B4-BE49-F238E27FC236}">
                <a16:creationId xmlns:a16="http://schemas.microsoft.com/office/drawing/2014/main" id="{485A3F76-B4CA-4F12-E7CB-D0B67D348FE4}"/>
              </a:ext>
            </a:extLst>
          </p:cNvPr>
          <p:cNvSpPr>
            <a:spLocks noGrp="1"/>
          </p:cNvSpPr>
          <p:nvPr>
            <p:ph type="title" hasCustomPrompt="1"/>
          </p:nvPr>
        </p:nvSpPr>
        <p:spPr>
          <a:xfrm>
            <a:off x="594784" y="2043756"/>
            <a:ext cx="5044845" cy="669971"/>
          </a:xfrm>
        </p:spPr>
        <p:txBody>
          <a:bodyPr anchor="b">
            <a:noAutofit/>
          </a:bodyPr>
          <a:lstStyle>
            <a:lvl1pPr marL="0" marR="0" indent="0" algn="l" defTabSz="914400" rtl="0" eaLnBrk="1" fontAlgn="auto" latinLnBrk="0" hangingPunct="1">
              <a:lnSpc>
                <a:spcPct val="100000"/>
              </a:lnSpc>
              <a:spcBef>
                <a:spcPts val="0"/>
              </a:spcBef>
              <a:spcAft>
                <a:spcPts val="0"/>
              </a:spcAft>
              <a:buClrTx/>
              <a:buSzPct val="90000"/>
              <a:buFont typeface="Wingdings" panose="05000000000000000000" pitchFamily="2" charset="2"/>
              <a:buNone/>
              <a:tabLst/>
              <a:defRPr lang="en-US" sz="3600" b="0" kern="1200" spc="0" baseline="0" dirty="0">
                <a:solidFill>
                  <a:schemeClr val="bg1"/>
                </a:solidFill>
                <a:latin typeface="+mj-lt"/>
                <a:ea typeface="+mn-ea"/>
                <a:cs typeface="Segoe UI" panose="020B0502040204020203" pitchFamily="34" charset="0"/>
              </a:defRPr>
            </a:lvl1pPr>
          </a:lstStyle>
          <a:p>
            <a:r>
              <a:rPr lang="en-US"/>
              <a:t>Add heading here</a:t>
            </a:r>
          </a:p>
        </p:txBody>
      </p:sp>
      <p:sp>
        <p:nvSpPr>
          <p:cNvPr id="45" name="Text Placeholder 21">
            <a:extLst>
              <a:ext uri="{FF2B5EF4-FFF2-40B4-BE49-F238E27FC236}">
                <a16:creationId xmlns:a16="http://schemas.microsoft.com/office/drawing/2014/main" id="{D43B73F8-6835-C9A2-D369-51EF0215546F}"/>
              </a:ext>
            </a:extLst>
          </p:cNvPr>
          <p:cNvSpPr>
            <a:spLocks noGrp="1"/>
          </p:cNvSpPr>
          <p:nvPr userDrawn="1">
            <p:ph type="body" sz="quarter" idx="10" hasCustomPrompt="1"/>
          </p:nvPr>
        </p:nvSpPr>
        <p:spPr>
          <a:xfrm>
            <a:off x="594784" y="2856959"/>
            <a:ext cx="5036074" cy="1513028"/>
          </a:xfrm>
          <a:prstGeom prst="rect">
            <a:avLst/>
          </a:prstGeom>
        </p:spPr>
        <p:txBody>
          <a:bodyPr lIns="0" tIns="0" rIns="0" bIns="0" anchor="t"/>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2400" kern="1200" spc="0" baseline="0" dirty="0">
                <a:solidFill>
                  <a:schemeClr val="bg1"/>
                </a:solidFill>
                <a:latin typeface="+mn-lt"/>
                <a:ea typeface="+mn-ea"/>
                <a:cs typeface="Segoe UI" panose="020B05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US"/>
              <a:t>Add body text here</a:t>
            </a:r>
          </a:p>
        </p:txBody>
      </p:sp>
      <p:pic>
        <p:nvPicPr>
          <p:cNvPr id="161" name="Picture 160">
            <a:extLst>
              <a:ext uri="{FF2B5EF4-FFF2-40B4-BE49-F238E27FC236}">
                <a16:creationId xmlns:a16="http://schemas.microsoft.com/office/drawing/2014/main" id="{E5114BAC-667B-CD54-4D9A-B19C44A160AB}"/>
              </a:ext>
              <a:ext uri="{C183D7F6-B498-43B3-948B-1728B52AA6E4}">
                <adec:decorative xmlns:adec="http://schemas.microsoft.com/office/drawing/2017/decorative" val="1"/>
              </a:ext>
            </a:extLst>
          </p:cNvPr>
          <p:cNvPicPr>
            <a:picLocks noChangeAspect="1"/>
          </p:cNvPicPr>
          <p:nvPr/>
        </p:nvPicPr>
        <p:blipFill rotWithShape="1">
          <a:blip r:embed="rId2" cstate="print">
            <a:duotone>
              <a:schemeClr val="bg2">
                <a:shade val="45000"/>
                <a:satMod val="135000"/>
              </a:schemeClr>
              <a:prstClr val="white"/>
            </a:duotone>
            <a:alphaModFix amt="75000"/>
            <a:extLst>
              <a:ext uri="{28A0092B-C50C-407E-A947-70E740481C1C}">
                <a14:useLocalDpi xmlns:a14="http://schemas.microsoft.com/office/drawing/2010/main"/>
              </a:ext>
            </a:extLst>
          </a:blip>
          <a:srcRect l="84914" t="18056" r="2624" b="18056"/>
          <a:stretch/>
        </p:blipFill>
        <p:spPr>
          <a:xfrm rot="10800000">
            <a:off x="11264926" y="707830"/>
            <a:ext cx="927074" cy="4752830"/>
          </a:xfrm>
          <a:custGeom>
            <a:avLst/>
            <a:gdLst>
              <a:gd name="connsiteX0" fmla="*/ 0 w 927074"/>
              <a:gd name="connsiteY0" fmla="*/ 4752830 h 4752830"/>
              <a:gd name="connsiteX1" fmla="*/ 0 w 927074"/>
              <a:gd name="connsiteY1" fmla="*/ 3354056 h 4752830"/>
              <a:gd name="connsiteX2" fmla="*/ 55489 w 927074"/>
              <a:gd name="connsiteY2" fmla="*/ 3202446 h 4752830"/>
              <a:gd name="connsiteX3" fmla="*/ 180374 w 927074"/>
              <a:gd name="connsiteY3" fmla="*/ 2376415 h 4752830"/>
              <a:gd name="connsiteX4" fmla="*/ 55489 w 927074"/>
              <a:gd name="connsiteY4" fmla="*/ 1550384 h 4752830"/>
              <a:gd name="connsiteX5" fmla="*/ 0 w 927074"/>
              <a:gd name="connsiteY5" fmla="*/ 1398774 h 4752830"/>
              <a:gd name="connsiteX6" fmla="*/ 0 w 927074"/>
              <a:gd name="connsiteY6" fmla="*/ 0 h 4752830"/>
              <a:gd name="connsiteX7" fmla="*/ 122250 w 927074"/>
              <a:gd name="connsiteY7" fmla="*/ 134509 h 4752830"/>
              <a:gd name="connsiteX8" fmla="*/ 927074 w 927074"/>
              <a:gd name="connsiteY8" fmla="*/ 2376415 h 4752830"/>
              <a:gd name="connsiteX9" fmla="*/ 122250 w 927074"/>
              <a:gd name="connsiteY9" fmla="*/ 4618321 h 475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074" h="4752830">
                <a:moveTo>
                  <a:pt x="0" y="4752830"/>
                </a:moveTo>
                <a:lnTo>
                  <a:pt x="0" y="3354056"/>
                </a:lnTo>
                <a:lnTo>
                  <a:pt x="55489" y="3202446"/>
                </a:lnTo>
                <a:cubicBezTo>
                  <a:pt x="136651" y="2941503"/>
                  <a:pt x="180374" y="2664065"/>
                  <a:pt x="180374" y="2376415"/>
                </a:cubicBezTo>
                <a:cubicBezTo>
                  <a:pt x="180374" y="2088765"/>
                  <a:pt x="136651" y="1811327"/>
                  <a:pt x="55489" y="1550384"/>
                </a:cubicBezTo>
                <a:lnTo>
                  <a:pt x="0" y="1398774"/>
                </a:lnTo>
                <a:lnTo>
                  <a:pt x="0" y="0"/>
                </a:lnTo>
                <a:lnTo>
                  <a:pt x="122250" y="134509"/>
                </a:lnTo>
                <a:cubicBezTo>
                  <a:pt x="625040" y="743750"/>
                  <a:pt x="927074" y="1524810"/>
                  <a:pt x="927074" y="2376415"/>
                </a:cubicBezTo>
                <a:cubicBezTo>
                  <a:pt x="927074" y="3228020"/>
                  <a:pt x="625040" y="4009081"/>
                  <a:pt x="122250" y="4618321"/>
                </a:cubicBezTo>
                <a:close/>
              </a:path>
            </a:pathLst>
          </a:custGeom>
        </p:spPr>
      </p:pic>
      <p:pic>
        <p:nvPicPr>
          <p:cNvPr id="159" name="Picture 158">
            <a:extLst>
              <a:ext uri="{FF2B5EF4-FFF2-40B4-BE49-F238E27FC236}">
                <a16:creationId xmlns:a16="http://schemas.microsoft.com/office/drawing/2014/main" id="{9383973E-A896-AE32-8B89-54D89DC4BB69}"/>
              </a:ext>
              <a:ext uri="{C183D7F6-B498-43B3-948B-1728B52AA6E4}">
                <adec:decorative xmlns:adec="http://schemas.microsoft.com/office/drawing/2017/decorative" val="1"/>
              </a:ext>
            </a:extLst>
          </p:cNvPr>
          <p:cNvPicPr>
            <a:picLocks noChangeAspect="1"/>
          </p:cNvPicPr>
          <p:nvPr userDrawn="1"/>
        </p:nvPicPr>
        <p:blipFill rotWithShape="1">
          <a:blip r:embed="rId3" cstate="print">
            <a:alphaModFix amt="75000"/>
            <a:extLst>
              <a:ext uri="{BEBA8EAE-BF5A-486C-A8C5-ECC9F3942E4B}">
                <a14:imgProps xmlns:a14="http://schemas.microsoft.com/office/drawing/2010/main">
                  <a14:imgLayer r:embed="rId4">
                    <a14:imgEffect>
                      <a14:saturation sat="300000"/>
                    </a14:imgEffect>
                  </a14:imgLayer>
                </a14:imgProps>
              </a:ext>
              <a:ext uri="{28A0092B-C50C-407E-A947-70E740481C1C}">
                <a14:useLocalDpi xmlns:a14="http://schemas.microsoft.com/office/drawing/2010/main"/>
              </a:ext>
            </a:extLst>
          </a:blip>
          <a:srcRect l="2624" t="16270" r="77733" b="11600"/>
          <a:stretch/>
        </p:blipFill>
        <p:spPr>
          <a:xfrm>
            <a:off x="10395812" y="0"/>
            <a:ext cx="1796189" cy="6595552"/>
          </a:xfrm>
          <a:custGeom>
            <a:avLst/>
            <a:gdLst>
              <a:gd name="connsiteX0" fmla="*/ 1290873 w 1796189"/>
              <a:gd name="connsiteY0" fmla="*/ 0 h 6595552"/>
              <a:gd name="connsiteX1" fmla="*/ 1796189 w 1796189"/>
              <a:gd name="connsiteY1" fmla="*/ 0 h 6595552"/>
              <a:gd name="connsiteX2" fmla="*/ 1796189 w 1796189"/>
              <a:gd name="connsiteY2" fmla="*/ 817959 h 6595552"/>
              <a:gd name="connsiteX3" fmla="*/ 1704800 w 1796189"/>
              <a:gd name="connsiteY3" fmla="*/ 918513 h 6595552"/>
              <a:gd name="connsiteX4" fmla="*/ 927322 w 1796189"/>
              <a:gd name="connsiteY4" fmla="*/ 3084245 h 6595552"/>
              <a:gd name="connsiteX5" fmla="*/ 1704800 w 1796189"/>
              <a:gd name="connsiteY5" fmla="*/ 5249977 h 6595552"/>
              <a:gd name="connsiteX6" fmla="*/ 1796189 w 1796189"/>
              <a:gd name="connsiteY6" fmla="*/ 5350531 h 6595552"/>
              <a:gd name="connsiteX7" fmla="*/ 1796189 w 1796189"/>
              <a:gd name="connsiteY7" fmla="*/ 6595552 h 6595552"/>
              <a:gd name="connsiteX8" fmla="*/ 1740122 w 1796189"/>
              <a:gd name="connsiteY8" fmla="*/ 6555682 h 6595552"/>
              <a:gd name="connsiteX9" fmla="*/ 0 w 1796189"/>
              <a:gd name="connsiteY9" fmla="*/ 3084245 h 6595552"/>
              <a:gd name="connsiteX10" fmla="*/ 1268833 w 1796189"/>
              <a:gd name="connsiteY10" fmla="*/ 21013 h 659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6189" h="6595552">
                <a:moveTo>
                  <a:pt x="1290873" y="0"/>
                </a:moveTo>
                <a:lnTo>
                  <a:pt x="1796189" y="0"/>
                </a:lnTo>
                <a:lnTo>
                  <a:pt x="1796189" y="817959"/>
                </a:lnTo>
                <a:lnTo>
                  <a:pt x="1704800" y="918513"/>
                </a:lnTo>
                <a:cubicBezTo>
                  <a:pt x="1219093" y="1507053"/>
                  <a:pt x="927322" y="2261576"/>
                  <a:pt x="927322" y="3084245"/>
                </a:cubicBezTo>
                <a:cubicBezTo>
                  <a:pt x="927322" y="3906914"/>
                  <a:pt x="1219093" y="4661437"/>
                  <a:pt x="1704800" y="5249977"/>
                </a:cubicBezTo>
                <a:lnTo>
                  <a:pt x="1796189" y="5350531"/>
                </a:lnTo>
                <a:lnTo>
                  <a:pt x="1796189" y="6595552"/>
                </a:lnTo>
                <a:lnTo>
                  <a:pt x="1740122" y="6555682"/>
                </a:lnTo>
                <a:cubicBezTo>
                  <a:pt x="683761" y="5765677"/>
                  <a:pt x="0" y="4504812"/>
                  <a:pt x="0" y="3084245"/>
                </a:cubicBezTo>
                <a:cubicBezTo>
                  <a:pt x="0" y="1887979"/>
                  <a:pt x="484883" y="804963"/>
                  <a:pt x="1268833" y="21013"/>
                </a:cubicBezTo>
                <a:close/>
              </a:path>
            </a:pathLst>
          </a:custGeom>
        </p:spPr>
      </p:pic>
      <p:sp>
        <p:nvSpPr>
          <p:cNvPr id="14" name="Picture Placeholder 83">
            <a:extLst>
              <a:ext uri="{FF2B5EF4-FFF2-40B4-BE49-F238E27FC236}">
                <a16:creationId xmlns:a16="http://schemas.microsoft.com/office/drawing/2014/main" id="{7819C249-351D-C1DC-B18A-33D1791AA5EF}"/>
              </a:ext>
            </a:extLst>
          </p:cNvPr>
          <p:cNvSpPr>
            <a:spLocks noGrp="1"/>
          </p:cNvSpPr>
          <p:nvPr>
            <p:ph type="pic" sz="quarter" idx="12" hasCustomPrompt="1"/>
          </p:nvPr>
        </p:nvSpPr>
        <p:spPr>
          <a:xfrm>
            <a:off x="6238783" y="625195"/>
            <a:ext cx="870556" cy="1479615"/>
          </a:xfrm>
          <a:custGeom>
            <a:avLst/>
            <a:gdLst>
              <a:gd name="connsiteX0" fmla="*/ 335604 w 870556"/>
              <a:gd name="connsiteY0" fmla="*/ 463 h 1479615"/>
              <a:gd name="connsiteX1" fmla="*/ 370059 w 870556"/>
              <a:gd name="connsiteY1" fmla="*/ 3906 h 1479615"/>
              <a:gd name="connsiteX2" fmla="*/ 810256 w 870556"/>
              <a:gd name="connsiteY2" fmla="*/ 140619 h 1479615"/>
              <a:gd name="connsiteX3" fmla="*/ 867242 w 870556"/>
              <a:gd name="connsiteY3" fmla="*/ 246667 h 1479615"/>
              <a:gd name="connsiteX4" fmla="*/ 727269 w 870556"/>
              <a:gd name="connsiteY4" fmla="*/ 821495 h 1479615"/>
              <a:gd name="connsiteX5" fmla="*/ 629848 w 870556"/>
              <a:gd name="connsiteY5" fmla="*/ 1404918 h 1479615"/>
              <a:gd name="connsiteX6" fmla="*/ 568786 w 870556"/>
              <a:gd name="connsiteY6" fmla="*/ 1477081 h 1479615"/>
              <a:gd name="connsiteX7" fmla="*/ 541037 w 870556"/>
              <a:gd name="connsiteY7" fmla="*/ 1479615 h 1479615"/>
              <a:gd name="connsiteX8" fmla="*/ 479199 w 870556"/>
              <a:gd name="connsiteY8" fmla="*/ 1474174 h 1479615"/>
              <a:gd name="connsiteX9" fmla="*/ 77060 w 870556"/>
              <a:gd name="connsiteY9" fmla="*/ 1431216 h 1479615"/>
              <a:gd name="connsiteX10" fmla="*/ 702 w 870556"/>
              <a:gd name="connsiteY10" fmla="*/ 1334817 h 1479615"/>
              <a:gd name="connsiteX11" fmla="*/ 261705 w 870556"/>
              <a:gd name="connsiteY11" fmla="*/ 62346 h 1479615"/>
              <a:gd name="connsiteX12" fmla="*/ 261721 w 870556"/>
              <a:gd name="connsiteY12" fmla="*/ 62203 h 1479615"/>
              <a:gd name="connsiteX13" fmla="*/ 335604 w 870556"/>
              <a:gd name="connsiteY13" fmla="*/ 463 h 1479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0556" h="1479615">
                <a:moveTo>
                  <a:pt x="335604" y="463"/>
                </a:moveTo>
                <a:cubicBezTo>
                  <a:pt x="346875" y="-713"/>
                  <a:pt x="358562" y="327"/>
                  <a:pt x="370059" y="3906"/>
                </a:cubicBezTo>
                <a:lnTo>
                  <a:pt x="810256" y="140619"/>
                </a:lnTo>
                <a:cubicBezTo>
                  <a:pt x="854846" y="154496"/>
                  <a:pt x="880001" y="201593"/>
                  <a:pt x="867242" y="246667"/>
                </a:cubicBezTo>
                <a:cubicBezTo>
                  <a:pt x="813644" y="436087"/>
                  <a:pt x="766891" y="627687"/>
                  <a:pt x="727269" y="821495"/>
                </a:cubicBezTo>
                <a:cubicBezTo>
                  <a:pt x="687941" y="1013886"/>
                  <a:pt x="655315" y="1208441"/>
                  <a:pt x="629848" y="1404918"/>
                </a:cubicBezTo>
                <a:cubicBezTo>
                  <a:pt x="625234" y="1440011"/>
                  <a:pt x="600543" y="1467589"/>
                  <a:pt x="568786" y="1477081"/>
                </a:cubicBezTo>
                <a:lnTo>
                  <a:pt x="541037" y="1479615"/>
                </a:lnTo>
                <a:lnTo>
                  <a:pt x="479199" y="1474174"/>
                </a:lnTo>
                <a:lnTo>
                  <a:pt x="77060" y="1431216"/>
                </a:lnTo>
                <a:cubicBezTo>
                  <a:pt x="29223" y="1426106"/>
                  <a:pt x="-5417" y="1382624"/>
                  <a:pt x="702" y="1334817"/>
                </a:cubicBezTo>
                <a:cubicBezTo>
                  <a:pt x="56355" y="901717"/>
                  <a:pt x="143602" y="477057"/>
                  <a:pt x="261705" y="62346"/>
                </a:cubicBezTo>
                <a:lnTo>
                  <a:pt x="261721" y="62203"/>
                </a:lnTo>
                <a:cubicBezTo>
                  <a:pt x="271714" y="27468"/>
                  <a:pt x="301789" y="3991"/>
                  <a:pt x="335604" y="463"/>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17" name="Picture Placeholder 64">
            <a:extLst>
              <a:ext uri="{FF2B5EF4-FFF2-40B4-BE49-F238E27FC236}">
                <a16:creationId xmlns:a16="http://schemas.microsoft.com/office/drawing/2014/main" id="{B636EFD1-EEB0-84E1-9DE9-3EBC3E3579EB}"/>
              </a:ext>
              <a:ext uri="{C183D7F6-B498-43B3-948B-1728B52AA6E4}">
                <adec:decorative xmlns:adec="http://schemas.microsoft.com/office/drawing/2017/decorative" val="1"/>
              </a:ext>
            </a:extLst>
          </p:cNvPr>
          <p:cNvSpPr>
            <a:spLocks noGrp="1"/>
          </p:cNvSpPr>
          <p:nvPr>
            <p:ph type="pic" sz="quarter" idx="11" hasCustomPrompt="1"/>
          </p:nvPr>
        </p:nvSpPr>
        <p:spPr>
          <a:xfrm>
            <a:off x="6996831" y="888344"/>
            <a:ext cx="2883120" cy="2725439"/>
          </a:xfrm>
          <a:custGeom>
            <a:avLst/>
            <a:gdLst>
              <a:gd name="connsiteX0" fmla="*/ 366691 w 2883120"/>
              <a:gd name="connsiteY0" fmla="*/ 458 h 2725439"/>
              <a:gd name="connsiteX1" fmla="*/ 400869 w 2883120"/>
              <a:gd name="connsiteY1" fmla="*/ 3870 h 2725439"/>
              <a:gd name="connsiteX2" fmla="*/ 1486097 w 2883120"/>
              <a:gd name="connsiteY2" fmla="*/ 341002 h 2725439"/>
              <a:gd name="connsiteX3" fmla="*/ 1487480 w 2883120"/>
              <a:gd name="connsiteY3" fmla="*/ 341436 h 2725439"/>
              <a:gd name="connsiteX4" fmla="*/ 1676066 w 2883120"/>
              <a:gd name="connsiteY4" fmla="*/ 400072 h 2725439"/>
              <a:gd name="connsiteX5" fmla="*/ 1677448 w 2883120"/>
              <a:gd name="connsiteY5" fmla="*/ 400505 h 2725439"/>
              <a:gd name="connsiteX6" fmla="*/ 2823240 w 2883120"/>
              <a:gd name="connsiteY6" fmla="*/ 756412 h 2725439"/>
              <a:gd name="connsiteX7" fmla="*/ 2880194 w 2883120"/>
              <a:gd name="connsiteY7" fmla="*/ 859791 h 2725439"/>
              <a:gd name="connsiteX8" fmla="*/ 2810289 w 2883120"/>
              <a:gd name="connsiteY8" fmla="*/ 1155801 h 2725439"/>
              <a:gd name="connsiteX9" fmla="*/ 2746187 w 2883120"/>
              <a:gd name="connsiteY9" fmla="*/ 1536561 h 2725439"/>
              <a:gd name="connsiteX10" fmla="*/ 2746484 w 2883120"/>
              <a:gd name="connsiteY10" fmla="*/ 1536450 h 2725439"/>
              <a:gd name="connsiteX11" fmla="*/ 2725327 w 2883120"/>
              <a:gd name="connsiteY11" fmla="*/ 1734505 h 2725439"/>
              <a:gd name="connsiteX12" fmla="*/ 2712645 w 2883120"/>
              <a:gd name="connsiteY12" fmla="*/ 2416224 h 2725439"/>
              <a:gd name="connsiteX13" fmla="*/ 2634982 w 2883120"/>
              <a:gd name="connsiteY13" fmla="*/ 2505364 h 2725439"/>
              <a:gd name="connsiteX14" fmla="*/ 1438335 w 2883120"/>
              <a:gd name="connsiteY14" fmla="*/ 2609470 h 2725439"/>
              <a:gd name="connsiteX15" fmla="*/ 1438053 w 2883120"/>
              <a:gd name="connsiteY15" fmla="*/ 2609440 h 2725439"/>
              <a:gd name="connsiteX16" fmla="*/ 1240080 w 2883120"/>
              <a:gd name="connsiteY16" fmla="*/ 2626638 h 2725439"/>
              <a:gd name="connsiteX17" fmla="*/ 1239798 w 2883120"/>
              <a:gd name="connsiteY17" fmla="*/ 2626608 h 2725439"/>
              <a:gd name="connsiteX18" fmla="*/ 107318 w 2883120"/>
              <a:gd name="connsiteY18" fmla="*/ 2725120 h 2725439"/>
              <a:gd name="connsiteX19" fmla="*/ 14932 w 2883120"/>
              <a:gd name="connsiteY19" fmla="*/ 2645855 h 2725439"/>
              <a:gd name="connsiteX20" fmla="*/ 34143 w 2883120"/>
              <a:gd name="connsiteY20" fmla="*/ 1447022 h 2725439"/>
              <a:gd name="connsiteX21" fmla="*/ 55583 w 2883120"/>
              <a:gd name="connsiteY21" fmla="*/ 1248998 h 2725439"/>
              <a:gd name="connsiteX22" fmla="*/ 161075 w 2883120"/>
              <a:gd name="connsiteY22" fmla="*/ 607814 h 2725439"/>
              <a:gd name="connsiteX23" fmla="*/ 293683 w 2883120"/>
              <a:gd name="connsiteY23" fmla="*/ 61814 h 2725439"/>
              <a:gd name="connsiteX24" fmla="*/ 366691 w 2883120"/>
              <a:gd name="connsiteY24" fmla="*/ 458 h 2725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83120" h="2725439">
                <a:moveTo>
                  <a:pt x="366691" y="458"/>
                </a:moveTo>
                <a:cubicBezTo>
                  <a:pt x="377868" y="-706"/>
                  <a:pt x="389463" y="326"/>
                  <a:pt x="400869" y="3870"/>
                </a:cubicBezTo>
                <a:lnTo>
                  <a:pt x="1486097" y="341002"/>
                </a:lnTo>
                <a:lnTo>
                  <a:pt x="1487480" y="341436"/>
                </a:lnTo>
                <a:lnTo>
                  <a:pt x="1676066" y="400072"/>
                </a:lnTo>
                <a:lnTo>
                  <a:pt x="1677448" y="400505"/>
                </a:lnTo>
                <a:lnTo>
                  <a:pt x="2823240" y="756412"/>
                </a:lnTo>
                <a:cubicBezTo>
                  <a:pt x="2866793" y="769936"/>
                  <a:pt x="2892062" y="815560"/>
                  <a:pt x="2880194" y="859791"/>
                </a:cubicBezTo>
                <a:cubicBezTo>
                  <a:pt x="2853892" y="957569"/>
                  <a:pt x="2830638" y="1056243"/>
                  <a:pt x="2810289" y="1155801"/>
                </a:cubicBezTo>
                <a:cubicBezTo>
                  <a:pt x="2783931" y="1282189"/>
                  <a:pt x="2762516" y="1409104"/>
                  <a:pt x="2746187" y="1536561"/>
                </a:cubicBezTo>
                <a:lnTo>
                  <a:pt x="2746484" y="1536450"/>
                </a:lnTo>
                <a:cubicBezTo>
                  <a:pt x="2737873" y="1602350"/>
                  <a:pt x="2731099" y="1668445"/>
                  <a:pt x="2725327" y="1734505"/>
                </a:cubicBezTo>
                <a:cubicBezTo>
                  <a:pt x="2705431" y="1960881"/>
                  <a:pt x="2701131" y="2188351"/>
                  <a:pt x="2712645" y="2416224"/>
                </a:cubicBezTo>
                <a:cubicBezTo>
                  <a:pt x="2715042" y="2461978"/>
                  <a:pt x="2680551" y="2501363"/>
                  <a:pt x="2634982" y="2505364"/>
                </a:cubicBezTo>
                <a:cubicBezTo>
                  <a:pt x="2634982" y="2505364"/>
                  <a:pt x="1438335" y="2609470"/>
                  <a:pt x="1438335" y="2609470"/>
                </a:cubicBezTo>
                <a:lnTo>
                  <a:pt x="1438053" y="2609440"/>
                </a:lnTo>
                <a:cubicBezTo>
                  <a:pt x="1438053" y="2609440"/>
                  <a:pt x="1240080" y="2626638"/>
                  <a:pt x="1240080" y="2626638"/>
                </a:cubicBezTo>
                <a:lnTo>
                  <a:pt x="1239798" y="2626608"/>
                </a:lnTo>
                <a:lnTo>
                  <a:pt x="107318" y="2725120"/>
                </a:lnTo>
                <a:cubicBezTo>
                  <a:pt x="59883" y="2729209"/>
                  <a:pt x="17980" y="2693542"/>
                  <a:pt x="14932" y="2645855"/>
                </a:cubicBezTo>
                <a:cubicBezTo>
                  <a:pt x="-10100" y="2244985"/>
                  <a:pt x="-3632" y="1844761"/>
                  <a:pt x="34143" y="1447022"/>
                </a:cubicBezTo>
                <a:cubicBezTo>
                  <a:pt x="40493" y="1380881"/>
                  <a:pt x="47536" y="1314958"/>
                  <a:pt x="55583" y="1248998"/>
                </a:cubicBezTo>
                <a:cubicBezTo>
                  <a:pt x="81645" y="1034440"/>
                  <a:pt x="116777" y="820567"/>
                  <a:pt x="161075" y="607814"/>
                </a:cubicBezTo>
                <a:cubicBezTo>
                  <a:pt x="198728" y="423827"/>
                  <a:pt x="242899" y="241680"/>
                  <a:pt x="293683" y="61814"/>
                </a:cubicBezTo>
                <a:cubicBezTo>
                  <a:pt x="303378" y="27223"/>
                  <a:pt x="333158" y="3951"/>
                  <a:pt x="366691" y="458"/>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23" name="Picture Placeholder 85">
            <a:extLst>
              <a:ext uri="{FF2B5EF4-FFF2-40B4-BE49-F238E27FC236}">
                <a16:creationId xmlns:a16="http://schemas.microsoft.com/office/drawing/2014/main" id="{B9B95421-0C5F-2BF2-9F87-FAB89752A683}"/>
              </a:ext>
            </a:extLst>
          </p:cNvPr>
          <p:cNvSpPr>
            <a:spLocks noGrp="1"/>
          </p:cNvSpPr>
          <p:nvPr>
            <p:ph type="pic" sz="quarter" idx="13" hasCustomPrompt="1"/>
          </p:nvPr>
        </p:nvSpPr>
        <p:spPr>
          <a:xfrm>
            <a:off x="7046901" y="3720466"/>
            <a:ext cx="1844470" cy="2805336"/>
          </a:xfrm>
          <a:custGeom>
            <a:avLst/>
            <a:gdLst>
              <a:gd name="connsiteX0" fmla="*/ 1123600 w 1844470"/>
              <a:gd name="connsiteY0" fmla="*/ 324 h 2805336"/>
              <a:gd name="connsiteX1" fmla="*/ 1215594 w 1844470"/>
              <a:gd name="connsiteY1" fmla="*/ 75254 h 2805336"/>
              <a:gd name="connsiteX2" fmla="*/ 1399760 w 1844470"/>
              <a:gd name="connsiteY2" fmla="*/ 1035117 h 2805336"/>
              <a:gd name="connsiteX3" fmla="*/ 1449390 w 1844470"/>
              <a:gd name="connsiteY3" fmla="*/ 1208398 h 2805336"/>
              <a:gd name="connsiteX4" fmla="*/ 1455031 w 1844470"/>
              <a:gd name="connsiteY4" fmla="*/ 1226456 h 2805336"/>
              <a:gd name="connsiteX5" fmla="*/ 1455046 w 1844470"/>
              <a:gd name="connsiteY5" fmla="*/ 1226315 h 2805336"/>
              <a:gd name="connsiteX6" fmla="*/ 1835818 w 1844470"/>
              <a:gd name="connsiteY6" fmla="*/ 2191155 h 2805336"/>
              <a:gd name="connsiteX7" fmla="*/ 1798769 w 1844470"/>
              <a:gd name="connsiteY7" fmla="*/ 2303952 h 2805336"/>
              <a:gd name="connsiteX8" fmla="*/ 866727 w 1844470"/>
              <a:gd name="connsiteY8" fmla="*/ 2795459 h 2805336"/>
              <a:gd name="connsiteX9" fmla="*/ 750493 w 1844470"/>
              <a:gd name="connsiteY9" fmla="*/ 2757573 h 2805336"/>
              <a:gd name="connsiteX10" fmla="*/ 279343 w 1844470"/>
              <a:gd name="connsiteY10" fmla="*/ 1566310 h 2805336"/>
              <a:gd name="connsiteX11" fmla="*/ 278168 w 1844470"/>
              <a:gd name="connsiteY11" fmla="*/ 1562607 h 2805336"/>
              <a:gd name="connsiteX12" fmla="*/ 224070 w 1844470"/>
              <a:gd name="connsiteY12" fmla="*/ 1374971 h 2805336"/>
              <a:gd name="connsiteX13" fmla="*/ 945 w 1844470"/>
              <a:gd name="connsiteY13" fmla="*/ 188739 h 2805336"/>
              <a:gd name="connsiteX14" fmla="*/ 77931 w 1844470"/>
              <a:gd name="connsiteY14" fmla="*/ 91225 h 2805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4470" h="2805336">
                <a:moveTo>
                  <a:pt x="1123600" y="324"/>
                </a:moveTo>
                <a:cubicBezTo>
                  <a:pt x="1169453" y="-3650"/>
                  <a:pt x="1210340" y="29478"/>
                  <a:pt x="1215594" y="75254"/>
                </a:cubicBezTo>
                <a:cubicBezTo>
                  <a:pt x="1252327" y="398678"/>
                  <a:pt x="1313817" y="719027"/>
                  <a:pt x="1399760" y="1035117"/>
                </a:cubicBezTo>
                <a:cubicBezTo>
                  <a:pt x="1415571" y="1093037"/>
                  <a:pt x="1431978" y="1150735"/>
                  <a:pt x="1449390" y="1208398"/>
                </a:cubicBezTo>
                <a:cubicBezTo>
                  <a:pt x="1451313" y="1214468"/>
                  <a:pt x="1453249" y="1220400"/>
                  <a:pt x="1455031" y="1226456"/>
                </a:cubicBezTo>
                <a:lnTo>
                  <a:pt x="1455046" y="1226315"/>
                </a:lnTo>
                <a:cubicBezTo>
                  <a:pt x="1556605" y="1559383"/>
                  <a:pt x="1683766" y="1881452"/>
                  <a:pt x="1835818" y="2191155"/>
                </a:cubicBezTo>
                <a:cubicBezTo>
                  <a:pt x="1856111" y="2232528"/>
                  <a:pt x="1839483" y="2282548"/>
                  <a:pt x="1798769" y="2303952"/>
                </a:cubicBezTo>
                <a:lnTo>
                  <a:pt x="866727" y="2795459"/>
                </a:lnTo>
                <a:cubicBezTo>
                  <a:pt x="824182" y="2817957"/>
                  <a:pt x="771892" y="2800638"/>
                  <a:pt x="750493" y="2757573"/>
                </a:cubicBezTo>
                <a:cubicBezTo>
                  <a:pt x="561285" y="2375794"/>
                  <a:pt x="403918" y="1978101"/>
                  <a:pt x="279343" y="1566310"/>
                </a:cubicBezTo>
                <a:cubicBezTo>
                  <a:pt x="278914" y="1564976"/>
                  <a:pt x="278471" y="1563783"/>
                  <a:pt x="278168" y="1562607"/>
                </a:cubicBezTo>
                <a:cubicBezTo>
                  <a:pt x="259263" y="1500207"/>
                  <a:pt x="241236" y="1437613"/>
                  <a:pt x="224070" y="1374971"/>
                </a:cubicBezTo>
                <a:cubicBezTo>
                  <a:pt x="132247" y="1040366"/>
                  <a:pt x="35406" y="419777"/>
                  <a:pt x="945" y="188739"/>
                </a:cubicBezTo>
                <a:cubicBezTo>
                  <a:pt x="-6295" y="140176"/>
                  <a:pt x="28911" y="95433"/>
                  <a:pt x="77931" y="91225"/>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1" name="Picture Placeholder 140">
            <a:extLst>
              <a:ext uri="{FF2B5EF4-FFF2-40B4-BE49-F238E27FC236}">
                <a16:creationId xmlns:a16="http://schemas.microsoft.com/office/drawing/2014/main" id="{F9A49CC8-682D-AC52-CFD0-A16018B04DC3}"/>
              </a:ext>
              <a:ext uri="{C183D7F6-B498-43B3-948B-1728B52AA6E4}">
                <adec:decorative xmlns:adec="http://schemas.microsoft.com/office/drawing/2017/decorative" val="1"/>
              </a:ext>
            </a:extLst>
          </p:cNvPr>
          <p:cNvSpPr>
            <a:spLocks noGrp="1"/>
          </p:cNvSpPr>
          <p:nvPr>
            <p:ph type="pic" sz="quarter" idx="17" hasCustomPrompt="1"/>
          </p:nvPr>
        </p:nvSpPr>
        <p:spPr>
          <a:xfrm>
            <a:off x="8754782" y="0"/>
            <a:ext cx="1990307" cy="1458278"/>
          </a:xfrm>
          <a:custGeom>
            <a:avLst/>
            <a:gdLst>
              <a:gd name="connsiteX0" fmla="*/ 456346 w 1990307"/>
              <a:gd name="connsiteY0" fmla="*/ 0 h 1458278"/>
              <a:gd name="connsiteX1" fmla="*/ 1990307 w 1990307"/>
              <a:gd name="connsiteY1" fmla="*/ 0 h 1458278"/>
              <a:gd name="connsiteX2" fmla="*/ 1812551 w 1990307"/>
              <a:gd name="connsiteY2" fmla="*/ 244096 h 1458278"/>
              <a:gd name="connsiteX3" fmla="*/ 1638657 w 1990307"/>
              <a:gd name="connsiteY3" fmla="*/ 519141 h 1458278"/>
              <a:gd name="connsiteX4" fmla="*/ 1632753 w 1990307"/>
              <a:gd name="connsiteY4" fmla="*/ 528956 h 1458278"/>
              <a:gd name="connsiteX5" fmla="*/ 1619122 w 1990307"/>
              <a:gd name="connsiteY5" fmla="*/ 552252 h 1458278"/>
              <a:gd name="connsiteX6" fmla="*/ 1591617 w 1990307"/>
              <a:gd name="connsiteY6" fmla="*/ 601110 h 1458278"/>
              <a:gd name="connsiteX7" fmla="*/ 1574033 w 1990307"/>
              <a:gd name="connsiteY7" fmla="*/ 631997 h 1458278"/>
              <a:gd name="connsiteX8" fmla="*/ 1570483 w 1990307"/>
              <a:gd name="connsiteY8" fmla="*/ 638486 h 1458278"/>
              <a:gd name="connsiteX9" fmla="*/ 1552141 w 1990307"/>
              <a:gd name="connsiteY9" fmla="*/ 672440 h 1458278"/>
              <a:gd name="connsiteX10" fmla="*/ 1523074 w 1990307"/>
              <a:gd name="connsiteY10" fmla="*/ 726568 h 1458278"/>
              <a:gd name="connsiteX11" fmla="*/ 1504567 w 1990307"/>
              <a:gd name="connsiteY11" fmla="*/ 762078 h 1458278"/>
              <a:gd name="connsiteX12" fmla="*/ 1501657 w 1990307"/>
              <a:gd name="connsiteY12" fmla="*/ 767921 h 1458278"/>
              <a:gd name="connsiteX13" fmla="*/ 1229574 w 1990307"/>
              <a:gd name="connsiteY13" fmla="*/ 1401324 h 1458278"/>
              <a:gd name="connsiteX14" fmla="*/ 1124047 w 1990307"/>
              <a:gd name="connsiteY14" fmla="*/ 1454439 h 1458278"/>
              <a:gd name="connsiteX15" fmla="*/ 59960 w 1990307"/>
              <a:gd name="connsiteY15" fmla="*/ 1123999 h 1458278"/>
              <a:gd name="connsiteX16" fmla="*/ 4659 w 1990307"/>
              <a:gd name="connsiteY16" fmla="*/ 1014501 h 1458278"/>
              <a:gd name="connsiteX17" fmla="*/ 399216 w 1990307"/>
              <a:gd name="connsiteY17" fmla="*/ 105155 h 1458278"/>
              <a:gd name="connsiteX18" fmla="*/ 428812 w 1990307"/>
              <a:gd name="connsiteY18" fmla="*/ 50082 h 1458278"/>
              <a:gd name="connsiteX19" fmla="*/ 444618 w 1990307"/>
              <a:gd name="connsiteY19" fmla="*/ 21150 h 1458278"/>
              <a:gd name="connsiteX20" fmla="*/ 451360 w 1990307"/>
              <a:gd name="connsiteY20" fmla="*/ 8851 h 1458278"/>
              <a:gd name="connsiteX21" fmla="*/ 454709 w 1990307"/>
              <a:gd name="connsiteY21" fmla="*/ 2913 h 1458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90307" h="1458278">
                <a:moveTo>
                  <a:pt x="456346" y="0"/>
                </a:moveTo>
                <a:lnTo>
                  <a:pt x="1990307" y="0"/>
                </a:lnTo>
                <a:lnTo>
                  <a:pt x="1812551" y="244096"/>
                </a:lnTo>
                <a:cubicBezTo>
                  <a:pt x="1751546" y="333927"/>
                  <a:pt x="1693572" y="425638"/>
                  <a:pt x="1638657" y="519141"/>
                </a:cubicBezTo>
                <a:cubicBezTo>
                  <a:pt x="1636742" y="522371"/>
                  <a:pt x="1634668" y="525726"/>
                  <a:pt x="1632753" y="528956"/>
                </a:cubicBezTo>
                <a:cubicBezTo>
                  <a:pt x="1628203" y="536769"/>
                  <a:pt x="1623670" y="544441"/>
                  <a:pt x="1619122" y="552252"/>
                </a:cubicBezTo>
                <a:cubicBezTo>
                  <a:pt x="1609822" y="568430"/>
                  <a:pt x="1600789" y="584777"/>
                  <a:pt x="1591617" y="601110"/>
                </a:cubicBezTo>
                <a:cubicBezTo>
                  <a:pt x="1585792" y="611506"/>
                  <a:pt x="1579715" y="621587"/>
                  <a:pt x="1574033" y="631997"/>
                </a:cubicBezTo>
                <a:cubicBezTo>
                  <a:pt x="1572801" y="634156"/>
                  <a:pt x="1571571" y="636313"/>
                  <a:pt x="1570483" y="638486"/>
                </a:cubicBezTo>
                <a:cubicBezTo>
                  <a:pt x="1564411" y="649856"/>
                  <a:pt x="1558071" y="661055"/>
                  <a:pt x="1552141" y="672440"/>
                </a:cubicBezTo>
                <a:cubicBezTo>
                  <a:pt x="1542646" y="690455"/>
                  <a:pt x="1532585" y="708412"/>
                  <a:pt x="1523074" y="726568"/>
                </a:cubicBezTo>
                <a:cubicBezTo>
                  <a:pt x="1516817" y="738347"/>
                  <a:pt x="1510684" y="750283"/>
                  <a:pt x="1504567" y="762078"/>
                </a:cubicBezTo>
                <a:cubicBezTo>
                  <a:pt x="1503650" y="763984"/>
                  <a:pt x="1502717" y="766030"/>
                  <a:pt x="1501657" y="767921"/>
                </a:cubicBezTo>
                <a:cubicBezTo>
                  <a:pt x="1396011" y="973261"/>
                  <a:pt x="1305292" y="1184630"/>
                  <a:pt x="1229574" y="1401324"/>
                </a:cubicBezTo>
                <a:cubicBezTo>
                  <a:pt x="1214519" y="1444644"/>
                  <a:pt x="1167742" y="1467976"/>
                  <a:pt x="1124047" y="1454439"/>
                </a:cubicBezTo>
                <a:lnTo>
                  <a:pt x="59960" y="1123999"/>
                </a:lnTo>
                <a:cubicBezTo>
                  <a:pt x="13909" y="1109779"/>
                  <a:pt x="-10935" y="1060194"/>
                  <a:pt x="4659" y="1014501"/>
                </a:cubicBezTo>
                <a:cubicBezTo>
                  <a:pt x="111440" y="702257"/>
                  <a:pt x="243151" y="398685"/>
                  <a:pt x="399216" y="105155"/>
                </a:cubicBezTo>
                <a:cubicBezTo>
                  <a:pt x="409040" y="86745"/>
                  <a:pt x="418864" y="68335"/>
                  <a:pt x="428812" y="50082"/>
                </a:cubicBezTo>
                <a:cubicBezTo>
                  <a:pt x="434138" y="40349"/>
                  <a:pt x="439307" y="30743"/>
                  <a:pt x="444618" y="21150"/>
                </a:cubicBezTo>
                <a:cubicBezTo>
                  <a:pt x="446908" y="17103"/>
                  <a:pt x="449070" y="12899"/>
                  <a:pt x="451360" y="8851"/>
                </a:cubicBezTo>
                <a:cubicBezTo>
                  <a:pt x="452434" y="6819"/>
                  <a:pt x="453635" y="4944"/>
                  <a:pt x="454709" y="2913"/>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4" name="Picture Placeholder 89">
            <a:extLst>
              <a:ext uri="{FF2B5EF4-FFF2-40B4-BE49-F238E27FC236}">
                <a16:creationId xmlns:a16="http://schemas.microsoft.com/office/drawing/2014/main" id="{8C468708-EE99-C0E7-A9B0-CA66A3BA9063}"/>
              </a:ext>
              <a:ext uri="{C183D7F6-B498-43B3-948B-1728B52AA6E4}">
                <adec:decorative xmlns:adec="http://schemas.microsoft.com/office/drawing/2017/decorative" val="1"/>
              </a:ext>
            </a:extLst>
          </p:cNvPr>
          <p:cNvSpPr>
            <a:spLocks noGrp="1"/>
          </p:cNvSpPr>
          <p:nvPr>
            <p:ph type="pic" sz="quarter" idx="15" hasCustomPrompt="1"/>
          </p:nvPr>
        </p:nvSpPr>
        <p:spPr>
          <a:xfrm>
            <a:off x="8460979" y="3530777"/>
            <a:ext cx="2071867" cy="1148708"/>
          </a:xfrm>
          <a:custGeom>
            <a:avLst/>
            <a:gdLst>
              <a:gd name="connsiteX0" fmla="*/ 1891840 w 2071867"/>
              <a:gd name="connsiteY0" fmla="*/ 332 h 1148708"/>
              <a:gd name="connsiteX1" fmla="*/ 1983654 w 2071867"/>
              <a:gd name="connsiteY1" fmla="*/ 74241 h 1148708"/>
              <a:gd name="connsiteX2" fmla="*/ 2069429 w 2071867"/>
              <a:gd name="connsiteY2" fmla="*/ 537688 h 1148708"/>
              <a:gd name="connsiteX3" fmla="*/ 2010250 w 2071867"/>
              <a:gd name="connsiteY3" fmla="*/ 639679 h 1148708"/>
              <a:gd name="connsiteX4" fmla="*/ 1601500 w 2071867"/>
              <a:gd name="connsiteY4" fmla="*/ 757840 h 1148708"/>
              <a:gd name="connsiteX5" fmla="*/ 1600622 w 2071867"/>
              <a:gd name="connsiteY5" fmla="*/ 758034 h 1148708"/>
              <a:gd name="connsiteX6" fmla="*/ 1411053 w 2071867"/>
              <a:gd name="connsiteY6" fmla="*/ 812900 h 1148708"/>
              <a:gd name="connsiteX7" fmla="*/ 1410771 w 2071867"/>
              <a:gd name="connsiteY7" fmla="*/ 812870 h 1148708"/>
              <a:gd name="connsiteX8" fmla="*/ 261014 w 2071867"/>
              <a:gd name="connsiteY8" fmla="*/ 1145335 h 1148708"/>
              <a:gd name="connsiteX9" fmla="*/ 154677 w 2071867"/>
              <a:gd name="connsiteY9" fmla="*/ 1084325 h 1148708"/>
              <a:gd name="connsiteX10" fmla="*/ 589 w 2071867"/>
              <a:gd name="connsiteY10" fmla="*/ 253445 h 1148708"/>
              <a:gd name="connsiteX11" fmla="*/ 77911 w 2071867"/>
              <a:gd name="connsiteY11" fmla="*/ 158114 h 1148708"/>
              <a:gd name="connsiteX12" fmla="*/ 1270371 w 2071867"/>
              <a:gd name="connsiteY12" fmla="*/ 54419 h 1148708"/>
              <a:gd name="connsiteX13" fmla="*/ 1467215 w 2071867"/>
              <a:gd name="connsiteY13" fmla="*/ 37101 h 1148708"/>
              <a:gd name="connsiteX14" fmla="*/ 1468202 w 2071867"/>
              <a:gd name="connsiteY14" fmla="*/ 37206 h 1148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1867" h="1148708">
                <a:moveTo>
                  <a:pt x="1891840" y="332"/>
                </a:moveTo>
                <a:cubicBezTo>
                  <a:pt x="1937409" y="-3671"/>
                  <a:pt x="1977919" y="28987"/>
                  <a:pt x="1983654" y="74241"/>
                </a:cubicBezTo>
                <a:cubicBezTo>
                  <a:pt x="2003582" y="230039"/>
                  <a:pt x="2032210" y="384622"/>
                  <a:pt x="2069429" y="537688"/>
                </a:cubicBezTo>
                <a:cubicBezTo>
                  <a:pt x="2080260" y="582055"/>
                  <a:pt x="2054026" y="627042"/>
                  <a:pt x="2010250" y="639679"/>
                </a:cubicBezTo>
                <a:lnTo>
                  <a:pt x="1601500" y="757840"/>
                </a:lnTo>
                <a:lnTo>
                  <a:pt x="1600622" y="758034"/>
                </a:lnTo>
                <a:cubicBezTo>
                  <a:pt x="1600622" y="758034"/>
                  <a:pt x="1411053" y="812900"/>
                  <a:pt x="1411053" y="812900"/>
                </a:cubicBezTo>
                <a:lnTo>
                  <a:pt x="1410771" y="812870"/>
                </a:lnTo>
                <a:lnTo>
                  <a:pt x="261014" y="1145335"/>
                </a:lnTo>
                <a:cubicBezTo>
                  <a:pt x="214729" y="1158705"/>
                  <a:pt x="166680" y="1131108"/>
                  <a:pt x="154677" y="1084325"/>
                </a:cubicBezTo>
                <a:cubicBezTo>
                  <a:pt x="84912" y="812030"/>
                  <a:pt x="33386" y="534813"/>
                  <a:pt x="589" y="253445"/>
                </a:cubicBezTo>
                <a:cubicBezTo>
                  <a:pt x="-5002" y="205488"/>
                  <a:pt x="29896" y="162285"/>
                  <a:pt x="77911" y="158114"/>
                </a:cubicBezTo>
                <a:cubicBezTo>
                  <a:pt x="77911" y="158114"/>
                  <a:pt x="1270371" y="54419"/>
                  <a:pt x="1270371" y="54419"/>
                </a:cubicBezTo>
                <a:cubicBezTo>
                  <a:pt x="1270371" y="54419"/>
                  <a:pt x="1467215" y="37101"/>
                  <a:pt x="1467215" y="37101"/>
                </a:cubicBezTo>
                <a:lnTo>
                  <a:pt x="1468202" y="37206"/>
                </a:ln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7" name="Picture Placeholder 87">
            <a:extLst>
              <a:ext uri="{FF2B5EF4-FFF2-40B4-BE49-F238E27FC236}">
                <a16:creationId xmlns:a16="http://schemas.microsoft.com/office/drawing/2014/main" id="{949DA1B6-8D28-10A3-0B1B-449EF21CC77D}"/>
              </a:ext>
            </a:extLst>
          </p:cNvPr>
          <p:cNvSpPr>
            <a:spLocks noGrp="1"/>
          </p:cNvSpPr>
          <p:nvPr>
            <p:ph type="pic" sz="quarter" idx="14" hasCustomPrompt="1"/>
          </p:nvPr>
        </p:nvSpPr>
        <p:spPr>
          <a:xfrm>
            <a:off x="8715934" y="4554782"/>
            <a:ext cx="1488282" cy="1306648"/>
          </a:xfrm>
          <a:custGeom>
            <a:avLst/>
            <a:gdLst>
              <a:gd name="connsiteX0" fmla="*/ 1164462 w 1488282"/>
              <a:gd name="connsiteY0" fmla="*/ 507 h 1306648"/>
              <a:gd name="connsiteX1" fmla="*/ 1236019 w 1488282"/>
              <a:gd name="connsiteY1" fmla="*/ 58412 h 1306648"/>
              <a:gd name="connsiteX2" fmla="*/ 1479883 w 1488282"/>
              <a:gd name="connsiteY2" fmla="*/ 665376 h 1306648"/>
              <a:gd name="connsiteX3" fmla="*/ 1442753 w 1488282"/>
              <a:gd name="connsiteY3" fmla="*/ 777591 h 1306648"/>
              <a:gd name="connsiteX4" fmla="*/ 458180 w 1488282"/>
              <a:gd name="connsiteY4" fmla="*/ 1296824 h 1306648"/>
              <a:gd name="connsiteX5" fmla="*/ 341708 w 1488282"/>
              <a:gd name="connsiteY5" fmla="*/ 1258484 h 1306648"/>
              <a:gd name="connsiteX6" fmla="*/ 4171 w 1488282"/>
              <a:gd name="connsiteY6" fmla="*/ 421170 h 1306648"/>
              <a:gd name="connsiteX7" fmla="*/ 61628 w 1488282"/>
              <a:gd name="connsiteY7" fmla="*/ 312555 h 1306648"/>
              <a:gd name="connsiteX8" fmla="*/ 1131636 w 1488282"/>
              <a:gd name="connsiteY8" fmla="*/ 3193 h 1306648"/>
              <a:gd name="connsiteX9" fmla="*/ 1131622 w 1488282"/>
              <a:gd name="connsiteY9" fmla="*/ 3335 h 1306648"/>
              <a:gd name="connsiteX10" fmla="*/ 1164462 w 1488282"/>
              <a:gd name="connsiteY10" fmla="*/ 507 h 1306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88282" h="1306648">
                <a:moveTo>
                  <a:pt x="1164462" y="507"/>
                </a:moveTo>
                <a:cubicBezTo>
                  <a:pt x="1196668" y="4041"/>
                  <a:pt x="1225357" y="25832"/>
                  <a:pt x="1236019" y="58412"/>
                </a:cubicBezTo>
                <a:cubicBezTo>
                  <a:pt x="1304332" y="266741"/>
                  <a:pt x="1385690" y="469307"/>
                  <a:pt x="1479883" y="665376"/>
                </a:cubicBezTo>
                <a:cubicBezTo>
                  <a:pt x="1499754" y="706701"/>
                  <a:pt x="1483171" y="756296"/>
                  <a:pt x="1442753" y="777591"/>
                </a:cubicBezTo>
                <a:lnTo>
                  <a:pt x="458180" y="1296824"/>
                </a:lnTo>
                <a:cubicBezTo>
                  <a:pt x="415495" y="1319307"/>
                  <a:pt x="362936" y="1301817"/>
                  <a:pt x="341708" y="1258484"/>
                </a:cubicBezTo>
                <a:cubicBezTo>
                  <a:pt x="208648" y="986295"/>
                  <a:pt x="96092" y="706708"/>
                  <a:pt x="4171" y="421170"/>
                </a:cubicBezTo>
                <a:cubicBezTo>
                  <a:pt x="-10621" y="375090"/>
                  <a:pt x="15203" y="325910"/>
                  <a:pt x="61628" y="312555"/>
                </a:cubicBezTo>
                <a:lnTo>
                  <a:pt x="1131636" y="3193"/>
                </a:lnTo>
                <a:lnTo>
                  <a:pt x="1131622" y="3335"/>
                </a:lnTo>
                <a:cubicBezTo>
                  <a:pt x="1142601" y="180"/>
                  <a:pt x="1153727" y="-671"/>
                  <a:pt x="1164462" y="507"/>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
        <p:nvSpPr>
          <p:cNvPr id="59" name="Picture Placeholder 138">
            <a:extLst>
              <a:ext uri="{FF2B5EF4-FFF2-40B4-BE49-F238E27FC236}">
                <a16:creationId xmlns:a16="http://schemas.microsoft.com/office/drawing/2014/main" id="{ACF50393-B5C2-A5AF-82E3-C75699034D2B}"/>
              </a:ext>
            </a:extLst>
          </p:cNvPr>
          <p:cNvSpPr>
            <a:spLocks noGrp="1"/>
          </p:cNvSpPr>
          <p:nvPr>
            <p:ph type="pic" sz="quarter" idx="16" hasCustomPrompt="1"/>
          </p:nvPr>
        </p:nvSpPr>
        <p:spPr>
          <a:xfrm>
            <a:off x="9221243" y="5498432"/>
            <a:ext cx="2151364" cy="1359568"/>
          </a:xfrm>
          <a:custGeom>
            <a:avLst/>
            <a:gdLst>
              <a:gd name="connsiteX0" fmla="*/ 1061785 w 2151364"/>
              <a:gd name="connsiteY0" fmla="*/ 384 h 1359568"/>
              <a:gd name="connsiteX1" fmla="*/ 1143567 w 2151364"/>
              <a:gd name="connsiteY1" fmla="*/ 42683 h 1359568"/>
              <a:gd name="connsiteX2" fmla="*/ 1296014 w 2151364"/>
              <a:gd name="connsiteY2" fmla="*/ 291189 h 1359568"/>
              <a:gd name="connsiteX3" fmla="*/ 1302627 w 2151364"/>
              <a:gd name="connsiteY3" fmla="*/ 301481 h 1359568"/>
              <a:gd name="connsiteX4" fmla="*/ 1309650 w 2151364"/>
              <a:gd name="connsiteY4" fmla="*/ 311963 h 1359568"/>
              <a:gd name="connsiteX5" fmla="*/ 1526479 w 2151364"/>
              <a:gd name="connsiteY5" fmla="*/ 615708 h 1359568"/>
              <a:gd name="connsiteX6" fmla="*/ 1651190 w 2151364"/>
              <a:gd name="connsiteY6" fmla="*/ 770823 h 1359568"/>
              <a:gd name="connsiteX7" fmla="*/ 1651175 w 2151364"/>
              <a:gd name="connsiteY7" fmla="*/ 770965 h 1359568"/>
              <a:gd name="connsiteX8" fmla="*/ 2123590 w 2151364"/>
              <a:gd name="connsiteY8" fmla="*/ 1261693 h 1359568"/>
              <a:gd name="connsiteX9" fmla="*/ 2151364 w 2151364"/>
              <a:gd name="connsiteY9" fmla="*/ 1319120 h 1359568"/>
              <a:gd name="connsiteX10" fmla="*/ 2138142 w 2151364"/>
              <a:gd name="connsiteY10" fmla="*/ 1359568 h 1359568"/>
              <a:gd name="connsiteX11" fmla="*/ 482854 w 2151364"/>
              <a:gd name="connsiteY11" fmla="*/ 1359568 h 1359568"/>
              <a:gd name="connsiteX12" fmla="*/ 238568 w 2151364"/>
              <a:gd name="connsiteY12" fmla="*/ 1020551 h 1359568"/>
              <a:gd name="connsiteX13" fmla="*/ 230312 w 2151364"/>
              <a:gd name="connsiteY13" fmla="*/ 1008223 h 1359568"/>
              <a:gd name="connsiteX14" fmla="*/ 222104 w 2151364"/>
              <a:gd name="connsiteY14" fmla="*/ 995470 h 1359568"/>
              <a:gd name="connsiteX15" fmla="*/ 11180 w 2151364"/>
              <a:gd name="connsiteY15" fmla="*/ 647142 h 1359568"/>
              <a:gd name="connsiteX16" fmla="*/ 45494 w 2151364"/>
              <a:gd name="connsiteY16" fmla="*/ 529188 h 1359568"/>
              <a:gd name="connsiteX17" fmla="*/ 1030223 w 2151364"/>
              <a:gd name="connsiteY17" fmla="*/ 9827 h 1359568"/>
              <a:gd name="connsiteX18" fmla="*/ 1061785 w 2151364"/>
              <a:gd name="connsiteY18" fmla="*/ 384 h 135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51364" h="1359568">
                <a:moveTo>
                  <a:pt x="1061785" y="384"/>
                </a:moveTo>
                <a:cubicBezTo>
                  <a:pt x="1094014" y="-2691"/>
                  <a:pt x="1126504" y="12852"/>
                  <a:pt x="1143567" y="42683"/>
                </a:cubicBezTo>
                <a:cubicBezTo>
                  <a:pt x="1191862" y="126823"/>
                  <a:pt x="1242710" y="209804"/>
                  <a:pt x="1296014" y="291189"/>
                </a:cubicBezTo>
                <a:cubicBezTo>
                  <a:pt x="1298224" y="294574"/>
                  <a:pt x="1300417" y="298098"/>
                  <a:pt x="1302627" y="301481"/>
                </a:cubicBezTo>
                <a:cubicBezTo>
                  <a:pt x="1304963" y="305022"/>
                  <a:pt x="1307314" y="308422"/>
                  <a:pt x="1309650" y="311963"/>
                </a:cubicBezTo>
                <a:cubicBezTo>
                  <a:pt x="1378231" y="416154"/>
                  <a:pt x="1450564" y="517313"/>
                  <a:pt x="1526479" y="615708"/>
                </a:cubicBezTo>
                <a:cubicBezTo>
                  <a:pt x="1567148" y="668270"/>
                  <a:pt x="1608629" y="719918"/>
                  <a:pt x="1651190" y="770823"/>
                </a:cubicBezTo>
                <a:lnTo>
                  <a:pt x="1651175" y="770965"/>
                </a:lnTo>
                <a:cubicBezTo>
                  <a:pt x="1796887" y="944780"/>
                  <a:pt x="1954526" y="1108564"/>
                  <a:pt x="2123590" y="1261693"/>
                </a:cubicBezTo>
                <a:cubicBezTo>
                  <a:pt x="2140586" y="1277101"/>
                  <a:pt x="2149941" y="1297846"/>
                  <a:pt x="2151364" y="1319120"/>
                </a:cubicBezTo>
                <a:lnTo>
                  <a:pt x="2138142" y="1359568"/>
                </a:lnTo>
                <a:lnTo>
                  <a:pt x="482854" y="1359568"/>
                </a:lnTo>
                <a:lnTo>
                  <a:pt x="238568" y="1020551"/>
                </a:lnTo>
                <a:cubicBezTo>
                  <a:pt x="235868" y="1016400"/>
                  <a:pt x="233011" y="1012375"/>
                  <a:pt x="230312" y="1008223"/>
                </a:cubicBezTo>
                <a:cubicBezTo>
                  <a:pt x="227472" y="1004055"/>
                  <a:pt x="224929" y="999779"/>
                  <a:pt x="222104" y="995470"/>
                </a:cubicBezTo>
                <a:cubicBezTo>
                  <a:pt x="148231" y="881985"/>
                  <a:pt x="77922" y="765874"/>
                  <a:pt x="11180" y="647142"/>
                </a:cubicBezTo>
                <a:cubicBezTo>
                  <a:pt x="-12598" y="604967"/>
                  <a:pt x="2809" y="551670"/>
                  <a:pt x="45494" y="529188"/>
                </a:cubicBezTo>
                <a:lnTo>
                  <a:pt x="1030223" y="9827"/>
                </a:lnTo>
                <a:cubicBezTo>
                  <a:pt x="1040327" y="4504"/>
                  <a:pt x="1051041" y="1410"/>
                  <a:pt x="1061785" y="384"/>
                </a:cubicBezTo>
                <a:close/>
              </a:path>
            </a:pathLst>
          </a:custGeom>
        </p:spPr>
        <p:txBody>
          <a:bodyPr wrap="square" anchor="ctr">
            <a:noAutofit/>
          </a:bodyPr>
          <a:lstStyle>
            <a:lvl1pPr marL="0" indent="0" algn="ctr">
              <a:buNone/>
              <a:defRPr sz="1400">
                <a:solidFill>
                  <a:schemeClr val="bg1"/>
                </a:solidFill>
              </a:defRPr>
            </a:lvl1pPr>
          </a:lstStyle>
          <a:p>
            <a:r>
              <a:rPr lang="en-US"/>
              <a:t>Insert picture here</a:t>
            </a:r>
          </a:p>
        </p:txBody>
      </p:sp>
    </p:spTree>
    <p:extLst>
      <p:ext uri="{BB962C8B-B14F-4D97-AF65-F5344CB8AC3E}">
        <p14:creationId xmlns:p14="http://schemas.microsoft.com/office/powerpoint/2010/main" val="369020755"/>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86194602"/>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1x2-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735123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2" pos="2682">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nd content - Green">
    <p:bg>
      <p:bgPr>
        <a:solidFill>
          <a:srgbClr val="F4F4F7"/>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443657E-8C5F-D3F5-B4CE-026D5633DA81}"/>
              </a:ext>
            </a:extLst>
          </p:cNvPr>
          <p:cNvPicPr>
            <a:picLocks noChangeAspect="1"/>
          </p:cNvPicPr>
          <p:nvPr userDrawn="1"/>
        </p:nvPicPr>
        <p:blipFill rotWithShape="1">
          <a:blip r:embed="rId2"/>
          <a:srcRect l="-31379" t="-19729" r="21544" b="9379"/>
          <a:stretch/>
        </p:blipFill>
        <p:spPr>
          <a:xfrm>
            <a:off x="0" y="0"/>
            <a:ext cx="12192000" cy="6858000"/>
          </a:xfrm>
          <a:prstGeom prst="rect">
            <a:avLst/>
          </a:prstGeom>
        </p:spPr>
      </p:pic>
      <p:sp>
        <p:nvSpPr>
          <p:cNvPr id="6" name="Rectangle 5">
            <a:extLst>
              <a:ext uri="{FF2B5EF4-FFF2-40B4-BE49-F238E27FC236}">
                <a16:creationId xmlns:a16="http://schemas.microsoft.com/office/drawing/2014/main" id="{8F357639-49EE-CCDC-B31B-382104AEFED8}"/>
              </a:ext>
            </a:extLst>
          </p:cNvPr>
          <p:cNvSpPr/>
          <p:nvPr userDrawn="1"/>
        </p:nvSpPr>
        <p:spPr bwMode="auto">
          <a:xfrm rot="10800000">
            <a:off x="0" y="0"/>
            <a:ext cx="12192000" cy="6857999"/>
          </a:xfrm>
          <a:prstGeom prst="rect">
            <a:avLst/>
          </a:prstGeom>
          <a:gradFill>
            <a:gsLst>
              <a:gs pos="89000">
                <a:srgbClr val="F4F4F7"/>
              </a:gs>
              <a:gs pos="53000">
                <a:srgbClr val="F4F4F7">
                  <a:alpha val="92243"/>
                </a:srgbClr>
              </a:gs>
              <a:gs pos="0">
                <a:srgbClr val="F4F4F7">
                  <a:alpha val="0"/>
                </a:srgbClr>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7C30D14C-DF48-DDBB-79B9-AE624A7C0FEF}"/>
              </a:ext>
            </a:extLst>
          </p:cNvPr>
          <p:cNvSpPr txBox="1">
            <a:spLocks/>
          </p:cNvSpPr>
          <p:nvPr userDrawn="1"/>
        </p:nvSpPr>
        <p:spPr>
          <a:xfrm>
            <a:off x="584200" y="557599"/>
            <a:ext cx="3296759" cy="307777"/>
          </a:xfrm>
          <a:prstGeom prst="rect">
            <a:avLst/>
          </a:prstGeom>
          <a:noFill/>
        </p:spPr>
        <p:txBody>
          <a:bodyPr vert="horz" wrap="square" lIns="0" tIns="0" rIns="0" bIns="0" rtlCol="0" anchor="b" anchorCtr="0">
            <a:spAutoFit/>
          </a:bodyPr>
          <a:lstStyle>
            <a:lvl1pPr algn="l" defTabSz="393567" rtl="0" eaLnBrk="1" latinLnBrk="0" hangingPunct="1">
              <a:lnSpc>
                <a:spcPct val="100000"/>
              </a:lnSpc>
              <a:spcBef>
                <a:spcPct val="0"/>
              </a:spcBef>
              <a:buNone/>
              <a:defRPr lang="en-US" sz="3200" b="0" kern="1200" cap="none" spc="-22" baseline="0">
                <a:ln w="3175">
                  <a:noFill/>
                </a:ln>
                <a:solidFill>
                  <a:schemeClr val="tx1"/>
                </a:solidFill>
                <a:effectLst/>
                <a:latin typeface="+mj-lt"/>
                <a:ea typeface="+mn-ea"/>
                <a:cs typeface="Segoe UI" panose="020B0502040204020203" pitchFamily="34" charset="0"/>
              </a:defRPr>
            </a:lvl1pPr>
          </a:lstStyle>
          <a:p>
            <a:r>
              <a:rPr lang="en-CA" sz="2000">
                <a:solidFill>
                  <a:schemeClr val="tx1">
                    <a:lumMod val="65000"/>
                    <a:lumOff val="35000"/>
                  </a:schemeClr>
                </a:solidFill>
              </a:rPr>
              <a:t>Microsoft at Sibos</a:t>
            </a:r>
          </a:p>
        </p:txBody>
      </p:sp>
      <p:sp>
        <p:nvSpPr>
          <p:cNvPr id="14" name="Title 2">
            <a:extLst>
              <a:ext uri="{FF2B5EF4-FFF2-40B4-BE49-F238E27FC236}">
                <a16:creationId xmlns:a16="http://schemas.microsoft.com/office/drawing/2014/main" id="{A3F74262-8825-3C78-635A-FFBFE22C6EB5}"/>
              </a:ext>
            </a:extLst>
          </p:cNvPr>
          <p:cNvSpPr>
            <a:spLocks noGrp="1"/>
          </p:cNvSpPr>
          <p:nvPr>
            <p:ph type="title"/>
          </p:nvPr>
        </p:nvSpPr>
        <p:spPr>
          <a:xfrm>
            <a:off x="588263" y="1048214"/>
            <a:ext cx="11018520" cy="553998"/>
          </a:xfrm>
        </p:spPr>
        <p:txBody>
          <a:bodyPr>
            <a:spAutoFit/>
          </a:bodyPr>
          <a:lstStyle/>
          <a:p>
            <a:r>
              <a:rPr lang="en-US"/>
              <a:t>Click to edit Master title style</a:t>
            </a:r>
          </a:p>
        </p:txBody>
      </p:sp>
      <p:sp>
        <p:nvSpPr>
          <p:cNvPr id="16" name="Text Placeholder 7">
            <a:extLst>
              <a:ext uri="{FF2B5EF4-FFF2-40B4-BE49-F238E27FC236}">
                <a16:creationId xmlns:a16="http://schemas.microsoft.com/office/drawing/2014/main" id="{F97977F6-4587-CA41-6499-99A5C709A2A2}"/>
              </a:ext>
            </a:extLst>
          </p:cNvPr>
          <p:cNvSpPr>
            <a:spLocks noGrp="1"/>
          </p:cNvSpPr>
          <p:nvPr>
            <p:ph type="body" sz="quarter" idx="14"/>
          </p:nvPr>
        </p:nvSpPr>
        <p:spPr>
          <a:xfrm>
            <a:off x="585217" y="1913590"/>
            <a:ext cx="11018520" cy="1243417"/>
          </a:xfrm>
        </p:spPr>
        <p:txBody>
          <a:bodyPr vert="horz" wrap="square" lIns="0" tIns="0" rIns="0" bIns="0" rtlCol="0">
            <a:spAutoFit/>
          </a:bodyPr>
          <a:lstStyle>
            <a:lvl1pPr>
              <a:defRPr lang="en-US" sz="1600"/>
            </a:lvl1pPr>
            <a:lvl2pPr>
              <a:defRPr lang="en-US" sz="1400"/>
            </a:lvl2pPr>
            <a:lvl3pPr>
              <a:defRPr lang="en-US" sz="1400"/>
            </a:lvl3pPr>
            <a:lvl4pPr>
              <a:defRPr lang="en-US" sz="1200"/>
            </a:lvl4pPr>
            <a:lvl5pPr>
              <a:defRPr lang="en-US" sz="1200" dirty="0"/>
            </a:lvl5pPr>
          </a:lstStyle>
          <a:p>
            <a:pPr marL="141288" lvl="0" indent="-141288"/>
            <a:r>
              <a:rPr lang="en-US"/>
              <a:t>Click to edit Master text styles</a:t>
            </a:r>
          </a:p>
          <a:p>
            <a:pPr marL="141288" lvl="1" indent="-141288"/>
            <a:r>
              <a:rPr lang="en-US"/>
              <a:t>Second level</a:t>
            </a:r>
          </a:p>
          <a:p>
            <a:pPr marL="141288" lvl="2" indent="-141288"/>
            <a:r>
              <a:rPr lang="en-US"/>
              <a:t>Third level</a:t>
            </a:r>
          </a:p>
          <a:p>
            <a:pPr marL="141288" lvl="3" indent="-141288"/>
            <a:r>
              <a:rPr lang="en-US"/>
              <a:t>Fourth level</a:t>
            </a:r>
          </a:p>
          <a:p>
            <a:pPr marL="141288" lvl="4" indent="-141288"/>
            <a:r>
              <a:rPr lang="en-US"/>
              <a:t>Fifth level</a:t>
            </a:r>
          </a:p>
        </p:txBody>
      </p:sp>
    </p:spTree>
    <p:extLst>
      <p:ext uri="{BB962C8B-B14F-4D97-AF65-F5344CB8AC3E}">
        <p14:creationId xmlns:p14="http://schemas.microsoft.com/office/powerpoint/2010/main" val="21276308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8897239"/>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4200" y="3028891"/>
            <a:ext cx="9630389" cy="677108"/>
          </a:xfrm>
        </p:spPr>
        <p:txBody>
          <a:bodyPr anchor="b"/>
          <a:lstStyle>
            <a:lvl1pPr>
              <a:defRPr sz="4400"/>
            </a:lvl1pPr>
          </a:lstStyle>
          <a:p>
            <a:r>
              <a:rPr lang="en-US"/>
              <a:t>Click to edit Master title style</a:t>
            </a:r>
          </a:p>
        </p:txBody>
      </p:sp>
      <p:sp>
        <p:nvSpPr>
          <p:cNvPr id="6" name="Text Placeholder 5">
            <a:extLst>
              <a:ext uri="{FF2B5EF4-FFF2-40B4-BE49-F238E27FC236}">
                <a16:creationId xmlns:a16="http://schemas.microsoft.com/office/drawing/2014/main" id="{E51044BB-4745-D443-6536-16F2A6004BC9}"/>
              </a:ext>
            </a:extLst>
          </p:cNvPr>
          <p:cNvSpPr>
            <a:spLocks noGrp="1"/>
          </p:cNvSpPr>
          <p:nvPr>
            <p:ph type="body" sz="quarter" idx="16"/>
          </p:nvPr>
        </p:nvSpPr>
        <p:spPr>
          <a:xfrm>
            <a:off x="584200" y="4350114"/>
            <a:ext cx="9602819" cy="724246"/>
          </a:xfrm>
          <a:prstGeom prst="rect">
            <a:avLst/>
          </a:prstGeom>
        </p:spPr>
        <p:txBody>
          <a:bodyPr lIns="0" tIns="0" rIns="0" bIns="0"/>
          <a:lstStyle>
            <a:lvl1pPr marL="0" indent="0" algn="l">
              <a:buNone/>
              <a:defRPr sz="2400">
                <a:solidFill>
                  <a:schemeClr val="bg1"/>
                </a:solidFill>
                <a:latin typeface="+mj-lt"/>
              </a:defRPr>
            </a:lvl1pPr>
          </a:lstStyle>
          <a:p>
            <a:pPr lvl="0"/>
            <a:endParaRPr lang="en-US"/>
          </a:p>
        </p:txBody>
      </p:sp>
      <p:sp>
        <p:nvSpPr>
          <p:cNvPr id="7" name="Rectangle 6">
            <a:extLst>
              <a:ext uri="{FF2B5EF4-FFF2-40B4-BE49-F238E27FC236}">
                <a16:creationId xmlns:a16="http://schemas.microsoft.com/office/drawing/2014/main" id="{EB29B0C9-12FE-DCF2-211E-95A9A6C5BF64}"/>
              </a:ext>
            </a:extLst>
          </p:cNvPr>
          <p:cNvSpPr/>
          <p:nvPr userDrawn="1"/>
        </p:nvSpPr>
        <p:spPr bwMode="auto">
          <a:xfrm>
            <a:off x="0" y="5943600"/>
            <a:ext cx="12192000" cy="9144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4976428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2544">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4200" y="3028891"/>
            <a:ext cx="9630389" cy="677108"/>
          </a:xfrm>
        </p:spPr>
        <p:txBody>
          <a:bodyPr anchor="b"/>
          <a:lstStyle>
            <a:lvl1pPr>
              <a:defRPr sz="4400"/>
            </a:lvl1pPr>
          </a:lstStyle>
          <a:p>
            <a:r>
              <a:rPr lang="en-US"/>
              <a:t>Click to edit title</a:t>
            </a:r>
          </a:p>
        </p:txBody>
      </p:sp>
      <p:sp>
        <p:nvSpPr>
          <p:cNvPr id="6" name="Text Placeholder 5">
            <a:extLst>
              <a:ext uri="{FF2B5EF4-FFF2-40B4-BE49-F238E27FC236}">
                <a16:creationId xmlns:a16="http://schemas.microsoft.com/office/drawing/2014/main" id="{E51044BB-4745-D443-6536-16F2A6004BC9}"/>
              </a:ext>
            </a:extLst>
          </p:cNvPr>
          <p:cNvSpPr>
            <a:spLocks noGrp="1"/>
          </p:cNvSpPr>
          <p:nvPr>
            <p:ph type="body" sz="quarter" idx="16"/>
          </p:nvPr>
        </p:nvSpPr>
        <p:spPr>
          <a:xfrm>
            <a:off x="584200" y="4350114"/>
            <a:ext cx="9602819" cy="724246"/>
          </a:xfrm>
          <a:prstGeom prst="rect">
            <a:avLst/>
          </a:prstGeom>
        </p:spPr>
        <p:txBody>
          <a:bodyPr lIns="0" tIns="0" rIns="0" bIns="0"/>
          <a:lstStyle>
            <a:lvl1pPr marL="0" indent="0" algn="l">
              <a:buNone/>
              <a:defRPr sz="2400">
                <a:solidFill>
                  <a:schemeClr val="bg1"/>
                </a:solidFill>
                <a:latin typeface="+mj-lt"/>
              </a:defRPr>
            </a:lvl1pPr>
          </a:lstStyle>
          <a:p>
            <a:pPr lvl="0"/>
            <a:endParaRPr lang="en-US"/>
          </a:p>
        </p:txBody>
      </p:sp>
      <p:sp>
        <p:nvSpPr>
          <p:cNvPr id="7" name="Rectangle 6">
            <a:extLst>
              <a:ext uri="{FF2B5EF4-FFF2-40B4-BE49-F238E27FC236}">
                <a16:creationId xmlns:a16="http://schemas.microsoft.com/office/drawing/2014/main" id="{EB29B0C9-12FE-DCF2-211E-95A9A6C5BF64}"/>
              </a:ext>
            </a:extLst>
          </p:cNvPr>
          <p:cNvSpPr/>
          <p:nvPr userDrawn="1"/>
        </p:nvSpPr>
        <p:spPr bwMode="auto">
          <a:xfrm>
            <a:off x="0" y="5943600"/>
            <a:ext cx="12192000" cy="9144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07360EA0-BB9F-05D9-26DD-1366D13AC803}"/>
              </a:ext>
            </a:extLst>
          </p:cNvPr>
          <p:cNvPicPr>
            <a:picLocks noChangeAspect="1"/>
          </p:cNvPicPr>
          <p:nvPr userDrawn="1"/>
        </p:nvPicPr>
        <p:blipFill rotWithShape="1">
          <a:blip r:embed="rId2">
            <a:alphaModFix amt="64000"/>
          </a:blip>
          <a:srcRect t="17843" r="7645"/>
          <a:stretch/>
        </p:blipFill>
        <p:spPr>
          <a:xfrm>
            <a:off x="7108075" y="-1"/>
            <a:ext cx="5083925" cy="6400801"/>
          </a:xfrm>
          <a:prstGeom prst="rect">
            <a:avLst/>
          </a:prstGeom>
        </p:spPr>
      </p:pic>
      <p:cxnSp>
        <p:nvCxnSpPr>
          <p:cNvPr id="5" name="Straight Connector 4">
            <a:extLst>
              <a:ext uri="{FF2B5EF4-FFF2-40B4-BE49-F238E27FC236}">
                <a16:creationId xmlns:a16="http://schemas.microsoft.com/office/drawing/2014/main" id="{262E6C22-DBFB-FEB2-2CB5-AE6F2E89DCE9}"/>
              </a:ext>
            </a:extLst>
          </p:cNvPr>
          <p:cNvCxnSpPr>
            <a:cxnSpLocks/>
          </p:cNvCxnSpPr>
          <p:nvPr userDrawn="1"/>
        </p:nvCxnSpPr>
        <p:spPr>
          <a:xfrm>
            <a:off x="584200" y="4028057"/>
            <a:ext cx="4788352" cy="0"/>
          </a:xfrm>
          <a:prstGeom prst="line">
            <a:avLst/>
          </a:prstGeom>
          <a:ln w="34925">
            <a:gradFill flip="none" rotWithShape="1">
              <a:gsLst>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E4880C1-5D88-0B30-8BDD-E0561F99F4E1}"/>
              </a:ext>
            </a:extLst>
          </p:cNvPr>
          <p:cNvPicPr>
            <a:picLocks noChangeAspect="1"/>
          </p:cNvPicPr>
          <p:nvPr userDrawn="1"/>
        </p:nvPicPr>
        <p:blipFill rotWithShape="1">
          <a:blip r:embed="rId3">
            <a:alphaModFix amt="34000"/>
            <a:extLst>
              <a:ext uri="{BEBA8EAE-BF5A-486C-A8C5-ECC9F3942E4B}">
                <a14:imgProps xmlns:a14="http://schemas.microsoft.com/office/drawing/2010/main">
                  <a14:imgLayer r:embed="rId4">
                    <a14:imgEffect>
                      <a14:artisticBlur/>
                    </a14:imgEffect>
                  </a14:imgLayer>
                </a14:imgProps>
              </a:ext>
            </a:extLst>
          </a:blip>
          <a:srcRect t="19302"/>
          <a:stretch/>
        </p:blipFill>
        <p:spPr>
          <a:xfrm>
            <a:off x="3215442" y="3028891"/>
            <a:ext cx="8813621" cy="3829110"/>
          </a:xfrm>
          <a:prstGeom prst="rect">
            <a:avLst/>
          </a:prstGeom>
        </p:spPr>
      </p:pic>
      <p:pic>
        <p:nvPicPr>
          <p:cNvPr id="10" name="Picture 9">
            <a:extLst>
              <a:ext uri="{FF2B5EF4-FFF2-40B4-BE49-F238E27FC236}">
                <a16:creationId xmlns:a16="http://schemas.microsoft.com/office/drawing/2014/main" id="{3D582BC6-4243-5D47-7AA9-5A48EF091185}"/>
              </a:ext>
            </a:extLst>
          </p:cNvPr>
          <p:cNvPicPr>
            <a:picLocks noChangeAspect="1"/>
          </p:cNvPicPr>
          <p:nvPr userDrawn="1"/>
        </p:nvPicPr>
        <p:blipFill rotWithShape="1">
          <a:blip r:embed="rId3">
            <a:alphaModFix amt="55000"/>
            <a:extLst>
              <a:ext uri="{BEBA8EAE-BF5A-486C-A8C5-ECC9F3942E4B}">
                <a14:imgProps xmlns:a14="http://schemas.microsoft.com/office/drawing/2010/main">
                  <a14:imgLayer r:embed="rId4">
                    <a14:imgEffect>
                      <a14:artisticBlur/>
                    </a14:imgEffect>
                  </a14:imgLayer>
                </a14:imgProps>
              </a:ext>
            </a:extLst>
          </a:blip>
          <a:srcRect l="38243" t="17291" b="26565"/>
          <a:stretch/>
        </p:blipFill>
        <p:spPr>
          <a:xfrm flipV="1">
            <a:off x="0" y="-2"/>
            <a:ext cx="4385157" cy="2146300"/>
          </a:xfrm>
          <a:prstGeom prst="rect">
            <a:avLst/>
          </a:prstGeom>
        </p:spPr>
      </p:pic>
      <p:sp>
        <p:nvSpPr>
          <p:cNvPr id="11" name="Oval 10">
            <a:extLst>
              <a:ext uri="{FF2B5EF4-FFF2-40B4-BE49-F238E27FC236}">
                <a16:creationId xmlns:a16="http://schemas.microsoft.com/office/drawing/2014/main" id="{3472E274-903F-E757-A822-9064376EA70B}"/>
              </a:ext>
            </a:extLst>
          </p:cNvPr>
          <p:cNvSpPr/>
          <p:nvPr userDrawn="1"/>
        </p:nvSpPr>
        <p:spPr bwMode="auto">
          <a:xfrm>
            <a:off x="8787585" y="1029999"/>
            <a:ext cx="2127002" cy="2127000"/>
          </a:xfrm>
          <a:prstGeom prst="ellipse">
            <a:avLst/>
          </a:prstGeom>
          <a:gradFill flip="none" rotWithShape="1">
            <a:gsLst>
              <a:gs pos="0">
                <a:schemeClr val="accent1"/>
              </a:gs>
              <a:gs pos="57000">
                <a:schemeClr val="accent1">
                  <a:lumMod val="75000"/>
                  <a:alpha val="0"/>
                </a:scheme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 name="Group 11">
            <a:extLst>
              <a:ext uri="{FF2B5EF4-FFF2-40B4-BE49-F238E27FC236}">
                <a16:creationId xmlns:a16="http://schemas.microsoft.com/office/drawing/2014/main" id="{B728DFA4-AABD-11C9-7307-133EC61BB074}"/>
              </a:ext>
            </a:extLst>
          </p:cNvPr>
          <p:cNvGrpSpPr/>
          <p:nvPr userDrawn="1"/>
        </p:nvGrpSpPr>
        <p:grpSpPr>
          <a:xfrm>
            <a:off x="9648117" y="2301582"/>
            <a:ext cx="405938" cy="1217808"/>
            <a:chOff x="4288610" y="1875129"/>
            <a:chExt cx="295276" cy="885825"/>
          </a:xfrm>
        </p:grpSpPr>
        <p:cxnSp>
          <p:nvCxnSpPr>
            <p:cNvPr id="13" name="Straight Connector 12">
              <a:extLst>
                <a:ext uri="{FF2B5EF4-FFF2-40B4-BE49-F238E27FC236}">
                  <a16:creationId xmlns:a16="http://schemas.microsoft.com/office/drawing/2014/main" id="{125B3B47-B24F-95ED-C8B0-A6CB1C171FEC}"/>
                </a:ext>
              </a:extLst>
            </p:cNvPr>
            <p:cNvCxnSpPr>
              <a:cxnSpLocks/>
            </p:cNvCxnSpPr>
            <p:nvPr/>
          </p:nvCxnSpPr>
          <p:spPr>
            <a:xfrm>
              <a:off x="4387035" y="1875129"/>
              <a:ext cx="0" cy="885825"/>
            </a:xfrm>
            <a:prstGeom prst="line">
              <a:avLst/>
            </a:prstGeom>
            <a:ln w="15875">
              <a:gradFill>
                <a:gsLst>
                  <a:gs pos="87000">
                    <a:schemeClr val="accent1">
                      <a:lumMod val="30000"/>
                      <a:lumOff val="70000"/>
                      <a:alpha val="0"/>
                    </a:schemeClr>
                  </a:gs>
                  <a:gs pos="0">
                    <a:schemeClr val="bg1">
                      <a:alpha val="7000"/>
                    </a:schemeClr>
                  </a:gs>
                  <a:gs pos="16000">
                    <a:schemeClr val="bg1"/>
                  </a:gs>
                  <a:gs pos="42000">
                    <a:schemeClr val="accent1">
                      <a:lumMod val="30000"/>
                      <a:lumOff val="70000"/>
                      <a:alpha val="2500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1F4B27A-877F-3FD9-162A-682116457328}"/>
                </a:ext>
              </a:extLst>
            </p:cNvPr>
            <p:cNvCxnSpPr>
              <a:cxnSpLocks/>
            </p:cNvCxnSpPr>
            <p:nvPr/>
          </p:nvCxnSpPr>
          <p:spPr>
            <a:xfrm>
              <a:off x="4288610" y="1875129"/>
              <a:ext cx="0" cy="885825"/>
            </a:xfrm>
            <a:prstGeom prst="line">
              <a:avLst/>
            </a:prstGeom>
            <a:ln w="15875">
              <a:gradFill>
                <a:gsLst>
                  <a:gs pos="87000">
                    <a:schemeClr val="accent1">
                      <a:lumMod val="30000"/>
                      <a:lumOff val="70000"/>
                      <a:alpha val="0"/>
                    </a:schemeClr>
                  </a:gs>
                  <a:gs pos="0">
                    <a:schemeClr val="bg1">
                      <a:alpha val="7000"/>
                    </a:schemeClr>
                  </a:gs>
                  <a:gs pos="16000">
                    <a:schemeClr val="bg1"/>
                  </a:gs>
                  <a:gs pos="42000">
                    <a:schemeClr val="accent1">
                      <a:lumMod val="30000"/>
                      <a:lumOff val="70000"/>
                      <a:alpha val="2500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00C3646-7D8B-E912-48B0-50685D150BB1}"/>
                </a:ext>
              </a:extLst>
            </p:cNvPr>
            <p:cNvCxnSpPr>
              <a:cxnSpLocks/>
            </p:cNvCxnSpPr>
            <p:nvPr/>
          </p:nvCxnSpPr>
          <p:spPr>
            <a:xfrm>
              <a:off x="4485460" y="1875129"/>
              <a:ext cx="0" cy="885825"/>
            </a:xfrm>
            <a:prstGeom prst="line">
              <a:avLst/>
            </a:prstGeom>
            <a:ln w="15875">
              <a:gradFill>
                <a:gsLst>
                  <a:gs pos="87000">
                    <a:schemeClr val="accent1">
                      <a:lumMod val="30000"/>
                      <a:lumOff val="70000"/>
                      <a:alpha val="0"/>
                    </a:schemeClr>
                  </a:gs>
                  <a:gs pos="0">
                    <a:schemeClr val="bg1">
                      <a:alpha val="7000"/>
                    </a:schemeClr>
                  </a:gs>
                  <a:gs pos="16000">
                    <a:schemeClr val="bg1"/>
                  </a:gs>
                  <a:gs pos="42000">
                    <a:schemeClr val="accent1">
                      <a:lumMod val="30000"/>
                      <a:lumOff val="70000"/>
                      <a:alpha val="2500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48F00C6-DE99-7021-2467-AA218EB6189B}"/>
                </a:ext>
              </a:extLst>
            </p:cNvPr>
            <p:cNvCxnSpPr>
              <a:cxnSpLocks/>
            </p:cNvCxnSpPr>
            <p:nvPr/>
          </p:nvCxnSpPr>
          <p:spPr>
            <a:xfrm>
              <a:off x="4583886" y="1875129"/>
              <a:ext cx="0" cy="885825"/>
            </a:xfrm>
            <a:prstGeom prst="line">
              <a:avLst/>
            </a:prstGeom>
            <a:ln w="15875">
              <a:gradFill>
                <a:gsLst>
                  <a:gs pos="87000">
                    <a:schemeClr val="accent1">
                      <a:lumMod val="30000"/>
                      <a:lumOff val="70000"/>
                      <a:alpha val="0"/>
                    </a:schemeClr>
                  </a:gs>
                  <a:gs pos="0">
                    <a:schemeClr val="bg1">
                      <a:alpha val="7000"/>
                    </a:schemeClr>
                  </a:gs>
                  <a:gs pos="16000">
                    <a:schemeClr val="bg1"/>
                  </a:gs>
                  <a:gs pos="42000">
                    <a:schemeClr val="accent1">
                      <a:lumMod val="30000"/>
                      <a:lumOff val="70000"/>
                      <a:alpha val="25000"/>
                    </a:schemeClr>
                  </a:gs>
                </a:gsLst>
                <a:lin ang="5400000" scaled="1"/>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8" name="Oval 17">
            <a:extLst>
              <a:ext uri="{FF2B5EF4-FFF2-40B4-BE49-F238E27FC236}">
                <a16:creationId xmlns:a16="http://schemas.microsoft.com/office/drawing/2014/main" id="{4709B211-38C9-87B5-17A4-DA57B87599D1}"/>
              </a:ext>
            </a:extLst>
          </p:cNvPr>
          <p:cNvSpPr/>
          <p:nvPr userDrawn="1"/>
        </p:nvSpPr>
        <p:spPr bwMode="auto">
          <a:xfrm>
            <a:off x="9367475" y="1613556"/>
            <a:ext cx="967223" cy="967223"/>
          </a:xfrm>
          <a:prstGeom prst="ellipse">
            <a:avLst/>
          </a:prstGeom>
          <a:noFill/>
          <a:ln w="34925">
            <a:solidFill>
              <a:schemeClr val="bg1"/>
            </a:solidFill>
            <a:headEnd type="none" w="med" len="med"/>
            <a:tailEnd type="none" w="med" len="med"/>
          </a:ln>
          <a:effectLst>
            <a:outerShdw blurRad="127000" dist="38100" dir="5400000" algn="t" rotWithShape="0">
              <a:prstClr val="black">
                <a:alpha val="49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625959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tx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EF61C4-86B0-2386-7430-33468C15D54C}"/>
              </a:ext>
            </a:extLst>
          </p:cNvPr>
          <p:cNvSpPr/>
          <p:nvPr userDrawn="1"/>
        </p:nvSpPr>
        <p:spPr bwMode="auto">
          <a:xfrm>
            <a:off x="0" y="0"/>
            <a:ext cx="12192000" cy="68580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descr="A picture containing dark, light&#10;&#10;Description automatically generated">
            <a:extLst>
              <a:ext uri="{FF2B5EF4-FFF2-40B4-BE49-F238E27FC236}">
                <a16:creationId xmlns:a16="http://schemas.microsoft.com/office/drawing/2014/main" id="{0D04D24C-3481-57E8-BBE3-C9C9BE9CD2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21353" y="-1"/>
            <a:ext cx="10370648" cy="6375399"/>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4200" y="3028891"/>
            <a:ext cx="9630389" cy="677108"/>
          </a:xfrm>
        </p:spPr>
        <p:txBody>
          <a:bodyPr anchor="b"/>
          <a:lstStyle>
            <a:lvl1pPr>
              <a:defRPr sz="4400"/>
            </a:lvl1pPr>
          </a:lstStyle>
          <a:p>
            <a:r>
              <a:rPr lang="en-US"/>
              <a:t>Click to edit title</a:t>
            </a:r>
          </a:p>
        </p:txBody>
      </p:sp>
      <p:sp>
        <p:nvSpPr>
          <p:cNvPr id="6" name="Text Placeholder 5">
            <a:extLst>
              <a:ext uri="{FF2B5EF4-FFF2-40B4-BE49-F238E27FC236}">
                <a16:creationId xmlns:a16="http://schemas.microsoft.com/office/drawing/2014/main" id="{E51044BB-4745-D443-6536-16F2A6004BC9}"/>
              </a:ext>
            </a:extLst>
          </p:cNvPr>
          <p:cNvSpPr>
            <a:spLocks noGrp="1"/>
          </p:cNvSpPr>
          <p:nvPr>
            <p:ph type="body" sz="quarter" idx="16"/>
          </p:nvPr>
        </p:nvSpPr>
        <p:spPr>
          <a:xfrm>
            <a:off x="584200" y="4350114"/>
            <a:ext cx="9602819" cy="724246"/>
          </a:xfrm>
          <a:prstGeom prst="rect">
            <a:avLst/>
          </a:prstGeom>
        </p:spPr>
        <p:txBody>
          <a:bodyPr lIns="0" tIns="0" rIns="0" bIns="0"/>
          <a:lstStyle>
            <a:lvl1pPr marL="0" indent="0" algn="l">
              <a:buNone/>
              <a:defRPr sz="2400">
                <a:solidFill>
                  <a:schemeClr val="bg1"/>
                </a:solidFill>
                <a:latin typeface="+mj-lt"/>
              </a:defRPr>
            </a:lvl1pPr>
          </a:lstStyle>
          <a:p>
            <a:pPr lvl="0"/>
            <a:endParaRPr lang="en-US"/>
          </a:p>
        </p:txBody>
      </p:sp>
      <p:cxnSp>
        <p:nvCxnSpPr>
          <p:cNvPr id="5" name="Straight Connector 4">
            <a:extLst>
              <a:ext uri="{FF2B5EF4-FFF2-40B4-BE49-F238E27FC236}">
                <a16:creationId xmlns:a16="http://schemas.microsoft.com/office/drawing/2014/main" id="{262E6C22-DBFB-FEB2-2CB5-AE6F2E89DCE9}"/>
              </a:ext>
            </a:extLst>
          </p:cNvPr>
          <p:cNvCxnSpPr>
            <a:cxnSpLocks/>
          </p:cNvCxnSpPr>
          <p:nvPr userDrawn="1"/>
        </p:nvCxnSpPr>
        <p:spPr>
          <a:xfrm>
            <a:off x="584200" y="4028057"/>
            <a:ext cx="4788352" cy="0"/>
          </a:xfrm>
          <a:prstGeom prst="line">
            <a:avLst/>
          </a:prstGeom>
          <a:ln w="34925">
            <a:gradFill flip="none" rotWithShape="1">
              <a:gsLst>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7C35657-317F-E7C6-C50F-2BADCB319E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32561"/>
          <a:stretch/>
        </p:blipFill>
        <p:spPr>
          <a:xfrm>
            <a:off x="584200" y="585788"/>
            <a:ext cx="1385093" cy="292589"/>
          </a:xfrm>
          <a:prstGeom prst="rect">
            <a:avLst/>
          </a:prstGeom>
        </p:spPr>
      </p:pic>
    </p:spTree>
    <p:extLst>
      <p:ext uri="{BB962C8B-B14F-4D97-AF65-F5344CB8AC3E}">
        <p14:creationId xmlns:p14="http://schemas.microsoft.com/office/powerpoint/2010/main" val="1646855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Divider slide">
    <p:spTree>
      <p:nvGrpSpPr>
        <p:cNvPr id="1" name=""/>
        <p:cNvGrpSpPr/>
        <p:nvPr/>
      </p:nvGrpSpPr>
      <p:grpSpPr>
        <a:xfrm>
          <a:off x="0" y="0"/>
          <a:ext cx="0" cy="0"/>
          <a:chOff x="0" y="0"/>
          <a:chExt cx="0" cy="0"/>
        </a:xfrm>
      </p:grpSpPr>
      <p:pic>
        <p:nvPicPr>
          <p:cNvPr id="3" name="Picture 2" descr="A picture containing outdoor, dark, light, night&#10;&#10;Description automatically generated">
            <a:extLst>
              <a:ext uri="{FF2B5EF4-FFF2-40B4-BE49-F238E27FC236}">
                <a16:creationId xmlns:a16="http://schemas.microsoft.com/office/drawing/2014/main" id="{49739B05-CA31-0180-0F75-CDAFCCD96C1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495" y="0"/>
            <a:ext cx="12163505"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hasCustomPrompt="1"/>
          </p:nvPr>
        </p:nvSpPr>
        <p:spPr>
          <a:xfrm>
            <a:off x="584200" y="3028891"/>
            <a:ext cx="9630389" cy="677108"/>
          </a:xfrm>
        </p:spPr>
        <p:txBody>
          <a:bodyPr anchor="b"/>
          <a:lstStyle>
            <a:lvl1pPr>
              <a:defRPr sz="4400"/>
            </a:lvl1pPr>
          </a:lstStyle>
          <a:p>
            <a:r>
              <a:rPr lang="en-US"/>
              <a:t>Click to edit title</a:t>
            </a:r>
          </a:p>
        </p:txBody>
      </p:sp>
      <p:sp>
        <p:nvSpPr>
          <p:cNvPr id="6" name="Text Placeholder 5">
            <a:extLst>
              <a:ext uri="{FF2B5EF4-FFF2-40B4-BE49-F238E27FC236}">
                <a16:creationId xmlns:a16="http://schemas.microsoft.com/office/drawing/2014/main" id="{E51044BB-4745-D443-6536-16F2A6004BC9}"/>
              </a:ext>
            </a:extLst>
          </p:cNvPr>
          <p:cNvSpPr>
            <a:spLocks noGrp="1"/>
          </p:cNvSpPr>
          <p:nvPr>
            <p:ph type="body" sz="quarter" idx="16"/>
          </p:nvPr>
        </p:nvSpPr>
        <p:spPr>
          <a:xfrm>
            <a:off x="584200" y="4350114"/>
            <a:ext cx="9602819" cy="724246"/>
          </a:xfrm>
          <a:prstGeom prst="rect">
            <a:avLst/>
          </a:prstGeom>
        </p:spPr>
        <p:txBody>
          <a:bodyPr lIns="0" tIns="0" rIns="0" bIns="0"/>
          <a:lstStyle>
            <a:lvl1pPr marL="0" indent="0" algn="l">
              <a:buNone/>
              <a:defRPr sz="2400">
                <a:solidFill>
                  <a:schemeClr val="bg1"/>
                </a:solidFill>
                <a:latin typeface="+mj-lt"/>
              </a:defRPr>
            </a:lvl1pPr>
          </a:lstStyle>
          <a:p>
            <a:pPr lvl="0"/>
            <a:endParaRPr lang="en-US"/>
          </a:p>
        </p:txBody>
      </p:sp>
      <p:pic>
        <p:nvPicPr>
          <p:cNvPr id="8" name="Picture 7">
            <a:extLst>
              <a:ext uri="{FF2B5EF4-FFF2-40B4-BE49-F238E27FC236}">
                <a16:creationId xmlns:a16="http://schemas.microsoft.com/office/drawing/2014/main" id="{B7C35657-317F-E7C6-C50F-2BADCB319ED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32561"/>
          <a:stretch/>
        </p:blipFill>
        <p:spPr>
          <a:xfrm>
            <a:off x="584200" y="585788"/>
            <a:ext cx="1385093" cy="292589"/>
          </a:xfrm>
          <a:prstGeom prst="rect">
            <a:avLst/>
          </a:prstGeom>
        </p:spPr>
      </p:pic>
    </p:spTree>
    <p:extLst>
      <p:ext uri="{BB962C8B-B14F-4D97-AF65-F5344CB8AC3E}">
        <p14:creationId xmlns:p14="http://schemas.microsoft.com/office/powerpoint/2010/main" val="42271072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numbered columns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BF49065A-0966-3696-B82B-69ACEF6F6E1D}"/>
              </a:ext>
            </a:extLst>
          </p:cNvPr>
          <p:cNvCxnSpPr>
            <a:cxnSpLocks/>
          </p:cNvCxnSpPr>
          <p:nvPr userDrawn="1"/>
        </p:nvCxnSpPr>
        <p:spPr>
          <a:xfrm flipH="1">
            <a:off x="7266995" y="2347736"/>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27CCF8B-E5F0-4336-2E28-281422ECA2A1}"/>
              </a:ext>
            </a:extLst>
          </p:cNvPr>
          <p:cNvCxnSpPr>
            <a:cxnSpLocks/>
          </p:cNvCxnSpPr>
          <p:nvPr userDrawn="1"/>
        </p:nvCxnSpPr>
        <p:spPr>
          <a:xfrm flipH="1">
            <a:off x="557248" y="5857875"/>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2145641D-3EEC-B8CB-667C-358CAAC5F424}"/>
              </a:ext>
              <a:ext uri="{C183D7F6-B498-43B3-948B-1728B52AA6E4}">
                <adec:decorative xmlns:adec="http://schemas.microsoft.com/office/drawing/2017/decorative" val="1"/>
              </a:ext>
            </a:extLst>
          </p:cNvPr>
          <p:cNvSpPr>
            <a:spLocks/>
          </p:cNvSpPr>
          <p:nvPr userDrawn="1"/>
        </p:nvSpPr>
        <p:spPr bwMode="auto">
          <a:xfrm>
            <a:off x="0" y="2347736"/>
            <a:ext cx="11606562" cy="3510139"/>
          </a:xfrm>
          <a:custGeom>
            <a:avLst/>
            <a:gdLst>
              <a:gd name="connsiteX0" fmla="*/ 0 w 11606562"/>
              <a:gd name="connsiteY0" fmla="*/ 0 h 3510139"/>
              <a:gd name="connsiteX1" fmla="*/ 11503153 w 11606562"/>
              <a:gd name="connsiteY1" fmla="*/ 0 h 3510139"/>
              <a:gd name="connsiteX2" fmla="*/ 11606562 w 11606562"/>
              <a:gd name="connsiteY2" fmla="*/ 103409 h 3510139"/>
              <a:gd name="connsiteX3" fmla="*/ 11606562 w 11606562"/>
              <a:gd name="connsiteY3" fmla="*/ 3406730 h 3510139"/>
              <a:gd name="connsiteX4" fmla="*/ 11503153 w 11606562"/>
              <a:gd name="connsiteY4" fmla="*/ 3510139 h 3510139"/>
              <a:gd name="connsiteX5" fmla="*/ 0 w 11606562"/>
              <a:gd name="connsiteY5" fmla="*/ 3510139 h 351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562" h="3510139">
                <a:moveTo>
                  <a:pt x="0" y="0"/>
                </a:moveTo>
                <a:lnTo>
                  <a:pt x="11503153" y="0"/>
                </a:lnTo>
                <a:cubicBezTo>
                  <a:pt x="11560264" y="0"/>
                  <a:pt x="11606562" y="46298"/>
                  <a:pt x="11606562" y="103409"/>
                </a:cubicBezTo>
                <a:lnTo>
                  <a:pt x="11606562" y="3406730"/>
                </a:lnTo>
                <a:cubicBezTo>
                  <a:pt x="11606562" y="3463841"/>
                  <a:pt x="11560264" y="3510139"/>
                  <a:pt x="11503153" y="3510139"/>
                </a:cubicBezTo>
                <a:lnTo>
                  <a:pt x="0" y="3510139"/>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681DBE1A-E929-F197-9A12-E34334DF7932}"/>
              </a:ext>
            </a:extLst>
          </p:cNvPr>
          <p:cNvSpPr/>
          <p:nvPr/>
        </p:nvSpPr>
        <p:spPr bwMode="auto">
          <a:xfrm>
            <a:off x="1031338"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9" name="Rectangle: Rounded Corners 18">
            <a:extLst>
              <a:ext uri="{FF2B5EF4-FFF2-40B4-BE49-F238E27FC236}">
                <a16:creationId xmlns:a16="http://schemas.microsoft.com/office/drawing/2014/main" id="{CCBC87A7-86B4-7578-1C59-4A4B312D5231}"/>
              </a:ext>
            </a:extLst>
          </p:cNvPr>
          <p:cNvSpPr/>
          <p:nvPr/>
        </p:nvSpPr>
        <p:spPr bwMode="auto">
          <a:xfrm>
            <a:off x="8345106"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Rectangle: Rounded Corners 23">
            <a:extLst>
              <a:ext uri="{FF2B5EF4-FFF2-40B4-BE49-F238E27FC236}">
                <a16:creationId xmlns:a16="http://schemas.microsoft.com/office/drawing/2014/main" id="{65C0388D-9EB5-A9AD-B37D-A7FE8226093F}"/>
              </a:ext>
            </a:extLst>
          </p:cNvPr>
          <p:cNvSpPr/>
          <p:nvPr/>
        </p:nvSpPr>
        <p:spPr bwMode="auto">
          <a:xfrm>
            <a:off x="4688222"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31" name="Text Placeholder 30">
            <a:extLst>
              <a:ext uri="{FF2B5EF4-FFF2-40B4-BE49-F238E27FC236}">
                <a16:creationId xmlns:a16="http://schemas.microsoft.com/office/drawing/2014/main" id="{6FF3381E-BC22-7E7F-1054-11086D842724}"/>
              </a:ext>
            </a:extLst>
          </p:cNvPr>
          <p:cNvSpPr>
            <a:spLocks noGrp="1"/>
          </p:cNvSpPr>
          <p:nvPr>
            <p:ph type="body" sz="quarter" idx="11" hasCustomPrompt="1"/>
          </p:nvPr>
        </p:nvSpPr>
        <p:spPr>
          <a:xfrm>
            <a:off x="1195879"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3" name="Text Placeholder 30">
            <a:extLst>
              <a:ext uri="{FF2B5EF4-FFF2-40B4-BE49-F238E27FC236}">
                <a16:creationId xmlns:a16="http://schemas.microsoft.com/office/drawing/2014/main" id="{A53903A9-7B18-C3F3-C2D3-CEC6BF126D56}"/>
              </a:ext>
            </a:extLst>
          </p:cNvPr>
          <p:cNvSpPr>
            <a:spLocks noGrp="1"/>
          </p:cNvSpPr>
          <p:nvPr>
            <p:ph type="body" sz="quarter" idx="12" hasCustomPrompt="1"/>
          </p:nvPr>
        </p:nvSpPr>
        <p:spPr>
          <a:xfrm>
            <a:off x="4852763"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5" name="Text Placeholder 30">
            <a:extLst>
              <a:ext uri="{FF2B5EF4-FFF2-40B4-BE49-F238E27FC236}">
                <a16:creationId xmlns:a16="http://schemas.microsoft.com/office/drawing/2014/main" id="{30F039A8-CB25-A806-B966-0F5E32F261E2}"/>
              </a:ext>
            </a:extLst>
          </p:cNvPr>
          <p:cNvSpPr>
            <a:spLocks noGrp="1"/>
          </p:cNvSpPr>
          <p:nvPr>
            <p:ph type="body" sz="quarter" idx="14" hasCustomPrompt="1"/>
          </p:nvPr>
        </p:nvSpPr>
        <p:spPr>
          <a:xfrm>
            <a:off x="8509647"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7" name="Text Placeholder 36">
            <a:extLst>
              <a:ext uri="{FF2B5EF4-FFF2-40B4-BE49-F238E27FC236}">
                <a16:creationId xmlns:a16="http://schemas.microsoft.com/office/drawing/2014/main" id="{CEEAE767-FB46-65D7-01FF-950947725FDA}"/>
              </a:ext>
            </a:extLst>
          </p:cNvPr>
          <p:cNvSpPr>
            <a:spLocks noGrp="1"/>
          </p:cNvSpPr>
          <p:nvPr>
            <p:ph type="body" sz="quarter" idx="15" hasCustomPrompt="1"/>
          </p:nvPr>
        </p:nvSpPr>
        <p:spPr>
          <a:xfrm>
            <a:off x="1031338" y="2973097"/>
            <a:ext cx="267411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39" name="Text Placeholder 36">
            <a:extLst>
              <a:ext uri="{FF2B5EF4-FFF2-40B4-BE49-F238E27FC236}">
                <a16:creationId xmlns:a16="http://schemas.microsoft.com/office/drawing/2014/main" id="{FAD019C4-BF53-5AFB-C916-7A6B95446140}"/>
              </a:ext>
            </a:extLst>
          </p:cNvPr>
          <p:cNvSpPr>
            <a:spLocks noGrp="1"/>
          </p:cNvSpPr>
          <p:nvPr>
            <p:ph type="body" sz="quarter" idx="17" hasCustomPrompt="1"/>
          </p:nvPr>
        </p:nvSpPr>
        <p:spPr>
          <a:xfrm>
            <a:off x="4688222" y="2973097"/>
            <a:ext cx="267411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3" name="Text Placeholder 36">
            <a:extLst>
              <a:ext uri="{FF2B5EF4-FFF2-40B4-BE49-F238E27FC236}">
                <a16:creationId xmlns:a16="http://schemas.microsoft.com/office/drawing/2014/main" id="{01C4FEF8-3725-7E74-ED3C-2B1B9669906A}"/>
              </a:ext>
            </a:extLst>
          </p:cNvPr>
          <p:cNvSpPr>
            <a:spLocks noGrp="1"/>
          </p:cNvSpPr>
          <p:nvPr>
            <p:ph type="body" sz="quarter" idx="21" hasCustomPrompt="1"/>
          </p:nvPr>
        </p:nvSpPr>
        <p:spPr>
          <a:xfrm>
            <a:off x="8345106" y="2973097"/>
            <a:ext cx="2674116" cy="215444"/>
          </a:xfrm>
          <a:prstGeom prst="rect">
            <a:avLst/>
          </a:prstGeom>
        </p:spPr>
        <p:txBody>
          <a:bodyPr wrap="square"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7" name="Text Placeholder 45">
            <a:extLst>
              <a:ext uri="{FF2B5EF4-FFF2-40B4-BE49-F238E27FC236}">
                <a16:creationId xmlns:a16="http://schemas.microsoft.com/office/drawing/2014/main" id="{9ABE0B17-4722-6E25-46F1-58AAE20ECFE7}"/>
              </a:ext>
            </a:extLst>
          </p:cNvPr>
          <p:cNvSpPr>
            <a:spLocks noGrp="1"/>
          </p:cNvSpPr>
          <p:nvPr>
            <p:ph type="body" sz="quarter" idx="23" hasCustomPrompt="1"/>
          </p:nvPr>
        </p:nvSpPr>
        <p:spPr>
          <a:xfrm>
            <a:off x="4687862" y="3702716"/>
            <a:ext cx="267411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49" name="Text Placeholder 45">
            <a:extLst>
              <a:ext uri="{FF2B5EF4-FFF2-40B4-BE49-F238E27FC236}">
                <a16:creationId xmlns:a16="http://schemas.microsoft.com/office/drawing/2014/main" id="{160C357B-8F73-BC9C-8CC5-ABDB68A27208}"/>
              </a:ext>
            </a:extLst>
          </p:cNvPr>
          <p:cNvSpPr>
            <a:spLocks noGrp="1"/>
          </p:cNvSpPr>
          <p:nvPr>
            <p:ph type="body" sz="quarter" idx="25" hasCustomPrompt="1"/>
          </p:nvPr>
        </p:nvSpPr>
        <p:spPr>
          <a:xfrm>
            <a:off x="8345105" y="3702716"/>
            <a:ext cx="267411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1" name="Text Placeholder 45">
            <a:extLst>
              <a:ext uri="{FF2B5EF4-FFF2-40B4-BE49-F238E27FC236}">
                <a16:creationId xmlns:a16="http://schemas.microsoft.com/office/drawing/2014/main" id="{458EC882-241A-D6B1-FA1A-E62ED0F8CB5A}"/>
              </a:ext>
            </a:extLst>
          </p:cNvPr>
          <p:cNvSpPr>
            <a:spLocks noGrp="1"/>
          </p:cNvSpPr>
          <p:nvPr>
            <p:ph type="body" sz="quarter" idx="26" hasCustomPrompt="1"/>
          </p:nvPr>
        </p:nvSpPr>
        <p:spPr>
          <a:xfrm>
            <a:off x="1030618" y="3702716"/>
            <a:ext cx="267411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 name="Text Placeholder 18">
            <a:extLst>
              <a:ext uri="{FF2B5EF4-FFF2-40B4-BE49-F238E27FC236}">
                <a16:creationId xmlns:a16="http://schemas.microsoft.com/office/drawing/2014/main" id="{B33FC12A-89CA-C0F6-6EDF-1642E6B7B35D}"/>
              </a:ext>
            </a:extLst>
          </p:cNvPr>
          <p:cNvSpPr>
            <a:spLocks noGrp="1"/>
          </p:cNvSpPr>
          <p:nvPr>
            <p:ph type="body" sz="quarter" idx="27"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
        <p:nvSpPr>
          <p:cNvPr id="6" name="Footer Placeholder 3">
            <a:extLst>
              <a:ext uri="{FF2B5EF4-FFF2-40B4-BE49-F238E27FC236}">
                <a16:creationId xmlns:a16="http://schemas.microsoft.com/office/drawing/2014/main" id="{78494B57-8E9B-3E17-4C58-6245D1E7E7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31188189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numbered column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BF49065A-0966-3696-B82B-69ACEF6F6E1D}"/>
              </a:ext>
            </a:extLst>
          </p:cNvPr>
          <p:cNvCxnSpPr>
            <a:cxnSpLocks/>
          </p:cNvCxnSpPr>
          <p:nvPr userDrawn="1"/>
        </p:nvCxnSpPr>
        <p:spPr>
          <a:xfrm flipH="1">
            <a:off x="7266995" y="2347736"/>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27CCF8B-E5F0-4336-2E28-281422ECA2A1}"/>
              </a:ext>
            </a:extLst>
          </p:cNvPr>
          <p:cNvCxnSpPr>
            <a:cxnSpLocks/>
          </p:cNvCxnSpPr>
          <p:nvPr userDrawn="1"/>
        </p:nvCxnSpPr>
        <p:spPr>
          <a:xfrm flipH="1">
            <a:off x="557248" y="5857875"/>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2145641D-3EEC-B8CB-667C-358CAAC5F424}"/>
              </a:ext>
              <a:ext uri="{C183D7F6-B498-43B3-948B-1728B52AA6E4}">
                <adec:decorative xmlns:adec="http://schemas.microsoft.com/office/drawing/2017/decorative" val="1"/>
              </a:ext>
            </a:extLst>
          </p:cNvPr>
          <p:cNvSpPr>
            <a:spLocks/>
          </p:cNvSpPr>
          <p:nvPr userDrawn="1"/>
        </p:nvSpPr>
        <p:spPr bwMode="auto">
          <a:xfrm>
            <a:off x="0" y="2347736"/>
            <a:ext cx="11606562" cy="3510139"/>
          </a:xfrm>
          <a:custGeom>
            <a:avLst/>
            <a:gdLst>
              <a:gd name="connsiteX0" fmla="*/ 0 w 11606562"/>
              <a:gd name="connsiteY0" fmla="*/ 0 h 3510139"/>
              <a:gd name="connsiteX1" fmla="*/ 11503153 w 11606562"/>
              <a:gd name="connsiteY1" fmla="*/ 0 h 3510139"/>
              <a:gd name="connsiteX2" fmla="*/ 11606562 w 11606562"/>
              <a:gd name="connsiteY2" fmla="*/ 103409 h 3510139"/>
              <a:gd name="connsiteX3" fmla="*/ 11606562 w 11606562"/>
              <a:gd name="connsiteY3" fmla="*/ 3406730 h 3510139"/>
              <a:gd name="connsiteX4" fmla="*/ 11503153 w 11606562"/>
              <a:gd name="connsiteY4" fmla="*/ 3510139 h 3510139"/>
              <a:gd name="connsiteX5" fmla="*/ 0 w 11606562"/>
              <a:gd name="connsiteY5" fmla="*/ 3510139 h 351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562" h="3510139">
                <a:moveTo>
                  <a:pt x="0" y="0"/>
                </a:moveTo>
                <a:lnTo>
                  <a:pt x="11503153" y="0"/>
                </a:lnTo>
                <a:cubicBezTo>
                  <a:pt x="11560264" y="0"/>
                  <a:pt x="11606562" y="46298"/>
                  <a:pt x="11606562" y="103409"/>
                </a:cubicBezTo>
                <a:lnTo>
                  <a:pt x="11606562" y="3406730"/>
                </a:lnTo>
                <a:cubicBezTo>
                  <a:pt x="11606562" y="3463841"/>
                  <a:pt x="11560264" y="3510139"/>
                  <a:pt x="11503153" y="3510139"/>
                </a:cubicBezTo>
                <a:lnTo>
                  <a:pt x="0" y="3510139"/>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681DBE1A-E929-F197-9A12-E34334DF7932}"/>
              </a:ext>
            </a:extLst>
          </p:cNvPr>
          <p:cNvSpPr/>
          <p:nvPr/>
        </p:nvSpPr>
        <p:spPr bwMode="auto">
          <a:xfrm>
            <a:off x="557248"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637271FD-A9E6-C448-ACE2-0F60D7E37D5C}"/>
              </a:ext>
            </a:extLst>
          </p:cNvPr>
          <p:cNvSpPr/>
          <p:nvPr/>
        </p:nvSpPr>
        <p:spPr bwMode="auto">
          <a:xfrm>
            <a:off x="6230636"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9" name="Rectangle: Rounded Corners 18">
            <a:extLst>
              <a:ext uri="{FF2B5EF4-FFF2-40B4-BE49-F238E27FC236}">
                <a16:creationId xmlns:a16="http://schemas.microsoft.com/office/drawing/2014/main" id="{CCBC87A7-86B4-7578-1C59-4A4B312D5231}"/>
              </a:ext>
            </a:extLst>
          </p:cNvPr>
          <p:cNvSpPr/>
          <p:nvPr/>
        </p:nvSpPr>
        <p:spPr bwMode="auto">
          <a:xfrm>
            <a:off x="9067331"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Rectangle: Rounded Corners 23">
            <a:extLst>
              <a:ext uri="{FF2B5EF4-FFF2-40B4-BE49-F238E27FC236}">
                <a16:creationId xmlns:a16="http://schemas.microsoft.com/office/drawing/2014/main" id="{65C0388D-9EB5-A9AD-B37D-A7FE8226093F}"/>
              </a:ext>
            </a:extLst>
          </p:cNvPr>
          <p:cNvSpPr/>
          <p:nvPr/>
        </p:nvSpPr>
        <p:spPr bwMode="auto">
          <a:xfrm>
            <a:off x="3393942"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31" name="Text Placeholder 30">
            <a:extLst>
              <a:ext uri="{FF2B5EF4-FFF2-40B4-BE49-F238E27FC236}">
                <a16:creationId xmlns:a16="http://schemas.microsoft.com/office/drawing/2014/main" id="{6FF3381E-BC22-7E7F-1054-11086D842724}"/>
              </a:ext>
            </a:extLst>
          </p:cNvPr>
          <p:cNvSpPr>
            <a:spLocks noGrp="1"/>
          </p:cNvSpPr>
          <p:nvPr>
            <p:ph type="body" sz="quarter" idx="11" hasCustomPrompt="1"/>
          </p:nvPr>
        </p:nvSpPr>
        <p:spPr>
          <a:xfrm>
            <a:off x="721789"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3" name="Text Placeholder 30">
            <a:extLst>
              <a:ext uri="{FF2B5EF4-FFF2-40B4-BE49-F238E27FC236}">
                <a16:creationId xmlns:a16="http://schemas.microsoft.com/office/drawing/2014/main" id="{A53903A9-7B18-C3F3-C2D3-CEC6BF126D56}"/>
              </a:ext>
            </a:extLst>
          </p:cNvPr>
          <p:cNvSpPr>
            <a:spLocks noGrp="1"/>
          </p:cNvSpPr>
          <p:nvPr>
            <p:ph type="body" sz="quarter" idx="12" hasCustomPrompt="1"/>
          </p:nvPr>
        </p:nvSpPr>
        <p:spPr>
          <a:xfrm>
            <a:off x="3558483"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4" name="Text Placeholder 30">
            <a:extLst>
              <a:ext uri="{FF2B5EF4-FFF2-40B4-BE49-F238E27FC236}">
                <a16:creationId xmlns:a16="http://schemas.microsoft.com/office/drawing/2014/main" id="{1DF12713-83EE-2203-E7EC-B44A595B9E4B}"/>
              </a:ext>
            </a:extLst>
          </p:cNvPr>
          <p:cNvSpPr>
            <a:spLocks noGrp="1"/>
          </p:cNvSpPr>
          <p:nvPr>
            <p:ph type="body" sz="quarter" idx="13" hasCustomPrompt="1"/>
          </p:nvPr>
        </p:nvSpPr>
        <p:spPr>
          <a:xfrm>
            <a:off x="6395177"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5" name="Text Placeholder 30">
            <a:extLst>
              <a:ext uri="{FF2B5EF4-FFF2-40B4-BE49-F238E27FC236}">
                <a16:creationId xmlns:a16="http://schemas.microsoft.com/office/drawing/2014/main" id="{30F039A8-CB25-A806-B966-0F5E32F261E2}"/>
              </a:ext>
            </a:extLst>
          </p:cNvPr>
          <p:cNvSpPr>
            <a:spLocks noGrp="1"/>
          </p:cNvSpPr>
          <p:nvPr>
            <p:ph type="body" sz="quarter" idx="14" hasCustomPrompt="1"/>
          </p:nvPr>
        </p:nvSpPr>
        <p:spPr>
          <a:xfrm>
            <a:off x="9231872"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7" name="Text Placeholder 36">
            <a:extLst>
              <a:ext uri="{FF2B5EF4-FFF2-40B4-BE49-F238E27FC236}">
                <a16:creationId xmlns:a16="http://schemas.microsoft.com/office/drawing/2014/main" id="{CEEAE767-FB46-65D7-01FF-950947725FDA}"/>
              </a:ext>
            </a:extLst>
          </p:cNvPr>
          <p:cNvSpPr>
            <a:spLocks noGrp="1"/>
          </p:cNvSpPr>
          <p:nvPr>
            <p:ph type="body" sz="quarter" idx="15" hasCustomPrompt="1"/>
          </p:nvPr>
        </p:nvSpPr>
        <p:spPr>
          <a:xfrm>
            <a:off x="557248" y="2973097"/>
            <a:ext cx="228088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39" name="Text Placeholder 36">
            <a:extLst>
              <a:ext uri="{FF2B5EF4-FFF2-40B4-BE49-F238E27FC236}">
                <a16:creationId xmlns:a16="http://schemas.microsoft.com/office/drawing/2014/main" id="{FAD019C4-BF53-5AFB-C916-7A6B95446140}"/>
              </a:ext>
            </a:extLst>
          </p:cNvPr>
          <p:cNvSpPr>
            <a:spLocks noGrp="1"/>
          </p:cNvSpPr>
          <p:nvPr>
            <p:ph type="body" sz="quarter" idx="17" hasCustomPrompt="1"/>
          </p:nvPr>
        </p:nvSpPr>
        <p:spPr>
          <a:xfrm>
            <a:off x="3393942" y="2973097"/>
            <a:ext cx="228088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1" name="Text Placeholder 36">
            <a:extLst>
              <a:ext uri="{FF2B5EF4-FFF2-40B4-BE49-F238E27FC236}">
                <a16:creationId xmlns:a16="http://schemas.microsoft.com/office/drawing/2014/main" id="{DA217EAC-7E20-79E7-B9E0-B2A656D962DE}"/>
              </a:ext>
            </a:extLst>
          </p:cNvPr>
          <p:cNvSpPr>
            <a:spLocks noGrp="1"/>
          </p:cNvSpPr>
          <p:nvPr>
            <p:ph type="body" sz="quarter" idx="19" hasCustomPrompt="1"/>
          </p:nvPr>
        </p:nvSpPr>
        <p:spPr>
          <a:xfrm>
            <a:off x="6230636" y="2973097"/>
            <a:ext cx="228088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3" name="Text Placeholder 36">
            <a:extLst>
              <a:ext uri="{FF2B5EF4-FFF2-40B4-BE49-F238E27FC236}">
                <a16:creationId xmlns:a16="http://schemas.microsoft.com/office/drawing/2014/main" id="{01C4FEF8-3725-7E74-ED3C-2B1B9669906A}"/>
              </a:ext>
            </a:extLst>
          </p:cNvPr>
          <p:cNvSpPr>
            <a:spLocks noGrp="1"/>
          </p:cNvSpPr>
          <p:nvPr>
            <p:ph type="body" sz="quarter" idx="21" hasCustomPrompt="1"/>
          </p:nvPr>
        </p:nvSpPr>
        <p:spPr>
          <a:xfrm>
            <a:off x="9067331" y="2973097"/>
            <a:ext cx="2280886"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7" name="Text Placeholder 45">
            <a:extLst>
              <a:ext uri="{FF2B5EF4-FFF2-40B4-BE49-F238E27FC236}">
                <a16:creationId xmlns:a16="http://schemas.microsoft.com/office/drawing/2014/main" id="{9ABE0B17-4722-6E25-46F1-58AAE20ECFE7}"/>
              </a:ext>
            </a:extLst>
          </p:cNvPr>
          <p:cNvSpPr>
            <a:spLocks noGrp="1"/>
          </p:cNvSpPr>
          <p:nvPr>
            <p:ph type="body" sz="quarter" idx="23" hasCustomPrompt="1"/>
          </p:nvPr>
        </p:nvSpPr>
        <p:spPr>
          <a:xfrm>
            <a:off x="3393942" y="3702716"/>
            <a:ext cx="228088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48" name="Text Placeholder 45">
            <a:extLst>
              <a:ext uri="{FF2B5EF4-FFF2-40B4-BE49-F238E27FC236}">
                <a16:creationId xmlns:a16="http://schemas.microsoft.com/office/drawing/2014/main" id="{66918F90-3EA4-216E-AA55-17099BF0A781}"/>
              </a:ext>
            </a:extLst>
          </p:cNvPr>
          <p:cNvSpPr>
            <a:spLocks noGrp="1"/>
          </p:cNvSpPr>
          <p:nvPr>
            <p:ph type="body" sz="quarter" idx="24" hasCustomPrompt="1"/>
          </p:nvPr>
        </p:nvSpPr>
        <p:spPr>
          <a:xfrm>
            <a:off x="6230636" y="3702716"/>
            <a:ext cx="228088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49" name="Text Placeholder 45">
            <a:extLst>
              <a:ext uri="{FF2B5EF4-FFF2-40B4-BE49-F238E27FC236}">
                <a16:creationId xmlns:a16="http://schemas.microsoft.com/office/drawing/2014/main" id="{160C357B-8F73-BC9C-8CC5-ABDB68A27208}"/>
              </a:ext>
            </a:extLst>
          </p:cNvPr>
          <p:cNvSpPr>
            <a:spLocks noGrp="1"/>
          </p:cNvSpPr>
          <p:nvPr>
            <p:ph type="body" sz="quarter" idx="25" hasCustomPrompt="1"/>
          </p:nvPr>
        </p:nvSpPr>
        <p:spPr>
          <a:xfrm>
            <a:off x="9067330" y="3702716"/>
            <a:ext cx="228088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1" name="Text Placeholder 45">
            <a:extLst>
              <a:ext uri="{FF2B5EF4-FFF2-40B4-BE49-F238E27FC236}">
                <a16:creationId xmlns:a16="http://schemas.microsoft.com/office/drawing/2014/main" id="{458EC882-241A-D6B1-FA1A-E62ED0F8CB5A}"/>
              </a:ext>
            </a:extLst>
          </p:cNvPr>
          <p:cNvSpPr>
            <a:spLocks noGrp="1"/>
          </p:cNvSpPr>
          <p:nvPr>
            <p:ph type="body" sz="quarter" idx="26" hasCustomPrompt="1"/>
          </p:nvPr>
        </p:nvSpPr>
        <p:spPr>
          <a:xfrm>
            <a:off x="556528" y="3702716"/>
            <a:ext cx="2280886"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2" name="Text Placeholder 18">
            <a:extLst>
              <a:ext uri="{FF2B5EF4-FFF2-40B4-BE49-F238E27FC236}">
                <a16:creationId xmlns:a16="http://schemas.microsoft.com/office/drawing/2014/main" id="{1D0A7BF8-201F-A33A-08F6-1FBCA806F014}"/>
              </a:ext>
            </a:extLst>
          </p:cNvPr>
          <p:cNvSpPr>
            <a:spLocks noGrp="1"/>
          </p:cNvSpPr>
          <p:nvPr>
            <p:ph type="body" sz="quarter" idx="27"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
        <p:nvSpPr>
          <p:cNvPr id="5" name="Footer Placeholder 3">
            <a:extLst>
              <a:ext uri="{FF2B5EF4-FFF2-40B4-BE49-F238E27FC236}">
                <a16:creationId xmlns:a16="http://schemas.microsoft.com/office/drawing/2014/main" id="{47773EEA-6505-10AB-7E58-C168DE3610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38149458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numbered columns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BF49065A-0966-3696-B82B-69ACEF6F6E1D}"/>
              </a:ext>
            </a:extLst>
          </p:cNvPr>
          <p:cNvCxnSpPr>
            <a:cxnSpLocks/>
          </p:cNvCxnSpPr>
          <p:nvPr userDrawn="1"/>
        </p:nvCxnSpPr>
        <p:spPr>
          <a:xfrm flipH="1">
            <a:off x="7266995" y="2347736"/>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27CCF8B-E5F0-4336-2E28-281422ECA2A1}"/>
              </a:ext>
            </a:extLst>
          </p:cNvPr>
          <p:cNvCxnSpPr>
            <a:cxnSpLocks/>
          </p:cNvCxnSpPr>
          <p:nvPr userDrawn="1"/>
        </p:nvCxnSpPr>
        <p:spPr>
          <a:xfrm flipH="1">
            <a:off x="557248" y="5857875"/>
            <a:ext cx="4339567"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7" name="Freeform: Shape 26">
            <a:extLst>
              <a:ext uri="{FF2B5EF4-FFF2-40B4-BE49-F238E27FC236}">
                <a16:creationId xmlns:a16="http://schemas.microsoft.com/office/drawing/2014/main" id="{2145641D-3EEC-B8CB-667C-358CAAC5F424}"/>
              </a:ext>
              <a:ext uri="{C183D7F6-B498-43B3-948B-1728B52AA6E4}">
                <adec:decorative xmlns:adec="http://schemas.microsoft.com/office/drawing/2017/decorative" val="1"/>
              </a:ext>
            </a:extLst>
          </p:cNvPr>
          <p:cNvSpPr>
            <a:spLocks/>
          </p:cNvSpPr>
          <p:nvPr userDrawn="1"/>
        </p:nvSpPr>
        <p:spPr bwMode="auto">
          <a:xfrm>
            <a:off x="0" y="2347736"/>
            <a:ext cx="11606562" cy="3510139"/>
          </a:xfrm>
          <a:custGeom>
            <a:avLst/>
            <a:gdLst>
              <a:gd name="connsiteX0" fmla="*/ 0 w 11606562"/>
              <a:gd name="connsiteY0" fmla="*/ 0 h 3510139"/>
              <a:gd name="connsiteX1" fmla="*/ 11503153 w 11606562"/>
              <a:gd name="connsiteY1" fmla="*/ 0 h 3510139"/>
              <a:gd name="connsiteX2" fmla="*/ 11606562 w 11606562"/>
              <a:gd name="connsiteY2" fmla="*/ 103409 h 3510139"/>
              <a:gd name="connsiteX3" fmla="*/ 11606562 w 11606562"/>
              <a:gd name="connsiteY3" fmla="*/ 3406730 h 3510139"/>
              <a:gd name="connsiteX4" fmla="*/ 11503153 w 11606562"/>
              <a:gd name="connsiteY4" fmla="*/ 3510139 h 3510139"/>
              <a:gd name="connsiteX5" fmla="*/ 0 w 11606562"/>
              <a:gd name="connsiteY5" fmla="*/ 3510139 h 351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6562" h="3510139">
                <a:moveTo>
                  <a:pt x="0" y="0"/>
                </a:moveTo>
                <a:lnTo>
                  <a:pt x="11503153" y="0"/>
                </a:lnTo>
                <a:cubicBezTo>
                  <a:pt x="11560264" y="0"/>
                  <a:pt x="11606562" y="46298"/>
                  <a:pt x="11606562" y="103409"/>
                </a:cubicBezTo>
                <a:lnTo>
                  <a:pt x="11606562" y="3406730"/>
                </a:lnTo>
                <a:cubicBezTo>
                  <a:pt x="11606562" y="3463841"/>
                  <a:pt x="11560264" y="3510139"/>
                  <a:pt x="11503153" y="3510139"/>
                </a:cubicBezTo>
                <a:lnTo>
                  <a:pt x="0" y="3510139"/>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681DBE1A-E929-F197-9A12-E34334DF7932}"/>
              </a:ext>
            </a:extLst>
          </p:cNvPr>
          <p:cNvSpPr/>
          <p:nvPr/>
        </p:nvSpPr>
        <p:spPr bwMode="auto">
          <a:xfrm>
            <a:off x="557248"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637271FD-A9E6-C448-ACE2-0F60D7E37D5C}"/>
              </a:ext>
            </a:extLst>
          </p:cNvPr>
          <p:cNvSpPr/>
          <p:nvPr/>
        </p:nvSpPr>
        <p:spPr bwMode="auto">
          <a:xfrm>
            <a:off x="7277530"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9" name="Rectangle: Rounded Corners 18">
            <a:extLst>
              <a:ext uri="{FF2B5EF4-FFF2-40B4-BE49-F238E27FC236}">
                <a16:creationId xmlns:a16="http://schemas.microsoft.com/office/drawing/2014/main" id="{CCBC87A7-86B4-7578-1C59-4A4B312D5231}"/>
              </a:ext>
            </a:extLst>
          </p:cNvPr>
          <p:cNvSpPr/>
          <p:nvPr/>
        </p:nvSpPr>
        <p:spPr bwMode="auto">
          <a:xfrm>
            <a:off x="9517623"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Rectangle: Rounded Corners 23">
            <a:extLst>
              <a:ext uri="{FF2B5EF4-FFF2-40B4-BE49-F238E27FC236}">
                <a16:creationId xmlns:a16="http://schemas.microsoft.com/office/drawing/2014/main" id="{65C0388D-9EB5-A9AD-B37D-A7FE8226093F}"/>
              </a:ext>
            </a:extLst>
          </p:cNvPr>
          <p:cNvSpPr/>
          <p:nvPr/>
        </p:nvSpPr>
        <p:spPr bwMode="auto">
          <a:xfrm>
            <a:off x="5037436"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31" name="Text Placeholder 30">
            <a:extLst>
              <a:ext uri="{FF2B5EF4-FFF2-40B4-BE49-F238E27FC236}">
                <a16:creationId xmlns:a16="http://schemas.microsoft.com/office/drawing/2014/main" id="{6FF3381E-BC22-7E7F-1054-11086D842724}"/>
              </a:ext>
            </a:extLst>
          </p:cNvPr>
          <p:cNvSpPr>
            <a:spLocks noGrp="1"/>
          </p:cNvSpPr>
          <p:nvPr>
            <p:ph type="body" sz="quarter" idx="11" hasCustomPrompt="1"/>
          </p:nvPr>
        </p:nvSpPr>
        <p:spPr>
          <a:xfrm>
            <a:off x="721789"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3" name="Text Placeholder 30">
            <a:extLst>
              <a:ext uri="{FF2B5EF4-FFF2-40B4-BE49-F238E27FC236}">
                <a16:creationId xmlns:a16="http://schemas.microsoft.com/office/drawing/2014/main" id="{A53903A9-7B18-C3F3-C2D3-CEC6BF126D56}"/>
              </a:ext>
            </a:extLst>
          </p:cNvPr>
          <p:cNvSpPr>
            <a:spLocks noGrp="1"/>
          </p:cNvSpPr>
          <p:nvPr>
            <p:ph type="body" sz="quarter" idx="12" hasCustomPrompt="1"/>
          </p:nvPr>
        </p:nvSpPr>
        <p:spPr>
          <a:xfrm>
            <a:off x="5201977"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4" name="Text Placeholder 30">
            <a:extLst>
              <a:ext uri="{FF2B5EF4-FFF2-40B4-BE49-F238E27FC236}">
                <a16:creationId xmlns:a16="http://schemas.microsoft.com/office/drawing/2014/main" id="{1DF12713-83EE-2203-E7EC-B44A595B9E4B}"/>
              </a:ext>
            </a:extLst>
          </p:cNvPr>
          <p:cNvSpPr>
            <a:spLocks noGrp="1"/>
          </p:cNvSpPr>
          <p:nvPr>
            <p:ph type="body" sz="quarter" idx="13" hasCustomPrompt="1"/>
          </p:nvPr>
        </p:nvSpPr>
        <p:spPr>
          <a:xfrm>
            <a:off x="7442071"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5" name="Text Placeholder 30">
            <a:extLst>
              <a:ext uri="{FF2B5EF4-FFF2-40B4-BE49-F238E27FC236}">
                <a16:creationId xmlns:a16="http://schemas.microsoft.com/office/drawing/2014/main" id="{30F039A8-CB25-A806-B966-0F5E32F261E2}"/>
              </a:ext>
            </a:extLst>
          </p:cNvPr>
          <p:cNvSpPr>
            <a:spLocks noGrp="1"/>
          </p:cNvSpPr>
          <p:nvPr>
            <p:ph type="body" sz="quarter" idx="14" hasCustomPrompt="1"/>
          </p:nvPr>
        </p:nvSpPr>
        <p:spPr>
          <a:xfrm>
            <a:off x="9682164"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37" name="Text Placeholder 36">
            <a:extLst>
              <a:ext uri="{FF2B5EF4-FFF2-40B4-BE49-F238E27FC236}">
                <a16:creationId xmlns:a16="http://schemas.microsoft.com/office/drawing/2014/main" id="{CEEAE767-FB46-65D7-01FF-950947725FDA}"/>
              </a:ext>
            </a:extLst>
          </p:cNvPr>
          <p:cNvSpPr>
            <a:spLocks noGrp="1"/>
          </p:cNvSpPr>
          <p:nvPr>
            <p:ph type="body" sz="quarter" idx="15" hasCustomPrompt="1"/>
          </p:nvPr>
        </p:nvSpPr>
        <p:spPr>
          <a:xfrm>
            <a:off x="557248" y="2973097"/>
            <a:ext cx="1830594"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39" name="Text Placeholder 36">
            <a:extLst>
              <a:ext uri="{FF2B5EF4-FFF2-40B4-BE49-F238E27FC236}">
                <a16:creationId xmlns:a16="http://schemas.microsoft.com/office/drawing/2014/main" id="{FAD019C4-BF53-5AFB-C916-7A6B95446140}"/>
              </a:ext>
            </a:extLst>
          </p:cNvPr>
          <p:cNvSpPr>
            <a:spLocks noGrp="1"/>
          </p:cNvSpPr>
          <p:nvPr>
            <p:ph type="body" sz="quarter" idx="17" hasCustomPrompt="1"/>
          </p:nvPr>
        </p:nvSpPr>
        <p:spPr>
          <a:xfrm>
            <a:off x="2797342" y="2973097"/>
            <a:ext cx="1830594"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1" name="Text Placeholder 36">
            <a:extLst>
              <a:ext uri="{FF2B5EF4-FFF2-40B4-BE49-F238E27FC236}">
                <a16:creationId xmlns:a16="http://schemas.microsoft.com/office/drawing/2014/main" id="{DA217EAC-7E20-79E7-B9E0-B2A656D962DE}"/>
              </a:ext>
            </a:extLst>
          </p:cNvPr>
          <p:cNvSpPr>
            <a:spLocks noGrp="1"/>
          </p:cNvSpPr>
          <p:nvPr>
            <p:ph type="body" sz="quarter" idx="19" hasCustomPrompt="1"/>
          </p:nvPr>
        </p:nvSpPr>
        <p:spPr>
          <a:xfrm>
            <a:off x="5037436" y="2973097"/>
            <a:ext cx="1830594"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3" name="Text Placeholder 36">
            <a:extLst>
              <a:ext uri="{FF2B5EF4-FFF2-40B4-BE49-F238E27FC236}">
                <a16:creationId xmlns:a16="http://schemas.microsoft.com/office/drawing/2014/main" id="{01C4FEF8-3725-7E74-ED3C-2B1B9669906A}"/>
              </a:ext>
            </a:extLst>
          </p:cNvPr>
          <p:cNvSpPr>
            <a:spLocks noGrp="1"/>
          </p:cNvSpPr>
          <p:nvPr>
            <p:ph type="body" sz="quarter" idx="21" hasCustomPrompt="1"/>
          </p:nvPr>
        </p:nvSpPr>
        <p:spPr>
          <a:xfrm>
            <a:off x="9517623" y="2973097"/>
            <a:ext cx="1830594" cy="215444"/>
          </a:xfrm>
          <a:prstGeom prst="rect">
            <a:avLst/>
          </a:prstGeom>
        </p:spPr>
        <p:txBody>
          <a:bodyPr wrap="square"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47" name="Text Placeholder 45">
            <a:extLst>
              <a:ext uri="{FF2B5EF4-FFF2-40B4-BE49-F238E27FC236}">
                <a16:creationId xmlns:a16="http://schemas.microsoft.com/office/drawing/2014/main" id="{9ABE0B17-4722-6E25-46F1-58AAE20ECFE7}"/>
              </a:ext>
            </a:extLst>
          </p:cNvPr>
          <p:cNvSpPr>
            <a:spLocks noGrp="1"/>
          </p:cNvSpPr>
          <p:nvPr>
            <p:ph type="body" sz="quarter" idx="23" hasCustomPrompt="1"/>
          </p:nvPr>
        </p:nvSpPr>
        <p:spPr>
          <a:xfrm>
            <a:off x="2796802" y="3702716"/>
            <a:ext cx="1830594"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48" name="Text Placeholder 45">
            <a:extLst>
              <a:ext uri="{FF2B5EF4-FFF2-40B4-BE49-F238E27FC236}">
                <a16:creationId xmlns:a16="http://schemas.microsoft.com/office/drawing/2014/main" id="{66918F90-3EA4-216E-AA55-17099BF0A781}"/>
              </a:ext>
            </a:extLst>
          </p:cNvPr>
          <p:cNvSpPr>
            <a:spLocks noGrp="1"/>
          </p:cNvSpPr>
          <p:nvPr>
            <p:ph type="body" sz="quarter" idx="24" hasCustomPrompt="1"/>
          </p:nvPr>
        </p:nvSpPr>
        <p:spPr>
          <a:xfrm>
            <a:off x="5037076" y="3702716"/>
            <a:ext cx="1830594"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49" name="Text Placeholder 45">
            <a:extLst>
              <a:ext uri="{FF2B5EF4-FFF2-40B4-BE49-F238E27FC236}">
                <a16:creationId xmlns:a16="http://schemas.microsoft.com/office/drawing/2014/main" id="{160C357B-8F73-BC9C-8CC5-ABDB68A27208}"/>
              </a:ext>
            </a:extLst>
          </p:cNvPr>
          <p:cNvSpPr>
            <a:spLocks noGrp="1"/>
          </p:cNvSpPr>
          <p:nvPr>
            <p:ph type="body" sz="quarter" idx="25" hasCustomPrompt="1"/>
          </p:nvPr>
        </p:nvSpPr>
        <p:spPr>
          <a:xfrm>
            <a:off x="9517622" y="3702716"/>
            <a:ext cx="1830594"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1" name="Text Placeholder 45">
            <a:extLst>
              <a:ext uri="{FF2B5EF4-FFF2-40B4-BE49-F238E27FC236}">
                <a16:creationId xmlns:a16="http://schemas.microsoft.com/office/drawing/2014/main" id="{458EC882-241A-D6B1-FA1A-E62ED0F8CB5A}"/>
              </a:ext>
            </a:extLst>
          </p:cNvPr>
          <p:cNvSpPr>
            <a:spLocks noGrp="1"/>
          </p:cNvSpPr>
          <p:nvPr>
            <p:ph type="body" sz="quarter" idx="26" hasCustomPrompt="1"/>
          </p:nvPr>
        </p:nvSpPr>
        <p:spPr>
          <a:xfrm>
            <a:off x="556528" y="3702716"/>
            <a:ext cx="1830594"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5" name="Text Placeholder 36">
            <a:extLst>
              <a:ext uri="{FF2B5EF4-FFF2-40B4-BE49-F238E27FC236}">
                <a16:creationId xmlns:a16="http://schemas.microsoft.com/office/drawing/2014/main" id="{2247DB8F-EE22-17B5-8F48-A2B1D16A23E4}"/>
              </a:ext>
            </a:extLst>
          </p:cNvPr>
          <p:cNvSpPr>
            <a:spLocks noGrp="1"/>
          </p:cNvSpPr>
          <p:nvPr>
            <p:ph type="body" sz="quarter" idx="27" hasCustomPrompt="1"/>
          </p:nvPr>
        </p:nvSpPr>
        <p:spPr>
          <a:xfrm>
            <a:off x="7277530" y="2973097"/>
            <a:ext cx="1830594" cy="215444"/>
          </a:xfrm>
          <a:prstGeom prst="rect">
            <a:avLst/>
          </a:prstGeom>
        </p:spPr>
        <p:txBody>
          <a:bodyPr lIns="0" tIns="0" rIns="0" bIns="0">
            <a:spAutoFit/>
          </a:bodyPr>
          <a:lstStyle>
            <a:lvl1pPr marL="0" indent="0">
              <a:buFont typeface="Arial" panose="020B0604020202020204" pitchFamily="34" charset="0"/>
              <a:buNone/>
              <a:defRPr sz="1400">
                <a:solidFill>
                  <a:schemeClr val="accent1">
                    <a:lumMod val="60000"/>
                    <a:lumOff val="40000"/>
                  </a:schemeClr>
                </a:solidFill>
                <a:latin typeface="+mj-lt"/>
              </a:defRPr>
            </a:lvl1pPr>
          </a:lstStyle>
          <a:p>
            <a:pPr lvl="0"/>
            <a:r>
              <a:rPr lang="en-US"/>
              <a:t>Lorem Ipsum</a:t>
            </a:r>
          </a:p>
        </p:txBody>
      </p:sp>
      <p:sp>
        <p:nvSpPr>
          <p:cNvPr id="6" name="Text Placeholder 45">
            <a:extLst>
              <a:ext uri="{FF2B5EF4-FFF2-40B4-BE49-F238E27FC236}">
                <a16:creationId xmlns:a16="http://schemas.microsoft.com/office/drawing/2014/main" id="{7DC8AF3E-78DA-354D-02D9-31CE7A7F2EA2}"/>
              </a:ext>
            </a:extLst>
          </p:cNvPr>
          <p:cNvSpPr>
            <a:spLocks noGrp="1"/>
          </p:cNvSpPr>
          <p:nvPr>
            <p:ph type="body" sz="quarter" idx="28" hasCustomPrompt="1"/>
          </p:nvPr>
        </p:nvSpPr>
        <p:spPr>
          <a:xfrm>
            <a:off x="7277350" y="3702716"/>
            <a:ext cx="1830594" cy="1643063"/>
          </a:xfrm>
          <a:prstGeom prst="rect">
            <a:avLst/>
          </a:prstGeom>
        </p:spPr>
        <p:txBody>
          <a:bodyPr lIns="0" tIns="0" rIns="0" bIns="0"/>
          <a:lstStyle>
            <a:lvl1pPr marL="0" indent="0">
              <a:buFont typeface="Arial" panose="020B0604020202020204" pitchFamily="34" charset="0"/>
              <a:buNone/>
              <a:defRPr sz="1100">
                <a:solidFill>
                  <a:schemeClr val="bg1"/>
                </a:solidFill>
              </a:defRPr>
            </a:lvl1pPr>
          </a:lstStyle>
          <a:p>
            <a:pPr lvl="0"/>
            <a:r>
              <a:rPr lang="en-US"/>
              <a:t>Lorem Ipsum</a:t>
            </a:r>
          </a:p>
        </p:txBody>
      </p:sp>
      <p:sp>
        <p:nvSpPr>
          <p:cNvPr id="7" name="Rectangle: Rounded Corners 6">
            <a:extLst>
              <a:ext uri="{FF2B5EF4-FFF2-40B4-BE49-F238E27FC236}">
                <a16:creationId xmlns:a16="http://schemas.microsoft.com/office/drawing/2014/main" id="{980F0808-B160-DA39-0913-BB5A86F4E472}"/>
              </a:ext>
            </a:extLst>
          </p:cNvPr>
          <p:cNvSpPr/>
          <p:nvPr userDrawn="1"/>
        </p:nvSpPr>
        <p:spPr bwMode="auto">
          <a:xfrm>
            <a:off x="2797342" y="2023998"/>
            <a:ext cx="614832" cy="621842"/>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8" name="Text Placeholder 30">
            <a:extLst>
              <a:ext uri="{FF2B5EF4-FFF2-40B4-BE49-F238E27FC236}">
                <a16:creationId xmlns:a16="http://schemas.microsoft.com/office/drawing/2014/main" id="{E45BB839-27C9-D1BA-C67C-B8486505F018}"/>
              </a:ext>
            </a:extLst>
          </p:cNvPr>
          <p:cNvSpPr>
            <a:spLocks noGrp="1"/>
          </p:cNvSpPr>
          <p:nvPr>
            <p:ph type="body" sz="quarter" idx="29" hasCustomPrompt="1"/>
          </p:nvPr>
        </p:nvSpPr>
        <p:spPr>
          <a:xfrm>
            <a:off x="2961883" y="2057920"/>
            <a:ext cx="285750" cy="553998"/>
          </a:xfrm>
          <a:prstGeom prst="rect">
            <a:avLst/>
          </a:prstGeom>
        </p:spPr>
        <p:txBody>
          <a:bodyPr lIns="0" tIns="0" rIns="0" bIns="0" anchor="ctr">
            <a:spAutoFit/>
          </a:bodyPr>
          <a:lstStyle>
            <a:lvl1pPr marL="0" indent="0" algn="ctr">
              <a:buNone/>
              <a:defRPr sz="3600">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atin typeface="+mj-lt"/>
              </a:defRPr>
            </a:lvl1pPr>
          </a:lstStyle>
          <a:p>
            <a:pPr lvl="0"/>
            <a:r>
              <a:rPr lang="en-US"/>
              <a:t>#</a:t>
            </a:r>
          </a:p>
        </p:txBody>
      </p:sp>
      <p:sp>
        <p:nvSpPr>
          <p:cNvPr id="10" name="Text Placeholder 18">
            <a:extLst>
              <a:ext uri="{FF2B5EF4-FFF2-40B4-BE49-F238E27FC236}">
                <a16:creationId xmlns:a16="http://schemas.microsoft.com/office/drawing/2014/main" id="{CB245A3F-CB75-8942-258B-D94EFECB7B04}"/>
              </a:ext>
            </a:extLst>
          </p:cNvPr>
          <p:cNvSpPr>
            <a:spLocks noGrp="1"/>
          </p:cNvSpPr>
          <p:nvPr>
            <p:ph type="body" sz="quarter" idx="30"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
        <p:nvSpPr>
          <p:cNvPr id="11" name="Footer Placeholder 3">
            <a:extLst>
              <a:ext uri="{FF2B5EF4-FFF2-40B4-BE49-F238E27FC236}">
                <a16:creationId xmlns:a16="http://schemas.microsoft.com/office/drawing/2014/main" id="{EA6FD65B-A27F-9432-4F43-AED4BB269E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3395340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D0132E46-1D91-693F-1E23-AEE69B54BF1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39579725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artner logos –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Content Placeholder 4">
            <a:extLst>
              <a:ext uri="{FF2B5EF4-FFF2-40B4-BE49-F238E27FC236}">
                <a16:creationId xmlns:a16="http://schemas.microsoft.com/office/drawing/2014/main" id="{E1893529-CD91-9C7E-1F22-DDD35ED4D565}"/>
              </a:ext>
              <a:ext uri="{C183D7F6-B498-43B3-948B-1728B52AA6E4}">
                <adec:decorative xmlns:adec="http://schemas.microsoft.com/office/drawing/2017/decorative" val="1"/>
              </a:ext>
            </a:extLst>
          </p:cNvPr>
          <p:cNvSpPr txBox="1">
            <a:spLocks/>
          </p:cNvSpPr>
          <p:nvPr userDrawn="1"/>
        </p:nvSpPr>
        <p:spPr>
          <a:xfrm>
            <a:off x="588264" y="2075544"/>
            <a:ext cx="11015474" cy="3166106"/>
          </a:xfrm>
          <a:prstGeom prst="roundRect">
            <a:avLst>
              <a:gd name="adj" fmla="val 1874"/>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4" name="Rectangle: Rounded Corners 3">
            <a:extLst>
              <a:ext uri="{FF2B5EF4-FFF2-40B4-BE49-F238E27FC236}">
                <a16:creationId xmlns:a16="http://schemas.microsoft.com/office/drawing/2014/main" id="{0868AD7F-4987-76ED-8423-FAC70C0A70E7}"/>
              </a:ext>
              <a:ext uri="{C183D7F6-B498-43B3-948B-1728B52AA6E4}">
                <adec:decorative xmlns:adec="http://schemas.microsoft.com/office/drawing/2017/decorative" val="1"/>
              </a:ext>
            </a:extLst>
          </p:cNvPr>
          <p:cNvSpPr/>
          <p:nvPr userDrawn="1"/>
        </p:nvSpPr>
        <p:spPr bwMode="auto">
          <a:xfrm>
            <a:off x="588266" y="2075544"/>
            <a:ext cx="11015470" cy="3166106"/>
          </a:xfrm>
          <a:prstGeom prst="roundRect">
            <a:avLst>
              <a:gd name="adj" fmla="val 2148"/>
            </a:avLst>
          </a:prstGeom>
          <a:ln w="317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pitchFamily="34" charset="0"/>
            </a:endParaRPr>
          </a:p>
        </p:txBody>
      </p:sp>
      <p:sp>
        <p:nvSpPr>
          <p:cNvPr id="11" name="Picture Placeholder 10">
            <a:extLst>
              <a:ext uri="{FF2B5EF4-FFF2-40B4-BE49-F238E27FC236}">
                <a16:creationId xmlns:a16="http://schemas.microsoft.com/office/drawing/2014/main" id="{E4247142-58BC-2DE7-99B4-1933C1F64C1C}"/>
              </a:ext>
            </a:extLst>
          </p:cNvPr>
          <p:cNvSpPr>
            <a:spLocks noGrp="1"/>
          </p:cNvSpPr>
          <p:nvPr>
            <p:ph type="pic" sz="quarter" idx="10"/>
          </p:nvPr>
        </p:nvSpPr>
        <p:spPr>
          <a:xfrm>
            <a:off x="1066804" y="2989942"/>
            <a:ext cx="1654626" cy="1204686"/>
          </a:xfrm>
          <a:prstGeom prst="rect">
            <a:avLst/>
          </a:prstGeom>
        </p:spPr>
        <p:txBody>
          <a:bodyPr anchor="ctr"/>
          <a:lstStyle>
            <a:lvl1pPr marL="0" indent="0" algn="ctr">
              <a:buNone/>
              <a:defRPr sz="1600"/>
            </a:lvl1pPr>
          </a:lstStyle>
          <a:p>
            <a:endParaRPr lang="en-US"/>
          </a:p>
        </p:txBody>
      </p:sp>
      <p:sp>
        <p:nvSpPr>
          <p:cNvPr id="12" name="Picture Placeholder 10">
            <a:extLst>
              <a:ext uri="{FF2B5EF4-FFF2-40B4-BE49-F238E27FC236}">
                <a16:creationId xmlns:a16="http://schemas.microsoft.com/office/drawing/2014/main" id="{8EF46788-177E-810C-685A-E086C6150BAC}"/>
              </a:ext>
            </a:extLst>
          </p:cNvPr>
          <p:cNvSpPr>
            <a:spLocks noGrp="1"/>
          </p:cNvSpPr>
          <p:nvPr>
            <p:ph type="pic" sz="quarter" idx="11"/>
          </p:nvPr>
        </p:nvSpPr>
        <p:spPr>
          <a:xfrm>
            <a:off x="3160489" y="2989942"/>
            <a:ext cx="1654626" cy="1204686"/>
          </a:xfrm>
          <a:prstGeom prst="rect">
            <a:avLst/>
          </a:prstGeom>
        </p:spPr>
        <p:txBody>
          <a:bodyPr anchor="ctr"/>
          <a:lstStyle>
            <a:lvl1pPr marL="0" indent="0" algn="ctr">
              <a:buNone/>
              <a:defRPr sz="1600"/>
            </a:lvl1pPr>
          </a:lstStyle>
          <a:p>
            <a:endParaRPr lang="en-US"/>
          </a:p>
        </p:txBody>
      </p:sp>
      <p:sp>
        <p:nvSpPr>
          <p:cNvPr id="13" name="Picture Placeholder 10">
            <a:extLst>
              <a:ext uri="{FF2B5EF4-FFF2-40B4-BE49-F238E27FC236}">
                <a16:creationId xmlns:a16="http://schemas.microsoft.com/office/drawing/2014/main" id="{850434E3-AFB0-9C2D-CD26-E5B43110F24E}"/>
              </a:ext>
            </a:extLst>
          </p:cNvPr>
          <p:cNvSpPr>
            <a:spLocks noGrp="1"/>
          </p:cNvSpPr>
          <p:nvPr>
            <p:ph type="pic" sz="quarter" idx="12"/>
          </p:nvPr>
        </p:nvSpPr>
        <p:spPr>
          <a:xfrm>
            <a:off x="5254174" y="2989942"/>
            <a:ext cx="1654626" cy="1204686"/>
          </a:xfrm>
          <a:prstGeom prst="rect">
            <a:avLst/>
          </a:prstGeom>
        </p:spPr>
        <p:txBody>
          <a:bodyPr anchor="ctr"/>
          <a:lstStyle>
            <a:lvl1pPr marL="0" indent="0" algn="ctr">
              <a:buNone/>
              <a:defRPr sz="1600"/>
            </a:lvl1pPr>
          </a:lstStyle>
          <a:p>
            <a:endParaRPr lang="en-US"/>
          </a:p>
        </p:txBody>
      </p:sp>
      <p:sp>
        <p:nvSpPr>
          <p:cNvPr id="14" name="Picture Placeholder 10">
            <a:extLst>
              <a:ext uri="{FF2B5EF4-FFF2-40B4-BE49-F238E27FC236}">
                <a16:creationId xmlns:a16="http://schemas.microsoft.com/office/drawing/2014/main" id="{F20283FE-50B7-AA46-A9CF-5DC669589608}"/>
              </a:ext>
            </a:extLst>
          </p:cNvPr>
          <p:cNvSpPr>
            <a:spLocks noGrp="1"/>
          </p:cNvSpPr>
          <p:nvPr>
            <p:ph type="pic" sz="quarter" idx="13"/>
          </p:nvPr>
        </p:nvSpPr>
        <p:spPr>
          <a:xfrm>
            <a:off x="7347859" y="2989942"/>
            <a:ext cx="1654626" cy="1204686"/>
          </a:xfrm>
          <a:prstGeom prst="rect">
            <a:avLst/>
          </a:prstGeom>
        </p:spPr>
        <p:txBody>
          <a:bodyPr anchor="ctr"/>
          <a:lstStyle>
            <a:lvl1pPr marL="0" indent="0" algn="ctr">
              <a:buNone/>
              <a:defRPr sz="1600"/>
            </a:lvl1pPr>
          </a:lstStyle>
          <a:p>
            <a:endParaRPr lang="en-US"/>
          </a:p>
        </p:txBody>
      </p:sp>
      <p:sp>
        <p:nvSpPr>
          <p:cNvPr id="15" name="Picture Placeholder 10">
            <a:extLst>
              <a:ext uri="{FF2B5EF4-FFF2-40B4-BE49-F238E27FC236}">
                <a16:creationId xmlns:a16="http://schemas.microsoft.com/office/drawing/2014/main" id="{192C2338-E8BD-54D9-8F2A-9DB217B24AFC}"/>
              </a:ext>
            </a:extLst>
          </p:cNvPr>
          <p:cNvSpPr>
            <a:spLocks noGrp="1"/>
          </p:cNvSpPr>
          <p:nvPr>
            <p:ph type="pic" sz="quarter" idx="14"/>
          </p:nvPr>
        </p:nvSpPr>
        <p:spPr>
          <a:xfrm>
            <a:off x="9441545" y="2989942"/>
            <a:ext cx="1654626" cy="1204686"/>
          </a:xfrm>
          <a:prstGeom prst="rect">
            <a:avLst/>
          </a:prstGeom>
        </p:spPr>
        <p:txBody>
          <a:bodyPr anchor="ctr"/>
          <a:lstStyle>
            <a:lvl1pPr marL="0" indent="0" algn="ctr">
              <a:buNone/>
              <a:defRPr sz="1600"/>
            </a:lvl1pPr>
          </a:lstStyle>
          <a:p>
            <a:endParaRPr lang="en-US"/>
          </a:p>
        </p:txBody>
      </p:sp>
      <p:sp>
        <p:nvSpPr>
          <p:cNvPr id="5" name="Footer Placeholder 3">
            <a:extLst>
              <a:ext uri="{FF2B5EF4-FFF2-40B4-BE49-F238E27FC236}">
                <a16:creationId xmlns:a16="http://schemas.microsoft.com/office/drawing/2014/main" id="{B0C4B1BB-E4FF-00A3-796E-A7706F130B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1132165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artner logos –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Content Placeholder 4">
            <a:extLst>
              <a:ext uri="{FF2B5EF4-FFF2-40B4-BE49-F238E27FC236}">
                <a16:creationId xmlns:a16="http://schemas.microsoft.com/office/drawing/2014/main" id="{E1893529-CD91-9C7E-1F22-DDD35ED4D565}"/>
              </a:ext>
              <a:ext uri="{C183D7F6-B498-43B3-948B-1728B52AA6E4}">
                <adec:decorative xmlns:adec="http://schemas.microsoft.com/office/drawing/2017/decorative" val="1"/>
              </a:ext>
            </a:extLst>
          </p:cNvPr>
          <p:cNvSpPr txBox="1">
            <a:spLocks/>
          </p:cNvSpPr>
          <p:nvPr userDrawn="1"/>
        </p:nvSpPr>
        <p:spPr>
          <a:xfrm>
            <a:off x="588264" y="1669144"/>
            <a:ext cx="11015474" cy="3978906"/>
          </a:xfrm>
          <a:prstGeom prst="roundRect">
            <a:avLst>
              <a:gd name="adj" fmla="val 1874"/>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4" name="Rectangle: Rounded Corners 3">
            <a:extLst>
              <a:ext uri="{FF2B5EF4-FFF2-40B4-BE49-F238E27FC236}">
                <a16:creationId xmlns:a16="http://schemas.microsoft.com/office/drawing/2014/main" id="{0868AD7F-4987-76ED-8423-FAC70C0A70E7}"/>
              </a:ext>
              <a:ext uri="{C183D7F6-B498-43B3-948B-1728B52AA6E4}">
                <adec:decorative xmlns:adec="http://schemas.microsoft.com/office/drawing/2017/decorative" val="1"/>
              </a:ext>
            </a:extLst>
          </p:cNvPr>
          <p:cNvSpPr/>
          <p:nvPr userDrawn="1"/>
        </p:nvSpPr>
        <p:spPr bwMode="auto">
          <a:xfrm>
            <a:off x="588266" y="1669144"/>
            <a:ext cx="11015470" cy="3978906"/>
          </a:xfrm>
          <a:prstGeom prst="roundRect">
            <a:avLst>
              <a:gd name="adj" fmla="val 2148"/>
            </a:avLst>
          </a:prstGeom>
          <a:ln w="317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pitchFamily="34" charset="0"/>
            </a:endParaRPr>
          </a:p>
        </p:txBody>
      </p:sp>
      <p:sp>
        <p:nvSpPr>
          <p:cNvPr id="5" name="Picture Placeholder 10">
            <a:extLst>
              <a:ext uri="{FF2B5EF4-FFF2-40B4-BE49-F238E27FC236}">
                <a16:creationId xmlns:a16="http://schemas.microsoft.com/office/drawing/2014/main" id="{F9858D9B-9A33-8C7D-8C1A-A004EEFD2B14}"/>
              </a:ext>
            </a:extLst>
          </p:cNvPr>
          <p:cNvSpPr>
            <a:spLocks noGrp="1"/>
          </p:cNvSpPr>
          <p:nvPr>
            <p:ph type="pic" sz="quarter" idx="15"/>
          </p:nvPr>
        </p:nvSpPr>
        <p:spPr>
          <a:xfrm>
            <a:off x="1066804" y="2257881"/>
            <a:ext cx="1654626" cy="1204686"/>
          </a:xfrm>
          <a:prstGeom prst="rect">
            <a:avLst/>
          </a:prstGeom>
        </p:spPr>
        <p:txBody>
          <a:bodyPr anchor="ctr"/>
          <a:lstStyle>
            <a:lvl1pPr marL="0" indent="0" algn="ctr">
              <a:buNone/>
              <a:defRPr sz="1600"/>
            </a:lvl1pPr>
          </a:lstStyle>
          <a:p>
            <a:endParaRPr lang="en-US"/>
          </a:p>
        </p:txBody>
      </p:sp>
      <p:sp>
        <p:nvSpPr>
          <p:cNvPr id="6" name="Picture Placeholder 10">
            <a:extLst>
              <a:ext uri="{FF2B5EF4-FFF2-40B4-BE49-F238E27FC236}">
                <a16:creationId xmlns:a16="http://schemas.microsoft.com/office/drawing/2014/main" id="{C89CCC13-FD5C-E560-4BAD-38D7BD28B2AE}"/>
              </a:ext>
            </a:extLst>
          </p:cNvPr>
          <p:cNvSpPr>
            <a:spLocks noGrp="1"/>
          </p:cNvSpPr>
          <p:nvPr>
            <p:ph type="pic" sz="quarter" idx="16"/>
          </p:nvPr>
        </p:nvSpPr>
        <p:spPr>
          <a:xfrm>
            <a:off x="3160489" y="2257881"/>
            <a:ext cx="1654626" cy="1204686"/>
          </a:xfrm>
          <a:prstGeom prst="rect">
            <a:avLst/>
          </a:prstGeom>
        </p:spPr>
        <p:txBody>
          <a:bodyPr anchor="ctr"/>
          <a:lstStyle>
            <a:lvl1pPr marL="0" indent="0" algn="ctr">
              <a:buNone/>
              <a:defRPr sz="1600"/>
            </a:lvl1pPr>
          </a:lstStyle>
          <a:p>
            <a:endParaRPr lang="en-US"/>
          </a:p>
        </p:txBody>
      </p:sp>
      <p:sp>
        <p:nvSpPr>
          <p:cNvPr id="7" name="Picture Placeholder 10">
            <a:extLst>
              <a:ext uri="{FF2B5EF4-FFF2-40B4-BE49-F238E27FC236}">
                <a16:creationId xmlns:a16="http://schemas.microsoft.com/office/drawing/2014/main" id="{EA71324D-2369-1F11-4F41-DF3181473A4A}"/>
              </a:ext>
            </a:extLst>
          </p:cNvPr>
          <p:cNvSpPr>
            <a:spLocks noGrp="1"/>
          </p:cNvSpPr>
          <p:nvPr>
            <p:ph type="pic" sz="quarter" idx="17"/>
          </p:nvPr>
        </p:nvSpPr>
        <p:spPr>
          <a:xfrm>
            <a:off x="5254174" y="2257881"/>
            <a:ext cx="1654626" cy="1204686"/>
          </a:xfrm>
          <a:prstGeom prst="rect">
            <a:avLst/>
          </a:prstGeom>
        </p:spPr>
        <p:txBody>
          <a:bodyPr anchor="ctr"/>
          <a:lstStyle>
            <a:lvl1pPr marL="0" indent="0" algn="ctr">
              <a:buNone/>
              <a:defRPr sz="1600"/>
            </a:lvl1pPr>
          </a:lstStyle>
          <a:p>
            <a:endParaRPr lang="en-US"/>
          </a:p>
        </p:txBody>
      </p:sp>
      <p:sp>
        <p:nvSpPr>
          <p:cNvPr id="8" name="Picture Placeholder 10">
            <a:extLst>
              <a:ext uri="{FF2B5EF4-FFF2-40B4-BE49-F238E27FC236}">
                <a16:creationId xmlns:a16="http://schemas.microsoft.com/office/drawing/2014/main" id="{9CEC0CDB-B968-AD03-9BB3-4B0F8E4304C6}"/>
              </a:ext>
            </a:extLst>
          </p:cNvPr>
          <p:cNvSpPr>
            <a:spLocks noGrp="1"/>
          </p:cNvSpPr>
          <p:nvPr>
            <p:ph type="pic" sz="quarter" idx="18"/>
          </p:nvPr>
        </p:nvSpPr>
        <p:spPr>
          <a:xfrm>
            <a:off x="7347859" y="2257881"/>
            <a:ext cx="1654626" cy="1204686"/>
          </a:xfrm>
          <a:prstGeom prst="rect">
            <a:avLst/>
          </a:prstGeom>
        </p:spPr>
        <p:txBody>
          <a:bodyPr anchor="ctr"/>
          <a:lstStyle>
            <a:lvl1pPr marL="0" indent="0" algn="ctr">
              <a:buNone/>
              <a:defRPr sz="1600"/>
            </a:lvl1pPr>
          </a:lstStyle>
          <a:p>
            <a:endParaRPr lang="en-US"/>
          </a:p>
        </p:txBody>
      </p:sp>
      <p:sp>
        <p:nvSpPr>
          <p:cNvPr id="9" name="Picture Placeholder 10">
            <a:extLst>
              <a:ext uri="{FF2B5EF4-FFF2-40B4-BE49-F238E27FC236}">
                <a16:creationId xmlns:a16="http://schemas.microsoft.com/office/drawing/2014/main" id="{5F9EF51C-000E-6C1D-179D-F819A5B94CCC}"/>
              </a:ext>
            </a:extLst>
          </p:cNvPr>
          <p:cNvSpPr>
            <a:spLocks noGrp="1"/>
          </p:cNvSpPr>
          <p:nvPr>
            <p:ph type="pic" sz="quarter" idx="19"/>
          </p:nvPr>
        </p:nvSpPr>
        <p:spPr>
          <a:xfrm>
            <a:off x="9441545" y="2257881"/>
            <a:ext cx="1654626" cy="1204686"/>
          </a:xfrm>
          <a:prstGeom prst="rect">
            <a:avLst/>
          </a:prstGeom>
        </p:spPr>
        <p:txBody>
          <a:bodyPr anchor="ctr"/>
          <a:lstStyle>
            <a:lvl1pPr marL="0" indent="0" algn="ctr">
              <a:buNone/>
              <a:defRPr sz="1600"/>
            </a:lvl1pPr>
          </a:lstStyle>
          <a:p>
            <a:endParaRPr lang="en-US"/>
          </a:p>
        </p:txBody>
      </p:sp>
      <p:sp>
        <p:nvSpPr>
          <p:cNvPr id="11" name="Picture Placeholder 10">
            <a:extLst>
              <a:ext uri="{FF2B5EF4-FFF2-40B4-BE49-F238E27FC236}">
                <a16:creationId xmlns:a16="http://schemas.microsoft.com/office/drawing/2014/main" id="{E4247142-58BC-2DE7-99B4-1933C1F64C1C}"/>
              </a:ext>
            </a:extLst>
          </p:cNvPr>
          <p:cNvSpPr>
            <a:spLocks noGrp="1"/>
          </p:cNvSpPr>
          <p:nvPr>
            <p:ph type="pic" sz="quarter" idx="10"/>
          </p:nvPr>
        </p:nvSpPr>
        <p:spPr>
          <a:xfrm>
            <a:off x="1066804" y="3831770"/>
            <a:ext cx="1654626" cy="1204686"/>
          </a:xfrm>
          <a:prstGeom prst="rect">
            <a:avLst/>
          </a:prstGeom>
        </p:spPr>
        <p:txBody>
          <a:bodyPr anchor="ctr"/>
          <a:lstStyle>
            <a:lvl1pPr marL="0" indent="0" algn="ctr">
              <a:buNone/>
              <a:defRPr sz="1600"/>
            </a:lvl1pPr>
          </a:lstStyle>
          <a:p>
            <a:endParaRPr lang="en-US"/>
          </a:p>
        </p:txBody>
      </p:sp>
      <p:sp>
        <p:nvSpPr>
          <p:cNvPr id="12" name="Picture Placeholder 10">
            <a:extLst>
              <a:ext uri="{FF2B5EF4-FFF2-40B4-BE49-F238E27FC236}">
                <a16:creationId xmlns:a16="http://schemas.microsoft.com/office/drawing/2014/main" id="{8EF46788-177E-810C-685A-E086C6150BAC}"/>
              </a:ext>
            </a:extLst>
          </p:cNvPr>
          <p:cNvSpPr>
            <a:spLocks noGrp="1"/>
          </p:cNvSpPr>
          <p:nvPr>
            <p:ph type="pic" sz="quarter" idx="11"/>
          </p:nvPr>
        </p:nvSpPr>
        <p:spPr>
          <a:xfrm>
            <a:off x="3160489" y="3831770"/>
            <a:ext cx="1654626" cy="1204686"/>
          </a:xfrm>
          <a:prstGeom prst="rect">
            <a:avLst/>
          </a:prstGeom>
        </p:spPr>
        <p:txBody>
          <a:bodyPr anchor="ctr"/>
          <a:lstStyle>
            <a:lvl1pPr marL="0" indent="0" algn="ctr">
              <a:buNone/>
              <a:defRPr sz="1600"/>
            </a:lvl1pPr>
          </a:lstStyle>
          <a:p>
            <a:endParaRPr lang="en-US"/>
          </a:p>
        </p:txBody>
      </p:sp>
      <p:sp>
        <p:nvSpPr>
          <p:cNvPr id="13" name="Picture Placeholder 10">
            <a:extLst>
              <a:ext uri="{FF2B5EF4-FFF2-40B4-BE49-F238E27FC236}">
                <a16:creationId xmlns:a16="http://schemas.microsoft.com/office/drawing/2014/main" id="{850434E3-AFB0-9C2D-CD26-E5B43110F24E}"/>
              </a:ext>
            </a:extLst>
          </p:cNvPr>
          <p:cNvSpPr>
            <a:spLocks noGrp="1"/>
          </p:cNvSpPr>
          <p:nvPr>
            <p:ph type="pic" sz="quarter" idx="12"/>
          </p:nvPr>
        </p:nvSpPr>
        <p:spPr>
          <a:xfrm>
            <a:off x="5254174" y="3831770"/>
            <a:ext cx="1654626" cy="1204686"/>
          </a:xfrm>
          <a:prstGeom prst="rect">
            <a:avLst/>
          </a:prstGeom>
        </p:spPr>
        <p:txBody>
          <a:bodyPr anchor="ctr"/>
          <a:lstStyle>
            <a:lvl1pPr marL="0" indent="0" algn="ctr">
              <a:buNone/>
              <a:defRPr sz="1600"/>
            </a:lvl1pPr>
          </a:lstStyle>
          <a:p>
            <a:endParaRPr lang="en-US"/>
          </a:p>
        </p:txBody>
      </p:sp>
      <p:sp>
        <p:nvSpPr>
          <p:cNvPr id="14" name="Picture Placeholder 10">
            <a:extLst>
              <a:ext uri="{FF2B5EF4-FFF2-40B4-BE49-F238E27FC236}">
                <a16:creationId xmlns:a16="http://schemas.microsoft.com/office/drawing/2014/main" id="{F20283FE-50B7-AA46-A9CF-5DC669589608}"/>
              </a:ext>
            </a:extLst>
          </p:cNvPr>
          <p:cNvSpPr>
            <a:spLocks noGrp="1"/>
          </p:cNvSpPr>
          <p:nvPr>
            <p:ph type="pic" sz="quarter" idx="13"/>
          </p:nvPr>
        </p:nvSpPr>
        <p:spPr>
          <a:xfrm>
            <a:off x="7347859" y="3831770"/>
            <a:ext cx="1654626" cy="1204686"/>
          </a:xfrm>
          <a:prstGeom prst="rect">
            <a:avLst/>
          </a:prstGeom>
        </p:spPr>
        <p:txBody>
          <a:bodyPr anchor="ctr"/>
          <a:lstStyle>
            <a:lvl1pPr marL="0" indent="0" algn="ctr">
              <a:buNone/>
              <a:defRPr sz="1600"/>
            </a:lvl1pPr>
          </a:lstStyle>
          <a:p>
            <a:endParaRPr lang="en-US"/>
          </a:p>
        </p:txBody>
      </p:sp>
      <p:sp>
        <p:nvSpPr>
          <p:cNvPr id="15" name="Picture Placeholder 10">
            <a:extLst>
              <a:ext uri="{FF2B5EF4-FFF2-40B4-BE49-F238E27FC236}">
                <a16:creationId xmlns:a16="http://schemas.microsoft.com/office/drawing/2014/main" id="{192C2338-E8BD-54D9-8F2A-9DB217B24AFC}"/>
              </a:ext>
            </a:extLst>
          </p:cNvPr>
          <p:cNvSpPr>
            <a:spLocks noGrp="1"/>
          </p:cNvSpPr>
          <p:nvPr>
            <p:ph type="pic" sz="quarter" idx="14"/>
          </p:nvPr>
        </p:nvSpPr>
        <p:spPr>
          <a:xfrm>
            <a:off x="9441545" y="3831770"/>
            <a:ext cx="1654626" cy="1204686"/>
          </a:xfrm>
          <a:prstGeom prst="rect">
            <a:avLst/>
          </a:prstGeom>
        </p:spPr>
        <p:txBody>
          <a:bodyPr anchor="ctr"/>
          <a:lstStyle>
            <a:lvl1pPr marL="0" indent="0" algn="ctr">
              <a:buNone/>
              <a:defRPr sz="1600"/>
            </a:lvl1pPr>
          </a:lstStyle>
          <a:p>
            <a:endParaRPr lang="en-US"/>
          </a:p>
        </p:txBody>
      </p:sp>
      <p:sp>
        <p:nvSpPr>
          <p:cNvPr id="10" name="Footer Placeholder 3">
            <a:extLst>
              <a:ext uri="{FF2B5EF4-FFF2-40B4-BE49-F238E27FC236}">
                <a16:creationId xmlns:a16="http://schemas.microsoft.com/office/drawing/2014/main" id="{0039938E-1C7F-B471-0BC3-589BE1F2C2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19398192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86489761"/>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artner logos – 1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Content Placeholder 4">
            <a:extLst>
              <a:ext uri="{FF2B5EF4-FFF2-40B4-BE49-F238E27FC236}">
                <a16:creationId xmlns:a16="http://schemas.microsoft.com/office/drawing/2014/main" id="{E1893529-CD91-9C7E-1F22-DDD35ED4D565}"/>
              </a:ext>
              <a:ext uri="{C183D7F6-B498-43B3-948B-1728B52AA6E4}">
                <adec:decorative xmlns:adec="http://schemas.microsoft.com/office/drawing/2017/decorative" val="1"/>
              </a:ext>
            </a:extLst>
          </p:cNvPr>
          <p:cNvSpPr txBox="1">
            <a:spLocks/>
          </p:cNvSpPr>
          <p:nvPr userDrawn="1"/>
        </p:nvSpPr>
        <p:spPr>
          <a:xfrm>
            <a:off x="588264" y="1459318"/>
            <a:ext cx="11015474" cy="4398557"/>
          </a:xfrm>
          <a:prstGeom prst="roundRect">
            <a:avLst>
              <a:gd name="adj" fmla="val 1874"/>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4" name="Rectangle: Rounded Corners 3">
            <a:extLst>
              <a:ext uri="{FF2B5EF4-FFF2-40B4-BE49-F238E27FC236}">
                <a16:creationId xmlns:a16="http://schemas.microsoft.com/office/drawing/2014/main" id="{0868AD7F-4987-76ED-8423-FAC70C0A70E7}"/>
              </a:ext>
              <a:ext uri="{C183D7F6-B498-43B3-948B-1728B52AA6E4}">
                <adec:decorative xmlns:adec="http://schemas.microsoft.com/office/drawing/2017/decorative" val="1"/>
              </a:ext>
            </a:extLst>
          </p:cNvPr>
          <p:cNvSpPr/>
          <p:nvPr userDrawn="1"/>
        </p:nvSpPr>
        <p:spPr bwMode="auto">
          <a:xfrm>
            <a:off x="588266" y="1459318"/>
            <a:ext cx="11015470" cy="4398557"/>
          </a:xfrm>
          <a:prstGeom prst="roundRect">
            <a:avLst>
              <a:gd name="adj" fmla="val 2148"/>
            </a:avLst>
          </a:prstGeom>
          <a:ln w="317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gradFill>
                <a:gsLst>
                  <a:gs pos="0">
                    <a:srgbClr val="FFFFFF"/>
                  </a:gs>
                  <a:gs pos="100000">
                    <a:srgbClr val="FFFFFF"/>
                  </a:gs>
                </a:gsLst>
                <a:lin ang="5400000" scaled="0"/>
              </a:gradFill>
              <a:latin typeface="Segoe UI"/>
              <a:cs typeface="Segoe UI" pitchFamily="34" charset="0"/>
            </a:endParaRPr>
          </a:p>
        </p:txBody>
      </p:sp>
      <p:sp>
        <p:nvSpPr>
          <p:cNvPr id="10" name="Picture Placeholder 10">
            <a:extLst>
              <a:ext uri="{FF2B5EF4-FFF2-40B4-BE49-F238E27FC236}">
                <a16:creationId xmlns:a16="http://schemas.microsoft.com/office/drawing/2014/main" id="{AA015BF1-C761-2D55-2D47-ACAA3D41E2B1}"/>
              </a:ext>
            </a:extLst>
          </p:cNvPr>
          <p:cNvSpPr>
            <a:spLocks noGrp="1"/>
          </p:cNvSpPr>
          <p:nvPr>
            <p:ph type="pic" sz="quarter" idx="20"/>
          </p:nvPr>
        </p:nvSpPr>
        <p:spPr>
          <a:xfrm>
            <a:off x="1066804" y="1800681"/>
            <a:ext cx="1654626" cy="972459"/>
          </a:xfrm>
          <a:prstGeom prst="rect">
            <a:avLst/>
          </a:prstGeom>
        </p:spPr>
        <p:txBody>
          <a:bodyPr anchor="ctr"/>
          <a:lstStyle>
            <a:lvl1pPr marL="0" indent="0" algn="ctr">
              <a:buNone/>
              <a:defRPr sz="1600"/>
            </a:lvl1pPr>
          </a:lstStyle>
          <a:p>
            <a:endParaRPr lang="en-US"/>
          </a:p>
        </p:txBody>
      </p:sp>
      <p:sp>
        <p:nvSpPr>
          <p:cNvPr id="16" name="Picture Placeholder 10">
            <a:extLst>
              <a:ext uri="{FF2B5EF4-FFF2-40B4-BE49-F238E27FC236}">
                <a16:creationId xmlns:a16="http://schemas.microsoft.com/office/drawing/2014/main" id="{52A3B1E3-8DF8-B3A9-76A0-9C9C0048538B}"/>
              </a:ext>
            </a:extLst>
          </p:cNvPr>
          <p:cNvSpPr>
            <a:spLocks noGrp="1"/>
          </p:cNvSpPr>
          <p:nvPr>
            <p:ph type="pic" sz="quarter" idx="21"/>
          </p:nvPr>
        </p:nvSpPr>
        <p:spPr>
          <a:xfrm>
            <a:off x="3160489" y="1800681"/>
            <a:ext cx="1654626" cy="972459"/>
          </a:xfrm>
          <a:prstGeom prst="rect">
            <a:avLst/>
          </a:prstGeom>
        </p:spPr>
        <p:txBody>
          <a:bodyPr anchor="ctr"/>
          <a:lstStyle>
            <a:lvl1pPr marL="0" indent="0" algn="ctr">
              <a:buNone/>
              <a:defRPr sz="1600"/>
            </a:lvl1pPr>
          </a:lstStyle>
          <a:p>
            <a:endParaRPr lang="en-US"/>
          </a:p>
        </p:txBody>
      </p:sp>
      <p:sp>
        <p:nvSpPr>
          <p:cNvPr id="17" name="Picture Placeholder 10">
            <a:extLst>
              <a:ext uri="{FF2B5EF4-FFF2-40B4-BE49-F238E27FC236}">
                <a16:creationId xmlns:a16="http://schemas.microsoft.com/office/drawing/2014/main" id="{B8B4866A-C379-0196-FF3B-5439F558C54E}"/>
              </a:ext>
            </a:extLst>
          </p:cNvPr>
          <p:cNvSpPr>
            <a:spLocks noGrp="1"/>
          </p:cNvSpPr>
          <p:nvPr>
            <p:ph type="pic" sz="quarter" idx="22"/>
          </p:nvPr>
        </p:nvSpPr>
        <p:spPr>
          <a:xfrm>
            <a:off x="5254174" y="1800681"/>
            <a:ext cx="1654626" cy="972459"/>
          </a:xfrm>
          <a:prstGeom prst="rect">
            <a:avLst/>
          </a:prstGeom>
        </p:spPr>
        <p:txBody>
          <a:bodyPr anchor="ctr"/>
          <a:lstStyle>
            <a:lvl1pPr marL="0" indent="0" algn="ctr">
              <a:buNone/>
              <a:defRPr sz="1600"/>
            </a:lvl1pPr>
          </a:lstStyle>
          <a:p>
            <a:endParaRPr lang="en-US"/>
          </a:p>
        </p:txBody>
      </p:sp>
      <p:sp>
        <p:nvSpPr>
          <p:cNvPr id="18" name="Picture Placeholder 10">
            <a:extLst>
              <a:ext uri="{FF2B5EF4-FFF2-40B4-BE49-F238E27FC236}">
                <a16:creationId xmlns:a16="http://schemas.microsoft.com/office/drawing/2014/main" id="{BD22ED00-269C-5CE1-03EB-DFB78A461013}"/>
              </a:ext>
            </a:extLst>
          </p:cNvPr>
          <p:cNvSpPr>
            <a:spLocks noGrp="1"/>
          </p:cNvSpPr>
          <p:nvPr>
            <p:ph type="pic" sz="quarter" idx="23"/>
          </p:nvPr>
        </p:nvSpPr>
        <p:spPr>
          <a:xfrm>
            <a:off x="7347859" y="1800681"/>
            <a:ext cx="1654626" cy="972459"/>
          </a:xfrm>
          <a:prstGeom prst="rect">
            <a:avLst/>
          </a:prstGeom>
        </p:spPr>
        <p:txBody>
          <a:bodyPr anchor="ctr"/>
          <a:lstStyle>
            <a:lvl1pPr marL="0" indent="0" algn="ctr">
              <a:buNone/>
              <a:defRPr sz="1600"/>
            </a:lvl1pPr>
          </a:lstStyle>
          <a:p>
            <a:endParaRPr lang="en-US"/>
          </a:p>
        </p:txBody>
      </p:sp>
      <p:sp>
        <p:nvSpPr>
          <p:cNvPr id="19" name="Picture Placeholder 10">
            <a:extLst>
              <a:ext uri="{FF2B5EF4-FFF2-40B4-BE49-F238E27FC236}">
                <a16:creationId xmlns:a16="http://schemas.microsoft.com/office/drawing/2014/main" id="{813200F7-9FC2-986A-4837-FBDBAA505E4E}"/>
              </a:ext>
            </a:extLst>
          </p:cNvPr>
          <p:cNvSpPr>
            <a:spLocks noGrp="1"/>
          </p:cNvSpPr>
          <p:nvPr>
            <p:ph type="pic" sz="quarter" idx="24"/>
          </p:nvPr>
        </p:nvSpPr>
        <p:spPr>
          <a:xfrm>
            <a:off x="9441545" y="1800681"/>
            <a:ext cx="1654626" cy="972459"/>
          </a:xfrm>
          <a:prstGeom prst="rect">
            <a:avLst/>
          </a:prstGeom>
        </p:spPr>
        <p:txBody>
          <a:bodyPr anchor="ctr"/>
          <a:lstStyle>
            <a:lvl1pPr marL="0" indent="0" algn="ctr">
              <a:buNone/>
              <a:defRPr sz="1600"/>
            </a:lvl1pPr>
          </a:lstStyle>
          <a:p>
            <a:endParaRPr lang="en-US"/>
          </a:p>
        </p:txBody>
      </p:sp>
      <p:sp>
        <p:nvSpPr>
          <p:cNvPr id="5" name="Picture Placeholder 10">
            <a:extLst>
              <a:ext uri="{FF2B5EF4-FFF2-40B4-BE49-F238E27FC236}">
                <a16:creationId xmlns:a16="http://schemas.microsoft.com/office/drawing/2014/main" id="{F9858D9B-9A33-8C7D-8C1A-A004EEFD2B14}"/>
              </a:ext>
            </a:extLst>
          </p:cNvPr>
          <p:cNvSpPr>
            <a:spLocks noGrp="1"/>
          </p:cNvSpPr>
          <p:nvPr>
            <p:ph type="pic" sz="quarter" idx="15"/>
          </p:nvPr>
        </p:nvSpPr>
        <p:spPr>
          <a:xfrm>
            <a:off x="1066804" y="3113452"/>
            <a:ext cx="1654626" cy="972459"/>
          </a:xfrm>
          <a:prstGeom prst="rect">
            <a:avLst/>
          </a:prstGeom>
        </p:spPr>
        <p:txBody>
          <a:bodyPr anchor="ctr"/>
          <a:lstStyle>
            <a:lvl1pPr marL="0" indent="0" algn="ctr">
              <a:buNone/>
              <a:defRPr sz="1600"/>
            </a:lvl1pPr>
          </a:lstStyle>
          <a:p>
            <a:endParaRPr lang="en-US"/>
          </a:p>
        </p:txBody>
      </p:sp>
      <p:sp>
        <p:nvSpPr>
          <p:cNvPr id="6" name="Picture Placeholder 10">
            <a:extLst>
              <a:ext uri="{FF2B5EF4-FFF2-40B4-BE49-F238E27FC236}">
                <a16:creationId xmlns:a16="http://schemas.microsoft.com/office/drawing/2014/main" id="{C89CCC13-FD5C-E560-4BAD-38D7BD28B2AE}"/>
              </a:ext>
            </a:extLst>
          </p:cNvPr>
          <p:cNvSpPr>
            <a:spLocks noGrp="1"/>
          </p:cNvSpPr>
          <p:nvPr>
            <p:ph type="pic" sz="quarter" idx="16"/>
          </p:nvPr>
        </p:nvSpPr>
        <p:spPr>
          <a:xfrm>
            <a:off x="3160489" y="3113452"/>
            <a:ext cx="1654626" cy="972459"/>
          </a:xfrm>
          <a:prstGeom prst="rect">
            <a:avLst/>
          </a:prstGeom>
        </p:spPr>
        <p:txBody>
          <a:bodyPr anchor="ctr"/>
          <a:lstStyle>
            <a:lvl1pPr marL="0" indent="0" algn="ctr">
              <a:buNone/>
              <a:defRPr sz="1600"/>
            </a:lvl1pPr>
          </a:lstStyle>
          <a:p>
            <a:endParaRPr lang="en-US"/>
          </a:p>
        </p:txBody>
      </p:sp>
      <p:sp>
        <p:nvSpPr>
          <p:cNvPr id="7" name="Picture Placeholder 10">
            <a:extLst>
              <a:ext uri="{FF2B5EF4-FFF2-40B4-BE49-F238E27FC236}">
                <a16:creationId xmlns:a16="http://schemas.microsoft.com/office/drawing/2014/main" id="{EA71324D-2369-1F11-4F41-DF3181473A4A}"/>
              </a:ext>
            </a:extLst>
          </p:cNvPr>
          <p:cNvSpPr>
            <a:spLocks noGrp="1"/>
          </p:cNvSpPr>
          <p:nvPr>
            <p:ph type="pic" sz="quarter" idx="17"/>
          </p:nvPr>
        </p:nvSpPr>
        <p:spPr>
          <a:xfrm>
            <a:off x="5254174" y="3113452"/>
            <a:ext cx="1654626" cy="972459"/>
          </a:xfrm>
          <a:prstGeom prst="rect">
            <a:avLst/>
          </a:prstGeom>
        </p:spPr>
        <p:txBody>
          <a:bodyPr anchor="ctr"/>
          <a:lstStyle>
            <a:lvl1pPr marL="0" indent="0" algn="ctr">
              <a:buNone/>
              <a:defRPr sz="1600"/>
            </a:lvl1pPr>
          </a:lstStyle>
          <a:p>
            <a:endParaRPr lang="en-US"/>
          </a:p>
        </p:txBody>
      </p:sp>
      <p:sp>
        <p:nvSpPr>
          <p:cNvPr id="8" name="Picture Placeholder 10">
            <a:extLst>
              <a:ext uri="{FF2B5EF4-FFF2-40B4-BE49-F238E27FC236}">
                <a16:creationId xmlns:a16="http://schemas.microsoft.com/office/drawing/2014/main" id="{9CEC0CDB-B968-AD03-9BB3-4B0F8E4304C6}"/>
              </a:ext>
            </a:extLst>
          </p:cNvPr>
          <p:cNvSpPr>
            <a:spLocks noGrp="1"/>
          </p:cNvSpPr>
          <p:nvPr>
            <p:ph type="pic" sz="quarter" idx="18"/>
          </p:nvPr>
        </p:nvSpPr>
        <p:spPr>
          <a:xfrm>
            <a:off x="7347859" y="3113452"/>
            <a:ext cx="1654626" cy="972459"/>
          </a:xfrm>
          <a:prstGeom prst="rect">
            <a:avLst/>
          </a:prstGeom>
        </p:spPr>
        <p:txBody>
          <a:bodyPr anchor="ctr"/>
          <a:lstStyle>
            <a:lvl1pPr marL="0" indent="0" algn="ctr">
              <a:buNone/>
              <a:defRPr sz="1600"/>
            </a:lvl1pPr>
          </a:lstStyle>
          <a:p>
            <a:endParaRPr lang="en-US"/>
          </a:p>
        </p:txBody>
      </p:sp>
      <p:sp>
        <p:nvSpPr>
          <p:cNvPr id="9" name="Picture Placeholder 10">
            <a:extLst>
              <a:ext uri="{FF2B5EF4-FFF2-40B4-BE49-F238E27FC236}">
                <a16:creationId xmlns:a16="http://schemas.microsoft.com/office/drawing/2014/main" id="{5F9EF51C-000E-6C1D-179D-F819A5B94CCC}"/>
              </a:ext>
            </a:extLst>
          </p:cNvPr>
          <p:cNvSpPr>
            <a:spLocks noGrp="1"/>
          </p:cNvSpPr>
          <p:nvPr>
            <p:ph type="pic" sz="quarter" idx="19"/>
          </p:nvPr>
        </p:nvSpPr>
        <p:spPr>
          <a:xfrm>
            <a:off x="9441545" y="3113452"/>
            <a:ext cx="1654626" cy="972459"/>
          </a:xfrm>
          <a:prstGeom prst="rect">
            <a:avLst/>
          </a:prstGeom>
        </p:spPr>
        <p:txBody>
          <a:bodyPr anchor="ctr"/>
          <a:lstStyle>
            <a:lvl1pPr marL="0" indent="0" algn="ctr">
              <a:buNone/>
              <a:defRPr sz="1600"/>
            </a:lvl1pPr>
          </a:lstStyle>
          <a:p>
            <a:endParaRPr lang="en-US"/>
          </a:p>
        </p:txBody>
      </p:sp>
      <p:sp>
        <p:nvSpPr>
          <p:cNvPr id="11" name="Picture Placeholder 10">
            <a:extLst>
              <a:ext uri="{FF2B5EF4-FFF2-40B4-BE49-F238E27FC236}">
                <a16:creationId xmlns:a16="http://schemas.microsoft.com/office/drawing/2014/main" id="{E4247142-58BC-2DE7-99B4-1933C1F64C1C}"/>
              </a:ext>
            </a:extLst>
          </p:cNvPr>
          <p:cNvSpPr>
            <a:spLocks noGrp="1"/>
          </p:cNvSpPr>
          <p:nvPr>
            <p:ph type="pic" sz="quarter" idx="10"/>
          </p:nvPr>
        </p:nvSpPr>
        <p:spPr>
          <a:xfrm>
            <a:off x="1066804" y="4426223"/>
            <a:ext cx="1654626" cy="972459"/>
          </a:xfrm>
          <a:prstGeom prst="rect">
            <a:avLst/>
          </a:prstGeom>
        </p:spPr>
        <p:txBody>
          <a:bodyPr anchor="ctr"/>
          <a:lstStyle>
            <a:lvl1pPr marL="0" indent="0" algn="ctr">
              <a:buNone/>
              <a:defRPr sz="1600"/>
            </a:lvl1pPr>
          </a:lstStyle>
          <a:p>
            <a:endParaRPr lang="en-US"/>
          </a:p>
        </p:txBody>
      </p:sp>
      <p:sp>
        <p:nvSpPr>
          <p:cNvPr id="12" name="Picture Placeholder 10">
            <a:extLst>
              <a:ext uri="{FF2B5EF4-FFF2-40B4-BE49-F238E27FC236}">
                <a16:creationId xmlns:a16="http://schemas.microsoft.com/office/drawing/2014/main" id="{8EF46788-177E-810C-685A-E086C6150BAC}"/>
              </a:ext>
            </a:extLst>
          </p:cNvPr>
          <p:cNvSpPr>
            <a:spLocks noGrp="1"/>
          </p:cNvSpPr>
          <p:nvPr>
            <p:ph type="pic" sz="quarter" idx="11"/>
          </p:nvPr>
        </p:nvSpPr>
        <p:spPr>
          <a:xfrm>
            <a:off x="3160489" y="4426223"/>
            <a:ext cx="1654626" cy="972459"/>
          </a:xfrm>
          <a:prstGeom prst="rect">
            <a:avLst/>
          </a:prstGeom>
        </p:spPr>
        <p:txBody>
          <a:bodyPr anchor="ctr"/>
          <a:lstStyle>
            <a:lvl1pPr marL="0" indent="0" algn="ctr">
              <a:buNone/>
              <a:defRPr sz="1600"/>
            </a:lvl1pPr>
          </a:lstStyle>
          <a:p>
            <a:endParaRPr lang="en-US"/>
          </a:p>
        </p:txBody>
      </p:sp>
      <p:sp>
        <p:nvSpPr>
          <p:cNvPr id="13" name="Picture Placeholder 10">
            <a:extLst>
              <a:ext uri="{FF2B5EF4-FFF2-40B4-BE49-F238E27FC236}">
                <a16:creationId xmlns:a16="http://schemas.microsoft.com/office/drawing/2014/main" id="{850434E3-AFB0-9C2D-CD26-E5B43110F24E}"/>
              </a:ext>
            </a:extLst>
          </p:cNvPr>
          <p:cNvSpPr>
            <a:spLocks noGrp="1"/>
          </p:cNvSpPr>
          <p:nvPr>
            <p:ph type="pic" sz="quarter" idx="12"/>
          </p:nvPr>
        </p:nvSpPr>
        <p:spPr>
          <a:xfrm>
            <a:off x="5254174" y="4426223"/>
            <a:ext cx="1654626" cy="972459"/>
          </a:xfrm>
          <a:prstGeom prst="rect">
            <a:avLst/>
          </a:prstGeom>
        </p:spPr>
        <p:txBody>
          <a:bodyPr anchor="ctr"/>
          <a:lstStyle>
            <a:lvl1pPr marL="0" indent="0" algn="ctr">
              <a:buNone/>
              <a:defRPr sz="1600"/>
            </a:lvl1pPr>
          </a:lstStyle>
          <a:p>
            <a:endParaRPr lang="en-US"/>
          </a:p>
        </p:txBody>
      </p:sp>
      <p:sp>
        <p:nvSpPr>
          <p:cNvPr id="14" name="Picture Placeholder 10">
            <a:extLst>
              <a:ext uri="{FF2B5EF4-FFF2-40B4-BE49-F238E27FC236}">
                <a16:creationId xmlns:a16="http://schemas.microsoft.com/office/drawing/2014/main" id="{F20283FE-50B7-AA46-A9CF-5DC669589608}"/>
              </a:ext>
            </a:extLst>
          </p:cNvPr>
          <p:cNvSpPr>
            <a:spLocks noGrp="1"/>
          </p:cNvSpPr>
          <p:nvPr>
            <p:ph type="pic" sz="quarter" idx="13"/>
          </p:nvPr>
        </p:nvSpPr>
        <p:spPr>
          <a:xfrm>
            <a:off x="7347859" y="4426223"/>
            <a:ext cx="1654626" cy="972459"/>
          </a:xfrm>
          <a:prstGeom prst="rect">
            <a:avLst/>
          </a:prstGeom>
        </p:spPr>
        <p:txBody>
          <a:bodyPr anchor="ctr"/>
          <a:lstStyle>
            <a:lvl1pPr marL="0" indent="0" algn="ctr">
              <a:buNone/>
              <a:defRPr sz="1600"/>
            </a:lvl1pPr>
          </a:lstStyle>
          <a:p>
            <a:endParaRPr lang="en-US"/>
          </a:p>
        </p:txBody>
      </p:sp>
      <p:sp>
        <p:nvSpPr>
          <p:cNvPr id="15" name="Picture Placeholder 10">
            <a:extLst>
              <a:ext uri="{FF2B5EF4-FFF2-40B4-BE49-F238E27FC236}">
                <a16:creationId xmlns:a16="http://schemas.microsoft.com/office/drawing/2014/main" id="{192C2338-E8BD-54D9-8F2A-9DB217B24AFC}"/>
              </a:ext>
            </a:extLst>
          </p:cNvPr>
          <p:cNvSpPr>
            <a:spLocks noGrp="1"/>
          </p:cNvSpPr>
          <p:nvPr>
            <p:ph type="pic" sz="quarter" idx="14"/>
          </p:nvPr>
        </p:nvSpPr>
        <p:spPr>
          <a:xfrm>
            <a:off x="9441545" y="4426223"/>
            <a:ext cx="1654626" cy="972459"/>
          </a:xfrm>
          <a:prstGeom prst="rect">
            <a:avLst/>
          </a:prstGeom>
        </p:spPr>
        <p:txBody>
          <a:bodyPr anchor="ctr"/>
          <a:lstStyle>
            <a:lvl1pPr marL="0" indent="0" algn="ctr">
              <a:buNone/>
              <a:defRPr sz="1600"/>
            </a:lvl1pPr>
          </a:lstStyle>
          <a:p>
            <a:endParaRPr lang="en-US"/>
          </a:p>
        </p:txBody>
      </p:sp>
      <p:sp>
        <p:nvSpPr>
          <p:cNvPr id="20" name="Footer Placeholder 3">
            <a:extLst>
              <a:ext uri="{FF2B5EF4-FFF2-40B4-BE49-F238E27FC236}">
                <a16:creationId xmlns:a16="http://schemas.microsoft.com/office/drawing/2014/main" id="{A07050EE-2105-C2B7-C37A-E7FB448715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3260835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Picture 3">
            <a:extLst>
              <a:ext uri="{FF2B5EF4-FFF2-40B4-BE49-F238E27FC236}">
                <a16:creationId xmlns:a16="http://schemas.microsoft.com/office/drawing/2014/main" id="{4742AD4C-2D0F-4B83-B0E1-C6D91C152605}"/>
              </a:ext>
            </a:extLst>
          </p:cNvPr>
          <p:cNvPicPr>
            <a:picLocks noChangeAspect="1"/>
          </p:cNvPicPr>
          <p:nvPr userDrawn="1"/>
        </p:nvPicPr>
        <p:blipFill rotWithShape="1">
          <a:blip r:embed="rId2">
            <a:alphaModFix amt="55000"/>
            <a:extLst>
              <a:ext uri="{BEBA8EAE-BF5A-486C-A8C5-ECC9F3942E4B}">
                <a14:imgProps xmlns:a14="http://schemas.microsoft.com/office/drawing/2010/main">
                  <a14:imgLayer r:embed="rId3">
                    <a14:imgEffect>
                      <a14:artisticBlur/>
                    </a14:imgEffect>
                  </a14:imgLayer>
                </a14:imgProps>
              </a:ext>
            </a:extLst>
          </a:blip>
          <a:srcRect l="38243" t="17291" b="26565"/>
          <a:stretch/>
        </p:blipFill>
        <p:spPr>
          <a:xfrm flipV="1">
            <a:off x="0" y="-2"/>
            <a:ext cx="4385157" cy="2146300"/>
          </a:xfrm>
          <a:prstGeom prst="rect">
            <a:avLst/>
          </a:prstGeom>
        </p:spPr>
      </p:pic>
      <p:sp>
        <p:nvSpPr>
          <p:cNvPr id="9" name="Rectangle: Rounded Corners 8">
            <a:extLst>
              <a:ext uri="{FF2B5EF4-FFF2-40B4-BE49-F238E27FC236}">
                <a16:creationId xmlns:a16="http://schemas.microsoft.com/office/drawing/2014/main" id="{9BA54549-52B0-ECD4-07B6-D1D3C59F2123}"/>
              </a:ext>
              <a:ext uri="{C183D7F6-B498-43B3-948B-1728B52AA6E4}">
                <adec:decorative xmlns:adec="http://schemas.microsoft.com/office/drawing/2017/decorative" val="1"/>
              </a:ext>
            </a:extLst>
          </p:cNvPr>
          <p:cNvSpPr>
            <a:spLocks/>
          </p:cNvSpPr>
          <p:nvPr userDrawn="1"/>
        </p:nvSpPr>
        <p:spPr bwMode="auto">
          <a:xfrm>
            <a:off x="584200" y="2107684"/>
            <a:ext cx="11018520" cy="893317"/>
          </a:xfrm>
          <a:prstGeom prst="roundRect">
            <a:avLst>
              <a:gd name="adj" fmla="val 11708"/>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ectangle: Rounded Corners 10">
            <a:extLst>
              <a:ext uri="{FF2B5EF4-FFF2-40B4-BE49-F238E27FC236}">
                <a16:creationId xmlns:a16="http://schemas.microsoft.com/office/drawing/2014/main" id="{107C73EA-C24A-C356-B4B6-7D989AC0E6E5}"/>
              </a:ext>
            </a:extLst>
          </p:cNvPr>
          <p:cNvSpPr>
            <a:spLocks/>
          </p:cNvSpPr>
          <p:nvPr/>
        </p:nvSpPr>
        <p:spPr bwMode="auto">
          <a:xfrm>
            <a:off x="689286"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Jan</a:t>
            </a:r>
          </a:p>
        </p:txBody>
      </p:sp>
      <p:sp>
        <p:nvSpPr>
          <p:cNvPr id="12" name="Rectangle: Rounded Corners 11">
            <a:extLst>
              <a:ext uri="{FF2B5EF4-FFF2-40B4-BE49-F238E27FC236}">
                <a16:creationId xmlns:a16="http://schemas.microsoft.com/office/drawing/2014/main" id="{24FD1A43-A993-3DD7-F832-430A17D73E13}"/>
              </a:ext>
            </a:extLst>
          </p:cNvPr>
          <p:cNvSpPr>
            <a:spLocks/>
          </p:cNvSpPr>
          <p:nvPr/>
        </p:nvSpPr>
        <p:spPr bwMode="auto">
          <a:xfrm>
            <a:off x="1600557"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Feb</a:t>
            </a:r>
          </a:p>
        </p:txBody>
      </p:sp>
      <p:sp>
        <p:nvSpPr>
          <p:cNvPr id="13" name="Rectangle: Rounded Corners 12">
            <a:extLst>
              <a:ext uri="{FF2B5EF4-FFF2-40B4-BE49-F238E27FC236}">
                <a16:creationId xmlns:a16="http://schemas.microsoft.com/office/drawing/2014/main" id="{97F3A010-DFC7-AA2A-1E45-069B81332D79}"/>
              </a:ext>
            </a:extLst>
          </p:cNvPr>
          <p:cNvSpPr>
            <a:spLocks/>
          </p:cNvSpPr>
          <p:nvPr/>
        </p:nvSpPr>
        <p:spPr bwMode="auto">
          <a:xfrm>
            <a:off x="2511828"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Mar</a:t>
            </a:r>
          </a:p>
        </p:txBody>
      </p:sp>
      <p:sp>
        <p:nvSpPr>
          <p:cNvPr id="14" name="Rectangle: Rounded Corners 13">
            <a:extLst>
              <a:ext uri="{FF2B5EF4-FFF2-40B4-BE49-F238E27FC236}">
                <a16:creationId xmlns:a16="http://schemas.microsoft.com/office/drawing/2014/main" id="{B284634C-C08B-D0F0-93D4-7B10C589994D}"/>
              </a:ext>
            </a:extLst>
          </p:cNvPr>
          <p:cNvSpPr>
            <a:spLocks/>
          </p:cNvSpPr>
          <p:nvPr/>
        </p:nvSpPr>
        <p:spPr bwMode="auto">
          <a:xfrm>
            <a:off x="3423099"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Apr</a:t>
            </a:r>
          </a:p>
        </p:txBody>
      </p:sp>
      <p:sp>
        <p:nvSpPr>
          <p:cNvPr id="15" name="Rectangle: Rounded Corners 14">
            <a:extLst>
              <a:ext uri="{FF2B5EF4-FFF2-40B4-BE49-F238E27FC236}">
                <a16:creationId xmlns:a16="http://schemas.microsoft.com/office/drawing/2014/main" id="{0BCA7159-4443-6005-C6FE-F186178EB587}"/>
              </a:ext>
            </a:extLst>
          </p:cNvPr>
          <p:cNvSpPr>
            <a:spLocks/>
          </p:cNvSpPr>
          <p:nvPr/>
        </p:nvSpPr>
        <p:spPr bwMode="auto">
          <a:xfrm>
            <a:off x="4334370"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May</a:t>
            </a:r>
          </a:p>
        </p:txBody>
      </p:sp>
      <p:sp>
        <p:nvSpPr>
          <p:cNvPr id="16" name="Rectangle: Rounded Corners 15">
            <a:extLst>
              <a:ext uri="{FF2B5EF4-FFF2-40B4-BE49-F238E27FC236}">
                <a16:creationId xmlns:a16="http://schemas.microsoft.com/office/drawing/2014/main" id="{31D21AA7-318B-160B-E45A-6EC3BD184ACB}"/>
              </a:ext>
            </a:extLst>
          </p:cNvPr>
          <p:cNvSpPr>
            <a:spLocks/>
          </p:cNvSpPr>
          <p:nvPr/>
        </p:nvSpPr>
        <p:spPr bwMode="auto">
          <a:xfrm>
            <a:off x="5245641"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Jun</a:t>
            </a:r>
          </a:p>
        </p:txBody>
      </p:sp>
      <p:sp>
        <p:nvSpPr>
          <p:cNvPr id="17" name="Rectangle: Rounded Corners 16">
            <a:extLst>
              <a:ext uri="{FF2B5EF4-FFF2-40B4-BE49-F238E27FC236}">
                <a16:creationId xmlns:a16="http://schemas.microsoft.com/office/drawing/2014/main" id="{9E480D6A-A6DD-D1A4-0693-3F75C9A4E1AA}"/>
              </a:ext>
            </a:extLst>
          </p:cNvPr>
          <p:cNvSpPr>
            <a:spLocks/>
          </p:cNvSpPr>
          <p:nvPr/>
        </p:nvSpPr>
        <p:spPr bwMode="auto">
          <a:xfrm>
            <a:off x="6156912"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July</a:t>
            </a:r>
          </a:p>
        </p:txBody>
      </p:sp>
      <p:sp>
        <p:nvSpPr>
          <p:cNvPr id="18" name="Rectangle: Rounded Corners 17">
            <a:extLst>
              <a:ext uri="{FF2B5EF4-FFF2-40B4-BE49-F238E27FC236}">
                <a16:creationId xmlns:a16="http://schemas.microsoft.com/office/drawing/2014/main" id="{26E48A47-1E4E-D881-D2AA-1043EB1F33D3}"/>
              </a:ext>
            </a:extLst>
          </p:cNvPr>
          <p:cNvSpPr>
            <a:spLocks/>
          </p:cNvSpPr>
          <p:nvPr/>
        </p:nvSpPr>
        <p:spPr bwMode="auto">
          <a:xfrm>
            <a:off x="7068183"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Aug</a:t>
            </a:r>
          </a:p>
        </p:txBody>
      </p:sp>
      <p:sp>
        <p:nvSpPr>
          <p:cNvPr id="19" name="Rectangle: Rounded Corners 18">
            <a:extLst>
              <a:ext uri="{FF2B5EF4-FFF2-40B4-BE49-F238E27FC236}">
                <a16:creationId xmlns:a16="http://schemas.microsoft.com/office/drawing/2014/main" id="{3B111C1D-4B95-A512-E588-F8B97CBFBE44}"/>
              </a:ext>
            </a:extLst>
          </p:cNvPr>
          <p:cNvSpPr>
            <a:spLocks/>
          </p:cNvSpPr>
          <p:nvPr/>
        </p:nvSpPr>
        <p:spPr bwMode="auto">
          <a:xfrm>
            <a:off x="7979454"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Sept</a:t>
            </a:r>
          </a:p>
        </p:txBody>
      </p:sp>
      <p:sp>
        <p:nvSpPr>
          <p:cNvPr id="20" name="Rectangle: Rounded Corners 19">
            <a:extLst>
              <a:ext uri="{FF2B5EF4-FFF2-40B4-BE49-F238E27FC236}">
                <a16:creationId xmlns:a16="http://schemas.microsoft.com/office/drawing/2014/main" id="{B7D72380-BA28-A36D-E2FA-98CC59F8E529}"/>
              </a:ext>
            </a:extLst>
          </p:cNvPr>
          <p:cNvSpPr>
            <a:spLocks/>
          </p:cNvSpPr>
          <p:nvPr/>
        </p:nvSpPr>
        <p:spPr bwMode="auto">
          <a:xfrm>
            <a:off x="8890725"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Oct</a:t>
            </a:r>
          </a:p>
        </p:txBody>
      </p:sp>
      <p:sp>
        <p:nvSpPr>
          <p:cNvPr id="21" name="Rectangle: Rounded Corners 20">
            <a:extLst>
              <a:ext uri="{FF2B5EF4-FFF2-40B4-BE49-F238E27FC236}">
                <a16:creationId xmlns:a16="http://schemas.microsoft.com/office/drawing/2014/main" id="{20CABE9B-C343-AE68-6017-CCEA8631DD55}"/>
              </a:ext>
            </a:extLst>
          </p:cNvPr>
          <p:cNvSpPr>
            <a:spLocks/>
          </p:cNvSpPr>
          <p:nvPr/>
        </p:nvSpPr>
        <p:spPr bwMode="auto">
          <a:xfrm>
            <a:off x="9801996" y="2447105"/>
            <a:ext cx="784363" cy="440097"/>
          </a:xfrm>
          <a:prstGeom prst="roundRect">
            <a:avLst>
              <a:gd name="adj" fmla="val 1300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a:solidFill>
                  <a:schemeClr val="bg1"/>
                </a:solidFill>
                <a:cs typeface="Segoe UI" pitchFamily="34" charset="0"/>
              </a:rPr>
              <a:t>Nov</a:t>
            </a:r>
          </a:p>
        </p:txBody>
      </p:sp>
      <p:sp>
        <p:nvSpPr>
          <p:cNvPr id="22" name="Rectangle: Rounded Corners 21">
            <a:extLst>
              <a:ext uri="{FF2B5EF4-FFF2-40B4-BE49-F238E27FC236}">
                <a16:creationId xmlns:a16="http://schemas.microsoft.com/office/drawing/2014/main" id="{2F2EA483-E7B5-415D-9E7D-A29ED3757C55}"/>
              </a:ext>
            </a:extLst>
          </p:cNvPr>
          <p:cNvSpPr>
            <a:spLocks/>
          </p:cNvSpPr>
          <p:nvPr/>
        </p:nvSpPr>
        <p:spPr bwMode="auto">
          <a:xfrm>
            <a:off x="10713270" y="2447105"/>
            <a:ext cx="784363" cy="440097"/>
          </a:xfrm>
          <a:prstGeom prst="roundRect">
            <a:avLst>
              <a:gd name="adj" fmla="val 13000"/>
            </a:avLst>
          </a:prstGeom>
          <a:gradFill flip="none" rotWithShape="1">
            <a:gsLst>
              <a:gs pos="78000">
                <a:schemeClr val="accent1">
                  <a:lumMod val="60000"/>
                  <a:lumOff val="40000"/>
                </a:schemeClr>
              </a:gs>
              <a:gs pos="0">
                <a:schemeClr val="accent1">
                  <a:lumMod val="40000"/>
                  <a:lumOff val="60000"/>
                </a:schemeClr>
              </a:gs>
            </a:gsLst>
            <a:lin ang="0" scaled="1"/>
            <a:tileRect/>
          </a:gradFill>
          <a:ln w="19050">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32742" fontAlgn="base">
              <a:lnSpc>
                <a:spcPct val="100000"/>
              </a:lnSpc>
              <a:spcBef>
                <a:spcPct val="20000"/>
              </a:spcBef>
              <a:spcAft>
                <a:spcPct val="0"/>
              </a:spcAft>
              <a:buClrTx/>
              <a:buSzPct val="90000"/>
              <a:buFont typeface="Wingdings" panose="05000000000000000000" pitchFamily="2" charset="2"/>
              <a:buNone/>
              <a:tabLst/>
            </a:pPr>
            <a:r>
              <a:rPr lang="en-US" sz="1400" spc="0" baseline="0">
                <a:solidFill>
                  <a:schemeClr val="tx1"/>
                </a:solidFill>
                <a:latin typeface="+mj-lt"/>
              </a:rPr>
              <a:t>Dec</a:t>
            </a:r>
          </a:p>
        </p:txBody>
      </p:sp>
      <p:cxnSp>
        <p:nvCxnSpPr>
          <p:cNvPr id="23" name="Straight Connector 22">
            <a:extLst>
              <a:ext uri="{FF2B5EF4-FFF2-40B4-BE49-F238E27FC236}">
                <a16:creationId xmlns:a16="http://schemas.microsoft.com/office/drawing/2014/main" id="{C1FC118A-DA07-DE5F-D8D7-753FF7ED2ACC}"/>
              </a:ext>
            </a:extLst>
          </p:cNvPr>
          <p:cNvCxnSpPr>
            <a:cxnSpLocks/>
          </p:cNvCxnSpPr>
          <p:nvPr/>
        </p:nvCxnSpPr>
        <p:spPr>
          <a:xfrm flipH="1">
            <a:off x="3505540" y="2107684"/>
            <a:ext cx="6516789"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1">
            <a:extLst>
              <a:ext uri="{FF2B5EF4-FFF2-40B4-BE49-F238E27FC236}">
                <a16:creationId xmlns:a16="http://schemas.microsoft.com/office/drawing/2014/main" id="{7FB56255-AE81-DBD6-1DBE-11544C83EB66}"/>
              </a:ext>
            </a:extLst>
          </p:cNvPr>
          <p:cNvSpPr>
            <a:spLocks noGrp="1"/>
          </p:cNvSpPr>
          <p:nvPr>
            <p:ph type="body" sz="quarter" idx="10" hasCustomPrompt="1"/>
          </p:nvPr>
        </p:nvSpPr>
        <p:spPr>
          <a:xfrm>
            <a:off x="689286" y="1936634"/>
            <a:ext cx="1223334" cy="342100"/>
          </a:xfrm>
          <a:prstGeom prst="roundRect">
            <a:avLst>
              <a:gd name="adj" fmla="val 50000"/>
            </a:avLst>
          </a:prstGeom>
          <a:gradFill flip="none" rotWithShape="1">
            <a:gsLst>
              <a:gs pos="78000">
                <a:schemeClr val="accent1">
                  <a:lumMod val="60000"/>
                  <a:lumOff val="40000"/>
                </a:schemeClr>
              </a:gs>
              <a:gs pos="0">
                <a:schemeClr val="accent1">
                  <a:lumMod val="40000"/>
                  <a:lumOff val="60000"/>
                </a:schemeClr>
              </a:gs>
            </a:gsLst>
            <a:lin ang="0" scaled="1"/>
            <a:tileRect/>
          </a:gradFill>
          <a:ln w="19050">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lang="en-US" sz="1400" smtClean="0">
                <a:solidFill>
                  <a:schemeClr val="tx1"/>
                </a:solidFill>
                <a:latin typeface="+mj-l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fontAlgn="base">
              <a:spcAft>
                <a:spcPct val="0"/>
              </a:spcAft>
            </a:pPr>
            <a:r>
              <a:rPr lang="en-US"/>
              <a:t>Year</a:t>
            </a:r>
          </a:p>
        </p:txBody>
      </p:sp>
      <p:sp>
        <p:nvSpPr>
          <p:cNvPr id="33" name="Rectangle 32">
            <a:extLst>
              <a:ext uri="{FF2B5EF4-FFF2-40B4-BE49-F238E27FC236}">
                <a16:creationId xmlns:a16="http://schemas.microsoft.com/office/drawing/2014/main" id="{2555CAB1-D6D7-C409-7DC6-F890A4BD605F}"/>
              </a:ext>
            </a:extLst>
          </p:cNvPr>
          <p:cNvSpPr/>
          <p:nvPr userDrawn="1"/>
        </p:nvSpPr>
        <p:spPr bwMode="auto">
          <a:xfrm>
            <a:off x="0" y="5638800"/>
            <a:ext cx="12192000" cy="12192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BD0C69CF-C356-5376-847C-FFA043AFC7ED}"/>
              </a:ext>
            </a:extLst>
          </p:cNvPr>
          <p:cNvPicPr>
            <a:picLocks noChangeAspect="1"/>
          </p:cNvPicPr>
          <p:nvPr userDrawn="1"/>
        </p:nvPicPr>
        <p:blipFill rotWithShape="1">
          <a:blip r:embed="rId2">
            <a:alphaModFix amt="34000"/>
            <a:extLst>
              <a:ext uri="{BEBA8EAE-BF5A-486C-A8C5-ECC9F3942E4B}">
                <a14:imgProps xmlns:a14="http://schemas.microsoft.com/office/drawing/2010/main">
                  <a14:imgLayer r:embed="rId3">
                    <a14:imgEffect>
                      <a14:artisticBlur/>
                    </a14:imgEffect>
                  </a14:imgLayer>
                </a14:imgProps>
              </a:ext>
            </a:extLst>
          </a:blip>
          <a:srcRect t="19302" r="31782"/>
          <a:stretch/>
        </p:blipFill>
        <p:spPr>
          <a:xfrm>
            <a:off x="6179549" y="3028891"/>
            <a:ext cx="6012452" cy="3829110"/>
          </a:xfrm>
          <a:prstGeom prst="rect">
            <a:avLst/>
          </a:prstGeom>
        </p:spPr>
      </p:pic>
      <p:sp>
        <p:nvSpPr>
          <p:cNvPr id="5" name="Footer Placeholder 3">
            <a:extLst>
              <a:ext uri="{FF2B5EF4-FFF2-40B4-BE49-F238E27FC236}">
                <a16:creationId xmlns:a16="http://schemas.microsoft.com/office/drawing/2014/main" id="{9DDDB675-AE6A-2846-3BCB-4D0493B8C86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a:t>Microsoft Confidential</a:t>
            </a:r>
          </a:p>
        </p:txBody>
      </p:sp>
    </p:spTree>
    <p:extLst>
      <p:ext uri="{BB962C8B-B14F-4D97-AF65-F5344CB8AC3E}">
        <p14:creationId xmlns:p14="http://schemas.microsoft.com/office/powerpoint/2010/main" val="21875881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imeline">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1D6B709-AE6D-C3B3-B2FC-339914E927A1}"/>
              </a:ext>
            </a:extLst>
          </p:cNvPr>
          <p:cNvSpPr txBox="1">
            <a:spLocks/>
          </p:cNvSpPr>
          <p:nvPr userDrawn="1"/>
        </p:nvSpPr>
        <p:spPr>
          <a:xfrm>
            <a:off x="324643" y="1277076"/>
            <a:ext cx="11542713" cy="4857846"/>
          </a:xfrm>
          <a:prstGeom prst="roundRect">
            <a:avLst>
              <a:gd name="adj" fmla="val 1954"/>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defTabSz="932472" fontAlgn="base">
              <a:spcBef>
                <a:spcPct val="0"/>
              </a:spcBef>
              <a:spcAft>
                <a:spcPct val="0"/>
              </a:spcAft>
              <a:defRPr sz="2000">
                <a:solidFill>
                  <a:srgbClr val="FFFFFF"/>
                </a:soli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en-US"/>
          </a:p>
        </p:txBody>
      </p:sp>
      <p:sp>
        <p:nvSpPr>
          <p:cNvPr id="6" name="Rectangle: Rounded Corners 5">
            <a:extLst>
              <a:ext uri="{FF2B5EF4-FFF2-40B4-BE49-F238E27FC236}">
                <a16:creationId xmlns:a16="http://schemas.microsoft.com/office/drawing/2014/main" id="{2BA216E4-8EF5-6005-1853-966609749567}"/>
              </a:ext>
            </a:extLst>
          </p:cNvPr>
          <p:cNvSpPr>
            <a:spLocks/>
          </p:cNvSpPr>
          <p:nvPr userDrawn="1"/>
        </p:nvSpPr>
        <p:spPr bwMode="auto">
          <a:xfrm>
            <a:off x="587017" y="1622347"/>
            <a:ext cx="11017965" cy="920828"/>
          </a:xfrm>
          <a:prstGeom prst="roundRect">
            <a:avLst>
              <a:gd name="adj" fmla="val 6369"/>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cxnSp>
        <p:nvCxnSpPr>
          <p:cNvPr id="7" name="Straight Connector 6">
            <a:extLst>
              <a:ext uri="{FF2B5EF4-FFF2-40B4-BE49-F238E27FC236}">
                <a16:creationId xmlns:a16="http://schemas.microsoft.com/office/drawing/2014/main" id="{6FA5B8E7-15CE-53CA-0D76-CC62C543525F}"/>
              </a:ext>
            </a:extLst>
          </p:cNvPr>
          <p:cNvCxnSpPr>
            <a:cxnSpLocks/>
          </p:cNvCxnSpPr>
          <p:nvPr userDrawn="1"/>
        </p:nvCxnSpPr>
        <p:spPr>
          <a:xfrm flipH="1">
            <a:off x="3806178" y="6134922"/>
            <a:ext cx="4579644"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90776275-7246-B26C-E02F-59506ED3A10A}"/>
              </a:ext>
            </a:extLst>
          </p:cNvPr>
          <p:cNvSpPr>
            <a:spLocks/>
          </p:cNvSpPr>
          <p:nvPr userDrawn="1"/>
        </p:nvSpPr>
        <p:spPr bwMode="auto">
          <a:xfrm>
            <a:off x="689286"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Jan</a:t>
            </a:r>
          </a:p>
        </p:txBody>
      </p:sp>
      <p:sp>
        <p:nvSpPr>
          <p:cNvPr id="10" name="Rectangle 9">
            <a:extLst>
              <a:ext uri="{FF2B5EF4-FFF2-40B4-BE49-F238E27FC236}">
                <a16:creationId xmlns:a16="http://schemas.microsoft.com/office/drawing/2014/main" id="{B47EEEF4-656B-6058-EFB0-8B3AD27DA72F}"/>
              </a:ext>
            </a:extLst>
          </p:cNvPr>
          <p:cNvSpPr>
            <a:spLocks/>
          </p:cNvSpPr>
          <p:nvPr userDrawn="1"/>
        </p:nvSpPr>
        <p:spPr bwMode="auto">
          <a:xfrm>
            <a:off x="1600557"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Feb</a:t>
            </a:r>
          </a:p>
        </p:txBody>
      </p:sp>
      <p:sp>
        <p:nvSpPr>
          <p:cNvPr id="24" name="Rectangle 23">
            <a:extLst>
              <a:ext uri="{FF2B5EF4-FFF2-40B4-BE49-F238E27FC236}">
                <a16:creationId xmlns:a16="http://schemas.microsoft.com/office/drawing/2014/main" id="{C85878B7-B071-2DEC-EDC8-B0AD4B478843}"/>
              </a:ext>
            </a:extLst>
          </p:cNvPr>
          <p:cNvSpPr>
            <a:spLocks/>
          </p:cNvSpPr>
          <p:nvPr userDrawn="1"/>
        </p:nvSpPr>
        <p:spPr bwMode="auto">
          <a:xfrm>
            <a:off x="2511828"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Mar</a:t>
            </a:r>
          </a:p>
        </p:txBody>
      </p:sp>
      <p:sp>
        <p:nvSpPr>
          <p:cNvPr id="25" name="Rectangle 24">
            <a:extLst>
              <a:ext uri="{FF2B5EF4-FFF2-40B4-BE49-F238E27FC236}">
                <a16:creationId xmlns:a16="http://schemas.microsoft.com/office/drawing/2014/main" id="{03806F42-5A1A-A1C2-DE09-F9A6317EF7A4}"/>
              </a:ext>
            </a:extLst>
          </p:cNvPr>
          <p:cNvSpPr>
            <a:spLocks/>
          </p:cNvSpPr>
          <p:nvPr userDrawn="1"/>
        </p:nvSpPr>
        <p:spPr bwMode="auto">
          <a:xfrm>
            <a:off x="3423099"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Apr</a:t>
            </a:r>
          </a:p>
        </p:txBody>
      </p:sp>
      <p:sp>
        <p:nvSpPr>
          <p:cNvPr id="26" name="Rectangle 25">
            <a:extLst>
              <a:ext uri="{FF2B5EF4-FFF2-40B4-BE49-F238E27FC236}">
                <a16:creationId xmlns:a16="http://schemas.microsoft.com/office/drawing/2014/main" id="{978576C1-FF61-94EC-1C7D-75F33CED4711}"/>
              </a:ext>
            </a:extLst>
          </p:cNvPr>
          <p:cNvSpPr>
            <a:spLocks/>
          </p:cNvSpPr>
          <p:nvPr userDrawn="1"/>
        </p:nvSpPr>
        <p:spPr bwMode="auto">
          <a:xfrm>
            <a:off x="4334370"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May</a:t>
            </a:r>
          </a:p>
        </p:txBody>
      </p:sp>
      <p:sp>
        <p:nvSpPr>
          <p:cNvPr id="27" name="Rectangle 26">
            <a:extLst>
              <a:ext uri="{FF2B5EF4-FFF2-40B4-BE49-F238E27FC236}">
                <a16:creationId xmlns:a16="http://schemas.microsoft.com/office/drawing/2014/main" id="{8D8CE617-9D9D-F24F-ADD3-0DFF42B46797}"/>
              </a:ext>
            </a:extLst>
          </p:cNvPr>
          <p:cNvSpPr>
            <a:spLocks/>
          </p:cNvSpPr>
          <p:nvPr userDrawn="1"/>
        </p:nvSpPr>
        <p:spPr bwMode="auto">
          <a:xfrm>
            <a:off x="5245641"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Jun</a:t>
            </a:r>
          </a:p>
        </p:txBody>
      </p:sp>
      <p:sp>
        <p:nvSpPr>
          <p:cNvPr id="28" name="Rectangle 27">
            <a:extLst>
              <a:ext uri="{FF2B5EF4-FFF2-40B4-BE49-F238E27FC236}">
                <a16:creationId xmlns:a16="http://schemas.microsoft.com/office/drawing/2014/main" id="{BA592017-96BB-B766-B3CD-0167880D188F}"/>
              </a:ext>
            </a:extLst>
          </p:cNvPr>
          <p:cNvSpPr>
            <a:spLocks/>
          </p:cNvSpPr>
          <p:nvPr userDrawn="1"/>
        </p:nvSpPr>
        <p:spPr bwMode="auto">
          <a:xfrm>
            <a:off x="6156912"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July</a:t>
            </a:r>
          </a:p>
        </p:txBody>
      </p:sp>
      <p:sp>
        <p:nvSpPr>
          <p:cNvPr id="29" name="Rectangle 28">
            <a:extLst>
              <a:ext uri="{FF2B5EF4-FFF2-40B4-BE49-F238E27FC236}">
                <a16:creationId xmlns:a16="http://schemas.microsoft.com/office/drawing/2014/main" id="{8CD6FEF2-D553-ACDB-43F4-6883E2EB6E62}"/>
              </a:ext>
            </a:extLst>
          </p:cNvPr>
          <p:cNvSpPr>
            <a:spLocks/>
          </p:cNvSpPr>
          <p:nvPr userDrawn="1"/>
        </p:nvSpPr>
        <p:spPr bwMode="auto">
          <a:xfrm>
            <a:off x="7068183"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Aug</a:t>
            </a:r>
          </a:p>
        </p:txBody>
      </p:sp>
      <p:sp>
        <p:nvSpPr>
          <p:cNvPr id="30" name="Rectangle 29">
            <a:extLst>
              <a:ext uri="{FF2B5EF4-FFF2-40B4-BE49-F238E27FC236}">
                <a16:creationId xmlns:a16="http://schemas.microsoft.com/office/drawing/2014/main" id="{74B60A36-C57B-3363-A049-14DA3CC712EC}"/>
              </a:ext>
            </a:extLst>
          </p:cNvPr>
          <p:cNvSpPr>
            <a:spLocks/>
          </p:cNvSpPr>
          <p:nvPr userDrawn="1"/>
        </p:nvSpPr>
        <p:spPr bwMode="auto">
          <a:xfrm>
            <a:off x="7979454"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Sept</a:t>
            </a:r>
          </a:p>
        </p:txBody>
      </p:sp>
      <p:sp>
        <p:nvSpPr>
          <p:cNvPr id="31" name="Rectangle 30">
            <a:extLst>
              <a:ext uri="{FF2B5EF4-FFF2-40B4-BE49-F238E27FC236}">
                <a16:creationId xmlns:a16="http://schemas.microsoft.com/office/drawing/2014/main" id="{6A463988-68F5-47AD-31D4-442F7640BDFA}"/>
              </a:ext>
            </a:extLst>
          </p:cNvPr>
          <p:cNvSpPr>
            <a:spLocks/>
          </p:cNvSpPr>
          <p:nvPr userDrawn="1"/>
        </p:nvSpPr>
        <p:spPr bwMode="auto">
          <a:xfrm>
            <a:off x="8890725"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Oct</a:t>
            </a:r>
          </a:p>
        </p:txBody>
      </p:sp>
      <p:sp>
        <p:nvSpPr>
          <p:cNvPr id="34" name="Rectangle 33">
            <a:extLst>
              <a:ext uri="{FF2B5EF4-FFF2-40B4-BE49-F238E27FC236}">
                <a16:creationId xmlns:a16="http://schemas.microsoft.com/office/drawing/2014/main" id="{BFAB469A-7B5B-C4FA-5BAE-97CB7022B364}"/>
              </a:ext>
            </a:extLst>
          </p:cNvPr>
          <p:cNvSpPr>
            <a:spLocks/>
          </p:cNvSpPr>
          <p:nvPr userDrawn="1"/>
        </p:nvSpPr>
        <p:spPr bwMode="auto">
          <a:xfrm>
            <a:off x="9801996"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Nov</a:t>
            </a:r>
          </a:p>
        </p:txBody>
      </p:sp>
      <p:sp>
        <p:nvSpPr>
          <p:cNvPr id="35" name="Rectangle 34">
            <a:extLst>
              <a:ext uri="{FF2B5EF4-FFF2-40B4-BE49-F238E27FC236}">
                <a16:creationId xmlns:a16="http://schemas.microsoft.com/office/drawing/2014/main" id="{5382347F-6E62-FABB-39C5-04828F4A0E35}"/>
              </a:ext>
            </a:extLst>
          </p:cNvPr>
          <p:cNvSpPr>
            <a:spLocks/>
          </p:cNvSpPr>
          <p:nvPr userDrawn="1"/>
        </p:nvSpPr>
        <p:spPr bwMode="auto">
          <a:xfrm>
            <a:off x="10713270" y="1964447"/>
            <a:ext cx="784363" cy="421004"/>
          </a:xfrm>
          <a:prstGeom prst="rect">
            <a:avLst/>
          </a:prstGeom>
          <a:noFill/>
          <a:ln w="9525">
            <a:noFill/>
            <a:headEnd type="none" w="med" len="med"/>
            <a:tailEnd type="none" w="med" len="med"/>
          </a:ln>
          <a:effectLst/>
          <a:scene3d>
            <a:camera prst="orthographicFront"/>
            <a:lightRig rig="chilly" dir="t"/>
          </a:scene3d>
          <a:sp3d prstMaterial="clear">
            <a:bevelT w="0" h="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a:solidFill>
                  <a:schemeClr val="bg1"/>
                </a:solidFill>
                <a:cs typeface="Segoe UI" pitchFamily="34" charset="0"/>
              </a:rPr>
              <a:t>Dec</a:t>
            </a:r>
          </a:p>
        </p:txBody>
      </p:sp>
      <p:cxnSp>
        <p:nvCxnSpPr>
          <p:cNvPr id="36" name="Straight Connector 35">
            <a:extLst>
              <a:ext uri="{FF2B5EF4-FFF2-40B4-BE49-F238E27FC236}">
                <a16:creationId xmlns:a16="http://schemas.microsoft.com/office/drawing/2014/main" id="{8BD7BC73-394B-0DCD-9EF3-0BF221C7A98A}"/>
              </a:ext>
            </a:extLst>
          </p:cNvPr>
          <p:cNvCxnSpPr>
            <a:cxnSpLocks/>
          </p:cNvCxnSpPr>
          <p:nvPr userDrawn="1"/>
        </p:nvCxnSpPr>
        <p:spPr>
          <a:xfrm>
            <a:off x="1537103"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6101D74-7C5D-3DB3-95E6-E0234D61BBD9}"/>
              </a:ext>
            </a:extLst>
          </p:cNvPr>
          <p:cNvCxnSpPr>
            <a:cxnSpLocks/>
          </p:cNvCxnSpPr>
          <p:nvPr userDrawn="1"/>
        </p:nvCxnSpPr>
        <p:spPr>
          <a:xfrm>
            <a:off x="2448374"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C5608AD-9867-6404-7337-3E8BE80D2E72}"/>
              </a:ext>
            </a:extLst>
          </p:cNvPr>
          <p:cNvCxnSpPr>
            <a:cxnSpLocks/>
          </p:cNvCxnSpPr>
          <p:nvPr userDrawn="1"/>
        </p:nvCxnSpPr>
        <p:spPr>
          <a:xfrm>
            <a:off x="3359645"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E4C181B-E18F-79A6-9B79-0A38C43F62DA}"/>
              </a:ext>
            </a:extLst>
          </p:cNvPr>
          <p:cNvCxnSpPr>
            <a:cxnSpLocks/>
          </p:cNvCxnSpPr>
          <p:nvPr userDrawn="1"/>
        </p:nvCxnSpPr>
        <p:spPr>
          <a:xfrm>
            <a:off x="4270916"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EE31C97-0FFE-EE9D-90CF-2C5C1C65C714}"/>
              </a:ext>
            </a:extLst>
          </p:cNvPr>
          <p:cNvCxnSpPr>
            <a:cxnSpLocks/>
          </p:cNvCxnSpPr>
          <p:nvPr userDrawn="1"/>
        </p:nvCxnSpPr>
        <p:spPr>
          <a:xfrm>
            <a:off x="5182187"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987D1F1-18F9-309D-EF12-E2253D940FA2}"/>
              </a:ext>
            </a:extLst>
          </p:cNvPr>
          <p:cNvCxnSpPr>
            <a:cxnSpLocks/>
          </p:cNvCxnSpPr>
          <p:nvPr userDrawn="1"/>
        </p:nvCxnSpPr>
        <p:spPr>
          <a:xfrm>
            <a:off x="6093458"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B665898-23EA-20C0-EC7D-8EB903F2A6C2}"/>
              </a:ext>
            </a:extLst>
          </p:cNvPr>
          <p:cNvCxnSpPr>
            <a:cxnSpLocks/>
          </p:cNvCxnSpPr>
          <p:nvPr userDrawn="1"/>
        </p:nvCxnSpPr>
        <p:spPr>
          <a:xfrm>
            <a:off x="7004729"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AB151ED-D249-B1D5-D3FC-EA4B7B2E8022}"/>
              </a:ext>
            </a:extLst>
          </p:cNvPr>
          <p:cNvCxnSpPr>
            <a:cxnSpLocks/>
          </p:cNvCxnSpPr>
          <p:nvPr userDrawn="1"/>
        </p:nvCxnSpPr>
        <p:spPr>
          <a:xfrm>
            <a:off x="7916000"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B23DC8-54BF-C6A9-E16A-57E486E23410}"/>
              </a:ext>
            </a:extLst>
          </p:cNvPr>
          <p:cNvCxnSpPr>
            <a:cxnSpLocks/>
          </p:cNvCxnSpPr>
          <p:nvPr userDrawn="1"/>
        </p:nvCxnSpPr>
        <p:spPr>
          <a:xfrm>
            <a:off x="8827271"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57E1046-8E60-2935-2AD2-886E3EA27200}"/>
              </a:ext>
            </a:extLst>
          </p:cNvPr>
          <p:cNvCxnSpPr>
            <a:cxnSpLocks/>
          </p:cNvCxnSpPr>
          <p:nvPr userDrawn="1"/>
        </p:nvCxnSpPr>
        <p:spPr>
          <a:xfrm>
            <a:off x="9738542"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E8E71D4-8391-8377-CCEA-3D4A54B6966E}"/>
              </a:ext>
            </a:extLst>
          </p:cNvPr>
          <p:cNvCxnSpPr>
            <a:cxnSpLocks/>
          </p:cNvCxnSpPr>
          <p:nvPr userDrawn="1"/>
        </p:nvCxnSpPr>
        <p:spPr>
          <a:xfrm>
            <a:off x="10649813" y="1964448"/>
            <a:ext cx="0" cy="421004"/>
          </a:xfrm>
          <a:prstGeom prst="line">
            <a:avLst/>
          </a:prstGeom>
          <a:ln w="9525">
            <a:gradFill flip="none" rotWithShape="1">
              <a:gsLst>
                <a:gs pos="0">
                  <a:schemeClr val="accent1">
                    <a:lumMod val="60000"/>
                    <a:lumOff val="40000"/>
                    <a:alpha val="11000"/>
                  </a:schemeClr>
                </a:gs>
                <a:gs pos="50000">
                  <a:schemeClr val="accent1">
                    <a:lumMod val="40000"/>
                    <a:lumOff val="60000"/>
                  </a:schemeClr>
                </a:gs>
                <a:gs pos="100000">
                  <a:schemeClr val="accent1">
                    <a:lumMod val="40000"/>
                    <a:lumOff val="60000"/>
                    <a:alpha val="0"/>
                  </a:schemeClr>
                </a:gs>
              </a:gsLst>
              <a:lin ang="5400000" scaled="1"/>
              <a:tileRect/>
            </a:gradFill>
            <a:headEnd type="none" w="lg" len="lg"/>
            <a:tailEnd type="none" w="lg" len="med"/>
          </a:ln>
        </p:spPr>
        <p:style>
          <a:lnRef idx="1">
            <a:schemeClr val="accent1"/>
          </a:lnRef>
          <a:fillRef idx="0">
            <a:schemeClr val="accent1"/>
          </a:fillRef>
          <a:effectRef idx="0">
            <a:schemeClr val="accent1"/>
          </a:effectRef>
          <a:fontRef idx="minor">
            <a:schemeClr val="tx1"/>
          </a:fontRef>
        </p:style>
      </p:cxnSp>
      <p:sp>
        <p:nvSpPr>
          <p:cNvPr id="32" name="Text Placeholder 31">
            <a:extLst>
              <a:ext uri="{FF2B5EF4-FFF2-40B4-BE49-F238E27FC236}">
                <a16:creationId xmlns:a16="http://schemas.microsoft.com/office/drawing/2014/main" id="{7FB56255-AE81-DBD6-1DBE-11544C83EB66}"/>
              </a:ext>
            </a:extLst>
          </p:cNvPr>
          <p:cNvSpPr>
            <a:spLocks noGrp="1"/>
          </p:cNvSpPr>
          <p:nvPr>
            <p:ph type="body" sz="quarter" idx="10" hasCustomPrompt="1"/>
          </p:nvPr>
        </p:nvSpPr>
        <p:spPr>
          <a:xfrm>
            <a:off x="2539813" y="1451295"/>
            <a:ext cx="7112372" cy="342100"/>
          </a:xfrm>
          <a:prstGeom prst="roundRect">
            <a:avLst>
              <a:gd name="adj" fmla="val 50000"/>
            </a:avLst>
          </a:prstGeom>
          <a:gradFill flip="none" rotWithShape="1">
            <a:gsLst>
              <a:gs pos="78000">
                <a:schemeClr val="accent1">
                  <a:lumMod val="60000"/>
                  <a:lumOff val="40000"/>
                </a:schemeClr>
              </a:gs>
              <a:gs pos="0">
                <a:schemeClr val="accent1">
                  <a:lumMod val="40000"/>
                  <a:lumOff val="60000"/>
                </a:schemeClr>
              </a:gs>
            </a:gsLst>
            <a:lin ang="0" scaled="1"/>
            <a:tileRect/>
          </a:gradFill>
          <a:ln w="19050">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lgn="ctr">
              <a:buNone/>
              <a:defRPr lang="en-US" sz="1800" smtClean="0">
                <a:solidFill>
                  <a:schemeClr val="tx1"/>
                </a:solidFill>
                <a:latin typeface="+mj-l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fontAlgn="base">
              <a:spcAft>
                <a:spcPct val="0"/>
              </a:spcAft>
            </a:pPr>
            <a:r>
              <a:rPr lang="en-US"/>
              <a:t>Year</a:t>
            </a: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Footer Placeholder 3">
            <a:extLst>
              <a:ext uri="{FF2B5EF4-FFF2-40B4-BE49-F238E27FC236}">
                <a16:creationId xmlns:a16="http://schemas.microsoft.com/office/drawing/2014/main" id="{5773946E-AE79-9AD9-4EA5-B0497650F7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a:t>Microsoft Confidential</a:t>
            </a:r>
          </a:p>
        </p:txBody>
      </p:sp>
    </p:spTree>
    <p:extLst>
      <p:ext uri="{BB962C8B-B14F-4D97-AF65-F5344CB8AC3E}">
        <p14:creationId xmlns:p14="http://schemas.microsoft.com/office/powerpoint/2010/main" val="22841151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Rounded Corners 2">
            <a:extLst>
              <a:ext uri="{FF2B5EF4-FFF2-40B4-BE49-F238E27FC236}">
                <a16:creationId xmlns:a16="http://schemas.microsoft.com/office/drawing/2014/main" id="{118D417D-006F-4A6F-8D66-0F7731CCBE6E}"/>
              </a:ext>
              <a:ext uri="{C183D7F6-B498-43B3-948B-1728B52AA6E4}">
                <adec:decorative xmlns:adec="http://schemas.microsoft.com/office/drawing/2017/decorative" val="1"/>
              </a:ext>
            </a:extLst>
          </p:cNvPr>
          <p:cNvSpPr>
            <a:spLocks/>
          </p:cNvSpPr>
          <p:nvPr userDrawn="1"/>
        </p:nvSpPr>
        <p:spPr bwMode="auto">
          <a:xfrm>
            <a:off x="588264" y="1436687"/>
            <a:ext cx="11021124" cy="483241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ECCFDD6B-56B4-1748-DD89-F121CD0A6C95}"/>
              </a:ext>
              <a:ext uri="{C183D7F6-B498-43B3-948B-1728B52AA6E4}">
                <adec:decorative xmlns:adec="http://schemas.microsoft.com/office/drawing/2017/decorative" val="1"/>
              </a:ext>
            </a:extLst>
          </p:cNvPr>
          <p:cNvCxnSpPr>
            <a:cxnSpLocks/>
          </p:cNvCxnSpPr>
          <p:nvPr userDrawn="1"/>
        </p:nvCxnSpPr>
        <p:spPr>
          <a:xfrm>
            <a:off x="729102" y="2363975"/>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5" name="Straight Connector 4">
            <a:extLst>
              <a:ext uri="{FF2B5EF4-FFF2-40B4-BE49-F238E27FC236}">
                <a16:creationId xmlns:a16="http://schemas.microsoft.com/office/drawing/2014/main" id="{A5722A88-9748-576B-81CE-C28025B4F31F}"/>
              </a:ext>
              <a:ext uri="{C183D7F6-B498-43B3-948B-1728B52AA6E4}">
                <adec:decorative xmlns:adec="http://schemas.microsoft.com/office/drawing/2017/decorative" val="1"/>
              </a:ext>
            </a:extLst>
          </p:cNvPr>
          <p:cNvCxnSpPr>
            <a:cxnSpLocks/>
          </p:cNvCxnSpPr>
          <p:nvPr userDrawn="1"/>
        </p:nvCxnSpPr>
        <p:spPr>
          <a:xfrm>
            <a:off x="729102" y="3291262"/>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6" name="Straight Connector 5">
            <a:extLst>
              <a:ext uri="{FF2B5EF4-FFF2-40B4-BE49-F238E27FC236}">
                <a16:creationId xmlns:a16="http://schemas.microsoft.com/office/drawing/2014/main" id="{74FF5ABC-56C3-980C-299F-38C2997E5690}"/>
              </a:ext>
              <a:ext uri="{C183D7F6-B498-43B3-948B-1728B52AA6E4}">
                <adec:decorative xmlns:adec="http://schemas.microsoft.com/office/drawing/2017/decorative" val="1"/>
              </a:ext>
            </a:extLst>
          </p:cNvPr>
          <p:cNvCxnSpPr>
            <a:cxnSpLocks/>
          </p:cNvCxnSpPr>
          <p:nvPr userDrawn="1"/>
        </p:nvCxnSpPr>
        <p:spPr>
          <a:xfrm>
            <a:off x="729102" y="5145836"/>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7" name="Straight Connector 6">
            <a:extLst>
              <a:ext uri="{FF2B5EF4-FFF2-40B4-BE49-F238E27FC236}">
                <a16:creationId xmlns:a16="http://schemas.microsoft.com/office/drawing/2014/main" id="{EFB6D880-A985-F8FB-5F16-B5E54EA39F1B}"/>
              </a:ext>
              <a:ext uri="{C183D7F6-B498-43B3-948B-1728B52AA6E4}">
                <adec:decorative xmlns:adec="http://schemas.microsoft.com/office/drawing/2017/decorative" val="1"/>
              </a:ext>
            </a:extLst>
          </p:cNvPr>
          <p:cNvCxnSpPr>
            <a:cxnSpLocks/>
          </p:cNvCxnSpPr>
          <p:nvPr userDrawn="1"/>
        </p:nvCxnSpPr>
        <p:spPr>
          <a:xfrm>
            <a:off x="729102" y="4218549"/>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9" name="Straight Connector 8">
            <a:extLst>
              <a:ext uri="{FF2B5EF4-FFF2-40B4-BE49-F238E27FC236}">
                <a16:creationId xmlns:a16="http://schemas.microsoft.com/office/drawing/2014/main" id="{F62B08E3-22AD-BD93-7D06-D630C06332E9}"/>
              </a:ext>
            </a:extLst>
          </p:cNvPr>
          <p:cNvCxnSpPr>
            <a:cxnSpLocks/>
          </p:cNvCxnSpPr>
          <p:nvPr userDrawn="1"/>
        </p:nvCxnSpPr>
        <p:spPr>
          <a:xfrm>
            <a:off x="3704650" y="1436688"/>
            <a:ext cx="4788352"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EE2683A-DACA-5511-5F69-868E076E5495}"/>
              </a:ext>
            </a:extLst>
          </p:cNvPr>
          <p:cNvCxnSpPr>
            <a:cxnSpLocks/>
          </p:cNvCxnSpPr>
          <p:nvPr userDrawn="1"/>
        </p:nvCxnSpPr>
        <p:spPr>
          <a:xfrm>
            <a:off x="903732" y="6270396"/>
            <a:ext cx="10390188"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34033603-527C-B5C5-7AA7-DE509925ADF3}"/>
              </a:ext>
            </a:extLst>
          </p:cNvPr>
          <p:cNvSpPr>
            <a:spLocks noGrp="1"/>
          </p:cNvSpPr>
          <p:nvPr>
            <p:ph type="body" sz="quarter" idx="10" hasCustomPrompt="1"/>
          </p:nvPr>
        </p:nvSpPr>
        <p:spPr>
          <a:xfrm>
            <a:off x="729103" y="1654110"/>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3" name="Text Placeholder 11">
            <a:extLst>
              <a:ext uri="{FF2B5EF4-FFF2-40B4-BE49-F238E27FC236}">
                <a16:creationId xmlns:a16="http://schemas.microsoft.com/office/drawing/2014/main" id="{4B09479C-5D0B-A258-2768-FA39412C97AA}"/>
              </a:ext>
            </a:extLst>
          </p:cNvPr>
          <p:cNvSpPr>
            <a:spLocks noGrp="1"/>
          </p:cNvSpPr>
          <p:nvPr>
            <p:ph type="body" sz="quarter" idx="11" hasCustomPrompt="1"/>
          </p:nvPr>
        </p:nvSpPr>
        <p:spPr>
          <a:xfrm>
            <a:off x="729103" y="2581397"/>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4" name="Text Placeholder 11">
            <a:extLst>
              <a:ext uri="{FF2B5EF4-FFF2-40B4-BE49-F238E27FC236}">
                <a16:creationId xmlns:a16="http://schemas.microsoft.com/office/drawing/2014/main" id="{394A450E-6432-482C-F528-36643B5356F7}"/>
              </a:ext>
            </a:extLst>
          </p:cNvPr>
          <p:cNvSpPr>
            <a:spLocks noGrp="1"/>
          </p:cNvSpPr>
          <p:nvPr>
            <p:ph type="body" sz="quarter" idx="12" hasCustomPrompt="1"/>
          </p:nvPr>
        </p:nvSpPr>
        <p:spPr>
          <a:xfrm>
            <a:off x="729103" y="3508684"/>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5" name="Text Placeholder 11">
            <a:extLst>
              <a:ext uri="{FF2B5EF4-FFF2-40B4-BE49-F238E27FC236}">
                <a16:creationId xmlns:a16="http://schemas.microsoft.com/office/drawing/2014/main" id="{F1ECF116-6C9F-9082-076F-1617807A7472}"/>
              </a:ext>
            </a:extLst>
          </p:cNvPr>
          <p:cNvSpPr>
            <a:spLocks noGrp="1"/>
          </p:cNvSpPr>
          <p:nvPr>
            <p:ph type="body" sz="quarter" idx="13" hasCustomPrompt="1"/>
          </p:nvPr>
        </p:nvSpPr>
        <p:spPr>
          <a:xfrm>
            <a:off x="729103" y="4435971"/>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6" name="Text Placeholder 11">
            <a:extLst>
              <a:ext uri="{FF2B5EF4-FFF2-40B4-BE49-F238E27FC236}">
                <a16:creationId xmlns:a16="http://schemas.microsoft.com/office/drawing/2014/main" id="{B11BEB3C-DEFA-5E3B-2421-74D08F28C829}"/>
              </a:ext>
            </a:extLst>
          </p:cNvPr>
          <p:cNvSpPr>
            <a:spLocks noGrp="1"/>
          </p:cNvSpPr>
          <p:nvPr>
            <p:ph type="body" sz="quarter" idx="14" hasCustomPrompt="1"/>
          </p:nvPr>
        </p:nvSpPr>
        <p:spPr>
          <a:xfrm>
            <a:off x="729103" y="5363256"/>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8" name="Footer Placeholder 3">
            <a:extLst>
              <a:ext uri="{FF2B5EF4-FFF2-40B4-BE49-F238E27FC236}">
                <a16:creationId xmlns:a16="http://schemas.microsoft.com/office/drawing/2014/main" id="{B8758858-C8A1-A26F-6155-71965E9266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a:t>Microsoft Confidential</a:t>
            </a:r>
          </a:p>
        </p:txBody>
      </p:sp>
    </p:spTree>
    <p:extLst>
      <p:ext uri="{BB962C8B-B14F-4D97-AF65-F5344CB8AC3E}">
        <p14:creationId xmlns:p14="http://schemas.microsoft.com/office/powerpoint/2010/main" val="22845849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Rounded Corners 2">
            <a:extLst>
              <a:ext uri="{FF2B5EF4-FFF2-40B4-BE49-F238E27FC236}">
                <a16:creationId xmlns:a16="http://schemas.microsoft.com/office/drawing/2014/main" id="{118D417D-006F-4A6F-8D66-0F7731CCBE6E}"/>
              </a:ext>
              <a:ext uri="{C183D7F6-B498-43B3-948B-1728B52AA6E4}">
                <adec:decorative xmlns:adec="http://schemas.microsoft.com/office/drawing/2017/decorative" val="1"/>
              </a:ext>
            </a:extLst>
          </p:cNvPr>
          <p:cNvSpPr>
            <a:spLocks/>
          </p:cNvSpPr>
          <p:nvPr userDrawn="1"/>
        </p:nvSpPr>
        <p:spPr bwMode="auto">
          <a:xfrm>
            <a:off x="588264" y="1436687"/>
            <a:ext cx="11021124" cy="483241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ECCFDD6B-56B4-1748-DD89-F121CD0A6C95}"/>
              </a:ext>
              <a:ext uri="{C183D7F6-B498-43B3-948B-1728B52AA6E4}">
                <adec:decorative xmlns:adec="http://schemas.microsoft.com/office/drawing/2017/decorative" val="1"/>
              </a:ext>
            </a:extLst>
          </p:cNvPr>
          <p:cNvCxnSpPr>
            <a:cxnSpLocks/>
          </p:cNvCxnSpPr>
          <p:nvPr userDrawn="1"/>
        </p:nvCxnSpPr>
        <p:spPr>
          <a:xfrm>
            <a:off x="729102" y="2645115"/>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5" name="Straight Connector 4">
            <a:extLst>
              <a:ext uri="{FF2B5EF4-FFF2-40B4-BE49-F238E27FC236}">
                <a16:creationId xmlns:a16="http://schemas.microsoft.com/office/drawing/2014/main" id="{A5722A88-9748-576B-81CE-C28025B4F31F}"/>
              </a:ext>
              <a:ext uri="{C183D7F6-B498-43B3-948B-1728B52AA6E4}">
                <adec:decorative xmlns:adec="http://schemas.microsoft.com/office/drawing/2017/decorative" val="1"/>
              </a:ext>
            </a:extLst>
          </p:cNvPr>
          <p:cNvCxnSpPr>
            <a:cxnSpLocks/>
          </p:cNvCxnSpPr>
          <p:nvPr userDrawn="1"/>
        </p:nvCxnSpPr>
        <p:spPr>
          <a:xfrm>
            <a:off x="729102" y="3853542"/>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6" name="Straight Connector 5">
            <a:extLst>
              <a:ext uri="{FF2B5EF4-FFF2-40B4-BE49-F238E27FC236}">
                <a16:creationId xmlns:a16="http://schemas.microsoft.com/office/drawing/2014/main" id="{74FF5ABC-56C3-980C-299F-38C2997E5690}"/>
              </a:ext>
              <a:ext uri="{C183D7F6-B498-43B3-948B-1728B52AA6E4}">
                <adec:decorative xmlns:adec="http://schemas.microsoft.com/office/drawing/2017/decorative" val="1"/>
              </a:ext>
            </a:extLst>
          </p:cNvPr>
          <p:cNvCxnSpPr>
            <a:cxnSpLocks/>
          </p:cNvCxnSpPr>
          <p:nvPr userDrawn="1"/>
        </p:nvCxnSpPr>
        <p:spPr>
          <a:xfrm>
            <a:off x="729102" y="5061969"/>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9" name="Straight Connector 8">
            <a:extLst>
              <a:ext uri="{FF2B5EF4-FFF2-40B4-BE49-F238E27FC236}">
                <a16:creationId xmlns:a16="http://schemas.microsoft.com/office/drawing/2014/main" id="{F62B08E3-22AD-BD93-7D06-D630C06332E9}"/>
              </a:ext>
            </a:extLst>
          </p:cNvPr>
          <p:cNvCxnSpPr>
            <a:cxnSpLocks/>
          </p:cNvCxnSpPr>
          <p:nvPr userDrawn="1"/>
        </p:nvCxnSpPr>
        <p:spPr>
          <a:xfrm>
            <a:off x="3704650" y="1436688"/>
            <a:ext cx="4788352"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EE2683A-DACA-5511-5F69-868E076E5495}"/>
              </a:ext>
            </a:extLst>
          </p:cNvPr>
          <p:cNvCxnSpPr>
            <a:cxnSpLocks/>
          </p:cNvCxnSpPr>
          <p:nvPr userDrawn="1"/>
        </p:nvCxnSpPr>
        <p:spPr>
          <a:xfrm>
            <a:off x="903732" y="6270396"/>
            <a:ext cx="10390188"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34033603-527C-B5C5-7AA7-DE509925ADF3}"/>
              </a:ext>
            </a:extLst>
          </p:cNvPr>
          <p:cNvSpPr>
            <a:spLocks noGrp="1"/>
          </p:cNvSpPr>
          <p:nvPr>
            <p:ph type="body" sz="quarter" idx="10" hasCustomPrompt="1"/>
          </p:nvPr>
        </p:nvSpPr>
        <p:spPr>
          <a:xfrm>
            <a:off x="729103" y="1794680"/>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3" name="Text Placeholder 11">
            <a:extLst>
              <a:ext uri="{FF2B5EF4-FFF2-40B4-BE49-F238E27FC236}">
                <a16:creationId xmlns:a16="http://schemas.microsoft.com/office/drawing/2014/main" id="{4B09479C-5D0B-A258-2768-FA39412C97AA}"/>
              </a:ext>
            </a:extLst>
          </p:cNvPr>
          <p:cNvSpPr>
            <a:spLocks noGrp="1"/>
          </p:cNvSpPr>
          <p:nvPr>
            <p:ph type="body" sz="quarter" idx="11" hasCustomPrompt="1"/>
          </p:nvPr>
        </p:nvSpPr>
        <p:spPr>
          <a:xfrm>
            <a:off x="729103" y="3003107"/>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5" name="Text Placeholder 11">
            <a:extLst>
              <a:ext uri="{FF2B5EF4-FFF2-40B4-BE49-F238E27FC236}">
                <a16:creationId xmlns:a16="http://schemas.microsoft.com/office/drawing/2014/main" id="{F1ECF116-6C9F-9082-076F-1617807A7472}"/>
              </a:ext>
            </a:extLst>
          </p:cNvPr>
          <p:cNvSpPr>
            <a:spLocks noGrp="1"/>
          </p:cNvSpPr>
          <p:nvPr>
            <p:ph type="body" sz="quarter" idx="13" hasCustomPrompt="1"/>
          </p:nvPr>
        </p:nvSpPr>
        <p:spPr>
          <a:xfrm>
            <a:off x="729103" y="4211534"/>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6" name="Text Placeholder 11">
            <a:extLst>
              <a:ext uri="{FF2B5EF4-FFF2-40B4-BE49-F238E27FC236}">
                <a16:creationId xmlns:a16="http://schemas.microsoft.com/office/drawing/2014/main" id="{B11BEB3C-DEFA-5E3B-2421-74D08F28C829}"/>
              </a:ext>
            </a:extLst>
          </p:cNvPr>
          <p:cNvSpPr>
            <a:spLocks noGrp="1"/>
          </p:cNvSpPr>
          <p:nvPr>
            <p:ph type="body" sz="quarter" idx="14" hasCustomPrompt="1"/>
          </p:nvPr>
        </p:nvSpPr>
        <p:spPr>
          <a:xfrm>
            <a:off x="729103" y="5419961"/>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7" name="Footer Placeholder 3">
            <a:extLst>
              <a:ext uri="{FF2B5EF4-FFF2-40B4-BE49-F238E27FC236}">
                <a16:creationId xmlns:a16="http://schemas.microsoft.com/office/drawing/2014/main" id="{51032A55-8949-9DC1-F633-F692AED2213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a:t>Microsoft Confidential</a:t>
            </a:r>
          </a:p>
        </p:txBody>
      </p:sp>
    </p:spTree>
    <p:extLst>
      <p:ext uri="{BB962C8B-B14F-4D97-AF65-F5344CB8AC3E}">
        <p14:creationId xmlns:p14="http://schemas.microsoft.com/office/powerpoint/2010/main" val="10674653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Rounded Corners 2">
            <a:extLst>
              <a:ext uri="{FF2B5EF4-FFF2-40B4-BE49-F238E27FC236}">
                <a16:creationId xmlns:a16="http://schemas.microsoft.com/office/drawing/2014/main" id="{118D417D-006F-4A6F-8D66-0F7731CCBE6E}"/>
              </a:ext>
              <a:ext uri="{C183D7F6-B498-43B3-948B-1728B52AA6E4}">
                <adec:decorative xmlns:adec="http://schemas.microsoft.com/office/drawing/2017/decorative" val="1"/>
              </a:ext>
            </a:extLst>
          </p:cNvPr>
          <p:cNvSpPr>
            <a:spLocks/>
          </p:cNvSpPr>
          <p:nvPr userDrawn="1"/>
        </p:nvSpPr>
        <p:spPr bwMode="auto">
          <a:xfrm>
            <a:off x="588264" y="1436687"/>
            <a:ext cx="11021124" cy="483241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4" name="Straight Connector 3">
            <a:extLst>
              <a:ext uri="{FF2B5EF4-FFF2-40B4-BE49-F238E27FC236}">
                <a16:creationId xmlns:a16="http://schemas.microsoft.com/office/drawing/2014/main" id="{ECCFDD6B-56B4-1748-DD89-F121CD0A6C95}"/>
              </a:ext>
              <a:ext uri="{C183D7F6-B498-43B3-948B-1728B52AA6E4}">
                <adec:decorative xmlns:adec="http://schemas.microsoft.com/office/drawing/2017/decorative" val="1"/>
              </a:ext>
            </a:extLst>
          </p:cNvPr>
          <p:cNvCxnSpPr>
            <a:cxnSpLocks/>
          </p:cNvCxnSpPr>
          <p:nvPr userDrawn="1"/>
        </p:nvCxnSpPr>
        <p:spPr>
          <a:xfrm>
            <a:off x="729102" y="3047925"/>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6" name="Straight Connector 5">
            <a:extLst>
              <a:ext uri="{FF2B5EF4-FFF2-40B4-BE49-F238E27FC236}">
                <a16:creationId xmlns:a16="http://schemas.microsoft.com/office/drawing/2014/main" id="{74FF5ABC-56C3-980C-299F-38C2997E5690}"/>
              </a:ext>
              <a:ext uri="{C183D7F6-B498-43B3-948B-1728B52AA6E4}">
                <adec:decorative xmlns:adec="http://schemas.microsoft.com/office/drawing/2017/decorative" val="1"/>
              </a:ext>
            </a:extLst>
          </p:cNvPr>
          <p:cNvCxnSpPr>
            <a:cxnSpLocks/>
          </p:cNvCxnSpPr>
          <p:nvPr userDrawn="1"/>
        </p:nvCxnSpPr>
        <p:spPr>
          <a:xfrm>
            <a:off x="729102" y="4659160"/>
            <a:ext cx="10739448" cy="0"/>
          </a:xfrm>
          <a:prstGeom prst="line">
            <a:avLst/>
          </a:prstGeom>
          <a:noFill/>
          <a:ln w="19050" cap="rnd" cmpd="sng" algn="ctr">
            <a:solidFill>
              <a:schemeClr val="tx1">
                <a:lumMod val="75000"/>
                <a:lumOff val="25000"/>
              </a:schemeClr>
            </a:solidFill>
            <a:prstDash val="solid"/>
            <a:headEnd type="none"/>
            <a:tailEnd type="none"/>
          </a:ln>
          <a:effectLst/>
        </p:spPr>
      </p:cxnSp>
      <p:cxnSp>
        <p:nvCxnSpPr>
          <p:cNvPr id="9" name="Straight Connector 8">
            <a:extLst>
              <a:ext uri="{FF2B5EF4-FFF2-40B4-BE49-F238E27FC236}">
                <a16:creationId xmlns:a16="http://schemas.microsoft.com/office/drawing/2014/main" id="{F62B08E3-22AD-BD93-7D06-D630C06332E9}"/>
              </a:ext>
            </a:extLst>
          </p:cNvPr>
          <p:cNvCxnSpPr>
            <a:cxnSpLocks/>
          </p:cNvCxnSpPr>
          <p:nvPr userDrawn="1"/>
        </p:nvCxnSpPr>
        <p:spPr>
          <a:xfrm>
            <a:off x="3704650" y="1436688"/>
            <a:ext cx="4788352"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EE2683A-DACA-5511-5F69-868E076E5495}"/>
              </a:ext>
            </a:extLst>
          </p:cNvPr>
          <p:cNvCxnSpPr>
            <a:cxnSpLocks/>
          </p:cNvCxnSpPr>
          <p:nvPr userDrawn="1"/>
        </p:nvCxnSpPr>
        <p:spPr>
          <a:xfrm>
            <a:off x="903732" y="6270396"/>
            <a:ext cx="10390188"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34033603-527C-B5C5-7AA7-DE509925ADF3}"/>
              </a:ext>
            </a:extLst>
          </p:cNvPr>
          <p:cNvSpPr>
            <a:spLocks noGrp="1"/>
          </p:cNvSpPr>
          <p:nvPr>
            <p:ph type="body" sz="quarter" idx="10" hasCustomPrompt="1"/>
          </p:nvPr>
        </p:nvSpPr>
        <p:spPr>
          <a:xfrm>
            <a:off x="729103" y="1996085"/>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5" name="Text Placeholder 11">
            <a:extLst>
              <a:ext uri="{FF2B5EF4-FFF2-40B4-BE49-F238E27FC236}">
                <a16:creationId xmlns:a16="http://schemas.microsoft.com/office/drawing/2014/main" id="{F1ECF116-6C9F-9082-076F-1617807A7472}"/>
              </a:ext>
            </a:extLst>
          </p:cNvPr>
          <p:cNvSpPr>
            <a:spLocks noGrp="1"/>
          </p:cNvSpPr>
          <p:nvPr>
            <p:ph type="body" sz="quarter" idx="13" hasCustomPrompt="1"/>
          </p:nvPr>
        </p:nvSpPr>
        <p:spPr>
          <a:xfrm>
            <a:off x="729103" y="3607321"/>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16" name="Text Placeholder 11">
            <a:extLst>
              <a:ext uri="{FF2B5EF4-FFF2-40B4-BE49-F238E27FC236}">
                <a16:creationId xmlns:a16="http://schemas.microsoft.com/office/drawing/2014/main" id="{B11BEB3C-DEFA-5E3B-2421-74D08F28C829}"/>
              </a:ext>
            </a:extLst>
          </p:cNvPr>
          <p:cNvSpPr>
            <a:spLocks noGrp="1"/>
          </p:cNvSpPr>
          <p:nvPr>
            <p:ph type="body" sz="quarter" idx="14" hasCustomPrompt="1"/>
          </p:nvPr>
        </p:nvSpPr>
        <p:spPr>
          <a:xfrm>
            <a:off x="729103" y="5218556"/>
            <a:ext cx="4574209" cy="492443"/>
          </a:xfrm>
          <a:prstGeom prst="rect">
            <a:avLst/>
          </a:prstGeom>
        </p:spPr>
        <p:txBody>
          <a:bodyPr lIns="0" tIns="0" rIns="0" bIns="0" anchor="ctr"/>
          <a:lstStyle>
            <a:lvl1pPr marL="0" indent="0">
              <a:buFont typeface="Arial" panose="020B0604020202020204" pitchFamily="34" charset="0"/>
              <a:buNone/>
              <a:defRPr sz="1800">
                <a:solidFill>
                  <a:schemeClr val="accent1">
                    <a:lumMod val="60000"/>
                    <a:lumOff val="40000"/>
                  </a:schemeClr>
                </a:solidFill>
                <a:latin typeface="+mj-lt"/>
              </a:defRPr>
            </a:lvl1pPr>
            <a:lvl5pPr>
              <a:defRPr/>
            </a:lvl5pPr>
          </a:lstStyle>
          <a:p>
            <a:pPr lvl="0"/>
            <a:r>
              <a:rPr lang="en-US"/>
              <a:t>Lorem ipsum dolor sit </a:t>
            </a:r>
            <a:r>
              <a:rPr lang="en-US" err="1"/>
              <a:t>amet</a:t>
            </a:r>
            <a:endParaRPr lang="en-US"/>
          </a:p>
        </p:txBody>
      </p:sp>
      <p:sp>
        <p:nvSpPr>
          <p:cNvPr id="5" name="Footer Placeholder 3">
            <a:extLst>
              <a:ext uri="{FF2B5EF4-FFF2-40B4-BE49-F238E27FC236}">
                <a16:creationId xmlns:a16="http://schemas.microsoft.com/office/drawing/2014/main" id="{B4532449-44BA-838E-266D-FE3EE51F53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a:t>Microsoft Confidential</a:t>
            </a:r>
          </a:p>
        </p:txBody>
      </p:sp>
    </p:spTree>
    <p:extLst>
      <p:ext uri="{BB962C8B-B14F-4D97-AF65-F5344CB8AC3E}">
        <p14:creationId xmlns:p14="http://schemas.microsoft.com/office/powerpoint/2010/main" val="1452901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w/8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Top Corners Rounded 2">
            <a:extLst>
              <a:ext uri="{FF2B5EF4-FFF2-40B4-BE49-F238E27FC236}">
                <a16:creationId xmlns:a16="http://schemas.microsoft.com/office/drawing/2014/main" id="{90354472-A4CC-6585-A6A9-A32AED094513}"/>
              </a:ext>
              <a:ext uri="{C183D7F6-B498-43B3-948B-1728B52AA6E4}">
                <adec:decorative xmlns:adec="http://schemas.microsoft.com/office/drawing/2017/decorative" val="1"/>
              </a:ext>
            </a:extLst>
          </p:cNvPr>
          <p:cNvSpPr>
            <a:spLocks/>
          </p:cNvSpPr>
          <p:nvPr userDrawn="1"/>
        </p:nvSpPr>
        <p:spPr bwMode="auto">
          <a:xfrm rot="16200000">
            <a:off x="2808721" y="-796469"/>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294A1F68-FE86-BF3D-22BA-6B72441D091E}"/>
              </a:ext>
              <a:ext uri="{C183D7F6-B498-43B3-948B-1728B52AA6E4}">
                <adec:decorative xmlns:adec="http://schemas.microsoft.com/office/drawing/2017/decorative" val="1"/>
              </a:ext>
            </a:extLst>
          </p:cNvPr>
          <p:cNvSpPr/>
          <p:nvPr userDrawn="1"/>
        </p:nvSpPr>
        <p:spPr bwMode="auto">
          <a:xfrm>
            <a:off x="665071" y="1514204"/>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7" name="Straight Connector 6">
            <a:extLst>
              <a:ext uri="{FF2B5EF4-FFF2-40B4-BE49-F238E27FC236}">
                <a16:creationId xmlns:a16="http://schemas.microsoft.com/office/drawing/2014/main" id="{A06B5D55-2DE7-586A-933E-C7F9930B6F1A}"/>
              </a:ext>
            </a:extLst>
          </p:cNvPr>
          <p:cNvCxnSpPr>
            <a:cxnSpLocks/>
          </p:cNvCxnSpPr>
          <p:nvPr userDrawn="1"/>
        </p:nvCxnSpPr>
        <p:spPr>
          <a:xfrm flipH="1">
            <a:off x="1629436" y="1423989"/>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Top Corners Rounded 7">
            <a:extLst>
              <a:ext uri="{FF2B5EF4-FFF2-40B4-BE49-F238E27FC236}">
                <a16:creationId xmlns:a16="http://schemas.microsoft.com/office/drawing/2014/main" id="{BC81417B-D723-25B4-7CFA-E3E1EB69D09E}"/>
              </a:ext>
              <a:ext uri="{C183D7F6-B498-43B3-948B-1728B52AA6E4}">
                <adec:decorative xmlns:adec="http://schemas.microsoft.com/office/drawing/2017/decorative" val="1"/>
              </a:ext>
            </a:extLst>
          </p:cNvPr>
          <p:cNvSpPr>
            <a:spLocks/>
          </p:cNvSpPr>
          <p:nvPr userDrawn="1"/>
        </p:nvSpPr>
        <p:spPr bwMode="auto">
          <a:xfrm rot="16200000">
            <a:off x="2808721" y="371694"/>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814F9EB7-DD17-0D4A-79CA-A04B3A67A217}"/>
              </a:ext>
              <a:ext uri="{C183D7F6-B498-43B3-948B-1728B52AA6E4}">
                <adec:decorative xmlns:adec="http://schemas.microsoft.com/office/drawing/2017/decorative" val="1"/>
              </a:ext>
            </a:extLst>
          </p:cNvPr>
          <p:cNvSpPr/>
          <p:nvPr userDrawn="1"/>
        </p:nvSpPr>
        <p:spPr bwMode="auto">
          <a:xfrm>
            <a:off x="665071" y="2682367"/>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1199145B-4FBE-35B7-FB9D-5A3226AC23DA}"/>
              </a:ext>
            </a:extLst>
          </p:cNvPr>
          <p:cNvCxnSpPr>
            <a:cxnSpLocks/>
          </p:cNvCxnSpPr>
          <p:nvPr userDrawn="1"/>
        </p:nvCxnSpPr>
        <p:spPr>
          <a:xfrm flipH="1">
            <a:off x="1629436" y="2592152"/>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Rectangle: Top Corners Rounded 12">
            <a:extLst>
              <a:ext uri="{FF2B5EF4-FFF2-40B4-BE49-F238E27FC236}">
                <a16:creationId xmlns:a16="http://schemas.microsoft.com/office/drawing/2014/main" id="{ADD95FC4-D2A6-58F8-4EF6-184C2A73DA8C}"/>
              </a:ext>
              <a:ext uri="{C183D7F6-B498-43B3-948B-1728B52AA6E4}">
                <adec:decorative xmlns:adec="http://schemas.microsoft.com/office/drawing/2017/decorative" val="1"/>
              </a:ext>
            </a:extLst>
          </p:cNvPr>
          <p:cNvSpPr>
            <a:spLocks/>
          </p:cNvSpPr>
          <p:nvPr userDrawn="1"/>
        </p:nvSpPr>
        <p:spPr bwMode="auto">
          <a:xfrm rot="16200000">
            <a:off x="2808721" y="1539857"/>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1DA01AA7-D9BD-A9FF-421A-70EA12486619}"/>
              </a:ext>
              <a:ext uri="{C183D7F6-B498-43B3-948B-1728B52AA6E4}">
                <adec:decorative xmlns:adec="http://schemas.microsoft.com/office/drawing/2017/decorative" val="1"/>
              </a:ext>
            </a:extLst>
          </p:cNvPr>
          <p:cNvSpPr/>
          <p:nvPr userDrawn="1"/>
        </p:nvSpPr>
        <p:spPr bwMode="auto">
          <a:xfrm>
            <a:off x="665071" y="3850530"/>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7" name="Straight Connector 16">
            <a:extLst>
              <a:ext uri="{FF2B5EF4-FFF2-40B4-BE49-F238E27FC236}">
                <a16:creationId xmlns:a16="http://schemas.microsoft.com/office/drawing/2014/main" id="{389E715C-6B22-D68B-CD27-58A95D5AFF68}"/>
              </a:ext>
            </a:extLst>
          </p:cNvPr>
          <p:cNvCxnSpPr>
            <a:cxnSpLocks/>
          </p:cNvCxnSpPr>
          <p:nvPr userDrawn="1"/>
        </p:nvCxnSpPr>
        <p:spPr>
          <a:xfrm flipH="1">
            <a:off x="1629436" y="4700139"/>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Top Corners Rounded 17">
            <a:extLst>
              <a:ext uri="{FF2B5EF4-FFF2-40B4-BE49-F238E27FC236}">
                <a16:creationId xmlns:a16="http://schemas.microsoft.com/office/drawing/2014/main" id="{DBF61354-A4D7-1B9F-65E7-AFF5BF0D0CDC}"/>
              </a:ext>
              <a:ext uri="{C183D7F6-B498-43B3-948B-1728B52AA6E4}">
                <adec:decorative xmlns:adec="http://schemas.microsoft.com/office/drawing/2017/decorative" val="1"/>
              </a:ext>
            </a:extLst>
          </p:cNvPr>
          <p:cNvSpPr>
            <a:spLocks/>
          </p:cNvSpPr>
          <p:nvPr userDrawn="1"/>
        </p:nvSpPr>
        <p:spPr bwMode="auto">
          <a:xfrm rot="16200000">
            <a:off x="2808721" y="2708021"/>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259E4832-747A-F4F1-731A-C508A69F2174}"/>
              </a:ext>
              <a:ext uri="{C183D7F6-B498-43B3-948B-1728B52AA6E4}">
                <adec:decorative xmlns:adec="http://schemas.microsoft.com/office/drawing/2017/decorative" val="1"/>
              </a:ext>
            </a:extLst>
          </p:cNvPr>
          <p:cNvSpPr/>
          <p:nvPr userDrawn="1"/>
        </p:nvSpPr>
        <p:spPr bwMode="auto">
          <a:xfrm>
            <a:off x="665071" y="5018694"/>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BA9A155-F8F2-A563-39E5-F2C36C2C33B1}"/>
              </a:ext>
            </a:extLst>
          </p:cNvPr>
          <p:cNvCxnSpPr>
            <a:cxnSpLocks/>
          </p:cNvCxnSpPr>
          <p:nvPr userDrawn="1"/>
        </p:nvCxnSpPr>
        <p:spPr>
          <a:xfrm flipH="1">
            <a:off x="1629436" y="5868303"/>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Top Corners Rounded 22">
            <a:extLst>
              <a:ext uri="{FF2B5EF4-FFF2-40B4-BE49-F238E27FC236}">
                <a16:creationId xmlns:a16="http://schemas.microsoft.com/office/drawing/2014/main" id="{F001C7DC-D95C-0266-9852-48967DE45928}"/>
              </a:ext>
              <a:ext uri="{C183D7F6-B498-43B3-948B-1728B52AA6E4}">
                <adec:decorative xmlns:adec="http://schemas.microsoft.com/office/drawing/2017/decorative" val="1"/>
              </a:ext>
            </a:extLst>
          </p:cNvPr>
          <p:cNvSpPr>
            <a:spLocks/>
          </p:cNvSpPr>
          <p:nvPr userDrawn="1"/>
        </p:nvSpPr>
        <p:spPr bwMode="auto">
          <a:xfrm rot="16200000">
            <a:off x="8527899" y="-796469"/>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4" name="Oval 23">
            <a:extLst>
              <a:ext uri="{FF2B5EF4-FFF2-40B4-BE49-F238E27FC236}">
                <a16:creationId xmlns:a16="http://schemas.microsoft.com/office/drawing/2014/main" id="{74CE3CCC-33BA-B947-7688-056C59C557C0}"/>
              </a:ext>
              <a:ext uri="{C183D7F6-B498-43B3-948B-1728B52AA6E4}">
                <adec:decorative xmlns:adec="http://schemas.microsoft.com/office/drawing/2017/decorative" val="1"/>
              </a:ext>
            </a:extLst>
          </p:cNvPr>
          <p:cNvSpPr/>
          <p:nvPr userDrawn="1"/>
        </p:nvSpPr>
        <p:spPr bwMode="auto">
          <a:xfrm>
            <a:off x="6384249" y="1514204"/>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7" name="Straight Connector 26">
            <a:extLst>
              <a:ext uri="{FF2B5EF4-FFF2-40B4-BE49-F238E27FC236}">
                <a16:creationId xmlns:a16="http://schemas.microsoft.com/office/drawing/2014/main" id="{32C814D7-E9A3-3054-2F6C-97FCC7C4F35F}"/>
              </a:ext>
            </a:extLst>
          </p:cNvPr>
          <p:cNvCxnSpPr>
            <a:cxnSpLocks/>
          </p:cNvCxnSpPr>
          <p:nvPr userDrawn="1"/>
        </p:nvCxnSpPr>
        <p:spPr>
          <a:xfrm flipH="1">
            <a:off x="7348614" y="1423988"/>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Top Corners Rounded 27">
            <a:extLst>
              <a:ext uri="{FF2B5EF4-FFF2-40B4-BE49-F238E27FC236}">
                <a16:creationId xmlns:a16="http://schemas.microsoft.com/office/drawing/2014/main" id="{9AF617B9-4D96-7C90-5ED2-C4CDA02FF2CE}"/>
              </a:ext>
              <a:ext uri="{C183D7F6-B498-43B3-948B-1728B52AA6E4}">
                <adec:decorative xmlns:adec="http://schemas.microsoft.com/office/drawing/2017/decorative" val="1"/>
              </a:ext>
            </a:extLst>
          </p:cNvPr>
          <p:cNvSpPr>
            <a:spLocks/>
          </p:cNvSpPr>
          <p:nvPr userDrawn="1"/>
        </p:nvSpPr>
        <p:spPr bwMode="auto">
          <a:xfrm rot="16200000">
            <a:off x="8527899" y="371694"/>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9" name="Oval 28">
            <a:extLst>
              <a:ext uri="{FF2B5EF4-FFF2-40B4-BE49-F238E27FC236}">
                <a16:creationId xmlns:a16="http://schemas.microsoft.com/office/drawing/2014/main" id="{05711568-4A0E-366C-DC9E-AD7D32CAD6B6}"/>
              </a:ext>
              <a:ext uri="{C183D7F6-B498-43B3-948B-1728B52AA6E4}">
                <adec:decorative xmlns:adec="http://schemas.microsoft.com/office/drawing/2017/decorative" val="1"/>
              </a:ext>
            </a:extLst>
          </p:cNvPr>
          <p:cNvSpPr/>
          <p:nvPr userDrawn="1"/>
        </p:nvSpPr>
        <p:spPr bwMode="auto">
          <a:xfrm>
            <a:off x="6384249" y="2682367"/>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1" name="Straight Connector 30">
            <a:extLst>
              <a:ext uri="{FF2B5EF4-FFF2-40B4-BE49-F238E27FC236}">
                <a16:creationId xmlns:a16="http://schemas.microsoft.com/office/drawing/2014/main" id="{AB3D6704-9CE1-CA86-4EAF-1B2D4B2FCA83}"/>
              </a:ext>
            </a:extLst>
          </p:cNvPr>
          <p:cNvCxnSpPr>
            <a:cxnSpLocks/>
          </p:cNvCxnSpPr>
          <p:nvPr userDrawn="1"/>
        </p:nvCxnSpPr>
        <p:spPr>
          <a:xfrm flipH="1">
            <a:off x="7348614" y="2592151"/>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8B55697-97D8-2A7D-7111-542E254BC02C}"/>
              </a:ext>
            </a:extLst>
          </p:cNvPr>
          <p:cNvCxnSpPr>
            <a:cxnSpLocks/>
          </p:cNvCxnSpPr>
          <p:nvPr userDrawn="1"/>
        </p:nvCxnSpPr>
        <p:spPr>
          <a:xfrm flipH="1">
            <a:off x="7450303" y="4700139"/>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Rectangle: Top Corners Rounded 32">
            <a:extLst>
              <a:ext uri="{FF2B5EF4-FFF2-40B4-BE49-F238E27FC236}">
                <a16:creationId xmlns:a16="http://schemas.microsoft.com/office/drawing/2014/main" id="{6C083D1B-F1DD-191A-1D43-6CB0CA9409A4}"/>
              </a:ext>
              <a:ext uri="{C183D7F6-B498-43B3-948B-1728B52AA6E4}">
                <adec:decorative xmlns:adec="http://schemas.microsoft.com/office/drawing/2017/decorative" val="1"/>
              </a:ext>
            </a:extLst>
          </p:cNvPr>
          <p:cNvSpPr>
            <a:spLocks/>
          </p:cNvSpPr>
          <p:nvPr userDrawn="1"/>
        </p:nvSpPr>
        <p:spPr bwMode="auto">
          <a:xfrm rot="16200000">
            <a:off x="8527899" y="1539857"/>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4" name="Oval 33">
            <a:extLst>
              <a:ext uri="{FF2B5EF4-FFF2-40B4-BE49-F238E27FC236}">
                <a16:creationId xmlns:a16="http://schemas.microsoft.com/office/drawing/2014/main" id="{81F74437-007A-D36A-9B28-6651FDDAB27C}"/>
              </a:ext>
              <a:ext uri="{C183D7F6-B498-43B3-948B-1728B52AA6E4}">
                <adec:decorative xmlns:adec="http://schemas.microsoft.com/office/drawing/2017/decorative" val="1"/>
              </a:ext>
            </a:extLst>
          </p:cNvPr>
          <p:cNvSpPr/>
          <p:nvPr userDrawn="1"/>
        </p:nvSpPr>
        <p:spPr bwMode="auto">
          <a:xfrm>
            <a:off x="6384249" y="3850530"/>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Rectangle: Top Corners Rounded 35">
            <a:extLst>
              <a:ext uri="{FF2B5EF4-FFF2-40B4-BE49-F238E27FC236}">
                <a16:creationId xmlns:a16="http://schemas.microsoft.com/office/drawing/2014/main" id="{2B5D3707-591F-B91A-57E1-E3F2F9C12194}"/>
              </a:ext>
              <a:ext uri="{C183D7F6-B498-43B3-948B-1728B52AA6E4}">
                <adec:decorative xmlns:adec="http://schemas.microsoft.com/office/drawing/2017/decorative" val="1"/>
              </a:ext>
            </a:extLst>
          </p:cNvPr>
          <p:cNvSpPr>
            <a:spLocks/>
          </p:cNvSpPr>
          <p:nvPr userDrawn="1"/>
        </p:nvSpPr>
        <p:spPr bwMode="auto">
          <a:xfrm rot="16200000">
            <a:off x="8527899" y="2708021"/>
            <a:ext cx="939825"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7" name="Oval 36">
            <a:extLst>
              <a:ext uri="{FF2B5EF4-FFF2-40B4-BE49-F238E27FC236}">
                <a16:creationId xmlns:a16="http://schemas.microsoft.com/office/drawing/2014/main" id="{F7403348-6FA0-6DAA-DFD1-8F0CF4F09D6F}"/>
              </a:ext>
              <a:ext uri="{C183D7F6-B498-43B3-948B-1728B52AA6E4}">
                <adec:decorative xmlns:adec="http://schemas.microsoft.com/office/drawing/2017/decorative" val="1"/>
              </a:ext>
            </a:extLst>
          </p:cNvPr>
          <p:cNvSpPr/>
          <p:nvPr userDrawn="1"/>
        </p:nvSpPr>
        <p:spPr bwMode="auto">
          <a:xfrm>
            <a:off x="6384249" y="5018694"/>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9" name="Straight Connector 38">
            <a:extLst>
              <a:ext uri="{FF2B5EF4-FFF2-40B4-BE49-F238E27FC236}">
                <a16:creationId xmlns:a16="http://schemas.microsoft.com/office/drawing/2014/main" id="{4E7A8298-9E65-8238-5AE7-62B7C1577010}"/>
              </a:ext>
            </a:extLst>
          </p:cNvPr>
          <p:cNvCxnSpPr>
            <a:cxnSpLocks/>
          </p:cNvCxnSpPr>
          <p:nvPr userDrawn="1"/>
        </p:nvCxnSpPr>
        <p:spPr>
          <a:xfrm flipH="1">
            <a:off x="7348614" y="5868303"/>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43">
            <a:extLst>
              <a:ext uri="{FF2B5EF4-FFF2-40B4-BE49-F238E27FC236}">
                <a16:creationId xmlns:a16="http://schemas.microsoft.com/office/drawing/2014/main" id="{93A59912-2BBC-7FAE-AAF9-DF5AE013A32E}"/>
              </a:ext>
            </a:extLst>
          </p:cNvPr>
          <p:cNvSpPr>
            <a:spLocks noGrp="1"/>
          </p:cNvSpPr>
          <p:nvPr>
            <p:ph type="body" sz="quarter" idx="10" hasCustomPrompt="1"/>
          </p:nvPr>
        </p:nvSpPr>
        <p:spPr>
          <a:xfrm>
            <a:off x="1644971" y="1770790"/>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45" name="Text Placeholder 43">
            <a:extLst>
              <a:ext uri="{FF2B5EF4-FFF2-40B4-BE49-F238E27FC236}">
                <a16:creationId xmlns:a16="http://schemas.microsoft.com/office/drawing/2014/main" id="{345A683B-44ED-4B78-5088-65B0379DB087}"/>
              </a:ext>
            </a:extLst>
          </p:cNvPr>
          <p:cNvSpPr>
            <a:spLocks noGrp="1"/>
          </p:cNvSpPr>
          <p:nvPr>
            <p:ph type="body" sz="quarter" idx="11" hasCustomPrompt="1"/>
          </p:nvPr>
        </p:nvSpPr>
        <p:spPr>
          <a:xfrm>
            <a:off x="1644971" y="2938953"/>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46" name="Text Placeholder 43">
            <a:extLst>
              <a:ext uri="{FF2B5EF4-FFF2-40B4-BE49-F238E27FC236}">
                <a16:creationId xmlns:a16="http://schemas.microsoft.com/office/drawing/2014/main" id="{E5BFDA4E-8370-846E-C161-C08F20F21566}"/>
              </a:ext>
            </a:extLst>
          </p:cNvPr>
          <p:cNvSpPr>
            <a:spLocks noGrp="1"/>
          </p:cNvSpPr>
          <p:nvPr>
            <p:ph type="body" sz="quarter" idx="12" hasCustomPrompt="1"/>
          </p:nvPr>
        </p:nvSpPr>
        <p:spPr>
          <a:xfrm>
            <a:off x="1644971" y="4107116"/>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47" name="Text Placeholder 43">
            <a:extLst>
              <a:ext uri="{FF2B5EF4-FFF2-40B4-BE49-F238E27FC236}">
                <a16:creationId xmlns:a16="http://schemas.microsoft.com/office/drawing/2014/main" id="{5F9C9702-F45F-8BFC-37ED-C37560647FEF}"/>
              </a:ext>
            </a:extLst>
          </p:cNvPr>
          <p:cNvSpPr>
            <a:spLocks noGrp="1"/>
          </p:cNvSpPr>
          <p:nvPr>
            <p:ph type="body" sz="quarter" idx="13" hasCustomPrompt="1"/>
          </p:nvPr>
        </p:nvSpPr>
        <p:spPr>
          <a:xfrm>
            <a:off x="1644971" y="5275280"/>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48" name="Text Placeholder 43">
            <a:extLst>
              <a:ext uri="{FF2B5EF4-FFF2-40B4-BE49-F238E27FC236}">
                <a16:creationId xmlns:a16="http://schemas.microsoft.com/office/drawing/2014/main" id="{3B9AAAE3-E2E8-C6C7-C6B8-94998C0F3F98}"/>
              </a:ext>
            </a:extLst>
          </p:cNvPr>
          <p:cNvSpPr>
            <a:spLocks noGrp="1"/>
          </p:cNvSpPr>
          <p:nvPr>
            <p:ph type="body" sz="quarter" idx="14" hasCustomPrompt="1"/>
          </p:nvPr>
        </p:nvSpPr>
        <p:spPr>
          <a:xfrm>
            <a:off x="7364149" y="1770790"/>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49" name="Text Placeholder 43">
            <a:extLst>
              <a:ext uri="{FF2B5EF4-FFF2-40B4-BE49-F238E27FC236}">
                <a16:creationId xmlns:a16="http://schemas.microsoft.com/office/drawing/2014/main" id="{B9F2C3B6-14A3-54DA-4B0E-F98BE2CD0CF3}"/>
              </a:ext>
            </a:extLst>
          </p:cNvPr>
          <p:cNvSpPr>
            <a:spLocks noGrp="1"/>
          </p:cNvSpPr>
          <p:nvPr>
            <p:ph type="body" sz="quarter" idx="15" hasCustomPrompt="1"/>
          </p:nvPr>
        </p:nvSpPr>
        <p:spPr>
          <a:xfrm>
            <a:off x="7364149" y="2938953"/>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50" name="Text Placeholder 43">
            <a:extLst>
              <a:ext uri="{FF2B5EF4-FFF2-40B4-BE49-F238E27FC236}">
                <a16:creationId xmlns:a16="http://schemas.microsoft.com/office/drawing/2014/main" id="{064FD88E-16EF-6B0D-3ABD-02E454E6513B}"/>
              </a:ext>
            </a:extLst>
          </p:cNvPr>
          <p:cNvSpPr>
            <a:spLocks noGrp="1"/>
          </p:cNvSpPr>
          <p:nvPr>
            <p:ph type="body" sz="quarter" idx="16" hasCustomPrompt="1"/>
          </p:nvPr>
        </p:nvSpPr>
        <p:spPr>
          <a:xfrm>
            <a:off x="7364149" y="4107116"/>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51" name="Text Placeholder 43">
            <a:extLst>
              <a:ext uri="{FF2B5EF4-FFF2-40B4-BE49-F238E27FC236}">
                <a16:creationId xmlns:a16="http://schemas.microsoft.com/office/drawing/2014/main" id="{A5F653D7-BDF4-41D5-24CF-CC386D9E8720}"/>
              </a:ext>
            </a:extLst>
          </p:cNvPr>
          <p:cNvSpPr>
            <a:spLocks noGrp="1"/>
          </p:cNvSpPr>
          <p:nvPr>
            <p:ph type="body" sz="quarter" idx="17" hasCustomPrompt="1"/>
          </p:nvPr>
        </p:nvSpPr>
        <p:spPr>
          <a:xfrm>
            <a:off x="7364149" y="5275280"/>
            <a:ext cx="4102100" cy="246221"/>
          </a:xfrm>
          <a:prstGeom prst="rect">
            <a:avLst/>
          </a:prstGeom>
        </p:spPr>
        <p:txBody>
          <a:bodyPr wrap="square" lIns="0" tIns="0" rIns="0" bIns="0" anchor="ctr">
            <a:spAutoFit/>
          </a:bodyPr>
          <a:lstStyle>
            <a:lvl1pPr marL="0" indent="0">
              <a:buNone/>
              <a:defRPr sz="1600">
                <a:latin typeface="+mj-lt"/>
              </a:defRPr>
            </a:lvl1pPr>
          </a:lstStyle>
          <a:p>
            <a:pPr lvl="0"/>
            <a:r>
              <a:rPr lang="en-IN"/>
              <a:t>L</a:t>
            </a:r>
            <a:r>
              <a:rPr lang="en-US" err="1"/>
              <a:t>orem</a:t>
            </a:r>
            <a:r>
              <a:rPr lang="en-US"/>
              <a:t> ipsum dolor sit </a:t>
            </a:r>
            <a:r>
              <a:rPr lang="en-US" err="1"/>
              <a:t>amet</a:t>
            </a:r>
            <a:endParaRPr lang="en-US"/>
          </a:p>
        </p:txBody>
      </p:sp>
      <p:sp>
        <p:nvSpPr>
          <p:cNvPr id="5" name="Footer Placeholder 4">
            <a:extLst>
              <a:ext uri="{FF2B5EF4-FFF2-40B4-BE49-F238E27FC236}">
                <a16:creationId xmlns:a16="http://schemas.microsoft.com/office/drawing/2014/main" id="{1CD19A6B-F83C-9A27-108F-374BE40D8AB1}"/>
              </a:ext>
            </a:extLst>
          </p:cNvPr>
          <p:cNvSpPr>
            <a:spLocks noGrp="1"/>
          </p:cNvSpPr>
          <p:nvPr>
            <p:ph type="ftr" sz="quarter" idx="18"/>
          </p:nvPr>
        </p:nvSpPr>
        <p:spPr/>
        <p:txBody>
          <a:bodyPr/>
          <a:lstStyle/>
          <a:p>
            <a:r>
              <a:rPr lang="en-US"/>
              <a:t>Microsoft Confidential</a:t>
            </a:r>
          </a:p>
        </p:txBody>
      </p:sp>
    </p:spTree>
    <p:extLst>
      <p:ext uri="{BB962C8B-B14F-4D97-AF65-F5344CB8AC3E}">
        <p14:creationId xmlns:p14="http://schemas.microsoft.com/office/powerpoint/2010/main" val="34242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w/4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Top Corners Rounded 2">
            <a:extLst>
              <a:ext uri="{FF2B5EF4-FFF2-40B4-BE49-F238E27FC236}">
                <a16:creationId xmlns:a16="http://schemas.microsoft.com/office/drawing/2014/main" id="{90354472-A4CC-6585-A6A9-A32AED094513}"/>
              </a:ext>
              <a:ext uri="{C183D7F6-B498-43B3-948B-1728B52AA6E4}">
                <adec:decorative xmlns:adec="http://schemas.microsoft.com/office/drawing/2017/decorative" val="1"/>
              </a:ext>
            </a:extLst>
          </p:cNvPr>
          <p:cNvSpPr>
            <a:spLocks/>
          </p:cNvSpPr>
          <p:nvPr userDrawn="1"/>
        </p:nvSpPr>
        <p:spPr bwMode="auto">
          <a:xfrm rot="16200000">
            <a:off x="2701579" y="104947"/>
            <a:ext cx="1154112"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294A1F68-FE86-BF3D-22BA-6B72441D091E}"/>
              </a:ext>
              <a:ext uri="{C183D7F6-B498-43B3-948B-1728B52AA6E4}">
                <adec:decorative xmlns:adec="http://schemas.microsoft.com/office/drawing/2017/decorative" val="1"/>
              </a:ext>
            </a:extLst>
          </p:cNvPr>
          <p:cNvSpPr/>
          <p:nvPr userDrawn="1"/>
        </p:nvSpPr>
        <p:spPr bwMode="auto">
          <a:xfrm>
            <a:off x="677772" y="2308478"/>
            <a:ext cx="973165" cy="97499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7" name="Straight Connector 6">
            <a:extLst>
              <a:ext uri="{FF2B5EF4-FFF2-40B4-BE49-F238E27FC236}">
                <a16:creationId xmlns:a16="http://schemas.microsoft.com/office/drawing/2014/main" id="{A06B5D55-2DE7-586A-933E-C7F9930B6F1A}"/>
              </a:ext>
            </a:extLst>
          </p:cNvPr>
          <p:cNvCxnSpPr>
            <a:cxnSpLocks/>
          </p:cNvCxnSpPr>
          <p:nvPr userDrawn="1"/>
        </p:nvCxnSpPr>
        <p:spPr>
          <a:xfrm flipH="1">
            <a:off x="1629437" y="2218263"/>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Top Corners Rounded 17">
            <a:extLst>
              <a:ext uri="{FF2B5EF4-FFF2-40B4-BE49-F238E27FC236}">
                <a16:creationId xmlns:a16="http://schemas.microsoft.com/office/drawing/2014/main" id="{DBF61354-A4D7-1B9F-65E7-AFF5BF0D0CDC}"/>
              </a:ext>
              <a:ext uri="{C183D7F6-B498-43B3-948B-1728B52AA6E4}">
                <adec:decorative xmlns:adec="http://schemas.microsoft.com/office/drawing/2017/decorative" val="1"/>
              </a:ext>
            </a:extLst>
          </p:cNvPr>
          <p:cNvSpPr>
            <a:spLocks/>
          </p:cNvSpPr>
          <p:nvPr userDrawn="1"/>
        </p:nvSpPr>
        <p:spPr bwMode="auto">
          <a:xfrm rot="16200000">
            <a:off x="2701580" y="1885870"/>
            <a:ext cx="1154112"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259E4832-747A-F4F1-731A-C508A69F2174}"/>
              </a:ext>
              <a:ext uri="{C183D7F6-B498-43B3-948B-1728B52AA6E4}">
                <adec:decorative xmlns:adec="http://schemas.microsoft.com/office/drawing/2017/decorative" val="1"/>
              </a:ext>
            </a:extLst>
          </p:cNvPr>
          <p:cNvSpPr/>
          <p:nvPr userDrawn="1"/>
        </p:nvSpPr>
        <p:spPr bwMode="auto">
          <a:xfrm>
            <a:off x="677774" y="4088741"/>
            <a:ext cx="973165" cy="97499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BA9A155-F8F2-A563-39E5-F2C36C2C33B1}"/>
              </a:ext>
            </a:extLst>
          </p:cNvPr>
          <p:cNvCxnSpPr>
            <a:cxnSpLocks/>
          </p:cNvCxnSpPr>
          <p:nvPr userDrawn="1"/>
        </p:nvCxnSpPr>
        <p:spPr>
          <a:xfrm flipH="1">
            <a:off x="1629439" y="5153295"/>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Rectangle: Top Corners Rounded 22">
            <a:extLst>
              <a:ext uri="{FF2B5EF4-FFF2-40B4-BE49-F238E27FC236}">
                <a16:creationId xmlns:a16="http://schemas.microsoft.com/office/drawing/2014/main" id="{F001C7DC-D95C-0266-9852-48967DE45928}"/>
              </a:ext>
              <a:ext uri="{C183D7F6-B498-43B3-948B-1728B52AA6E4}">
                <adec:decorative xmlns:adec="http://schemas.microsoft.com/office/drawing/2017/decorative" val="1"/>
              </a:ext>
            </a:extLst>
          </p:cNvPr>
          <p:cNvSpPr>
            <a:spLocks/>
          </p:cNvSpPr>
          <p:nvPr userDrawn="1"/>
        </p:nvSpPr>
        <p:spPr bwMode="auto">
          <a:xfrm rot="16200000">
            <a:off x="8420757" y="104947"/>
            <a:ext cx="1154112"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4" name="Oval 23">
            <a:extLst>
              <a:ext uri="{FF2B5EF4-FFF2-40B4-BE49-F238E27FC236}">
                <a16:creationId xmlns:a16="http://schemas.microsoft.com/office/drawing/2014/main" id="{74CE3CCC-33BA-B947-7688-056C59C557C0}"/>
              </a:ext>
              <a:ext uri="{C183D7F6-B498-43B3-948B-1728B52AA6E4}">
                <adec:decorative xmlns:adec="http://schemas.microsoft.com/office/drawing/2017/decorative" val="1"/>
              </a:ext>
            </a:extLst>
          </p:cNvPr>
          <p:cNvSpPr/>
          <p:nvPr userDrawn="1"/>
        </p:nvSpPr>
        <p:spPr bwMode="auto">
          <a:xfrm>
            <a:off x="6396950" y="2308478"/>
            <a:ext cx="973165" cy="97499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7" name="Straight Connector 26">
            <a:extLst>
              <a:ext uri="{FF2B5EF4-FFF2-40B4-BE49-F238E27FC236}">
                <a16:creationId xmlns:a16="http://schemas.microsoft.com/office/drawing/2014/main" id="{32C814D7-E9A3-3054-2F6C-97FCC7C4F35F}"/>
              </a:ext>
            </a:extLst>
          </p:cNvPr>
          <p:cNvCxnSpPr>
            <a:cxnSpLocks/>
          </p:cNvCxnSpPr>
          <p:nvPr userDrawn="1"/>
        </p:nvCxnSpPr>
        <p:spPr>
          <a:xfrm flipH="1">
            <a:off x="7348615" y="2218263"/>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Top Corners Rounded 35">
            <a:extLst>
              <a:ext uri="{FF2B5EF4-FFF2-40B4-BE49-F238E27FC236}">
                <a16:creationId xmlns:a16="http://schemas.microsoft.com/office/drawing/2014/main" id="{2B5D3707-591F-B91A-57E1-E3F2F9C12194}"/>
              </a:ext>
              <a:ext uri="{C183D7F6-B498-43B3-948B-1728B52AA6E4}">
                <adec:decorative xmlns:adec="http://schemas.microsoft.com/office/drawing/2017/decorative" val="1"/>
              </a:ext>
            </a:extLst>
          </p:cNvPr>
          <p:cNvSpPr>
            <a:spLocks/>
          </p:cNvSpPr>
          <p:nvPr userDrawn="1"/>
        </p:nvSpPr>
        <p:spPr bwMode="auto">
          <a:xfrm rot="16200000">
            <a:off x="8420758" y="1885870"/>
            <a:ext cx="1154112" cy="5380739"/>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7" name="Oval 36">
            <a:extLst>
              <a:ext uri="{FF2B5EF4-FFF2-40B4-BE49-F238E27FC236}">
                <a16:creationId xmlns:a16="http://schemas.microsoft.com/office/drawing/2014/main" id="{F7403348-6FA0-6DAA-DFD1-8F0CF4F09D6F}"/>
              </a:ext>
              <a:ext uri="{C183D7F6-B498-43B3-948B-1728B52AA6E4}">
                <adec:decorative xmlns:adec="http://schemas.microsoft.com/office/drawing/2017/decorative" val="1"/>
              </a:ext>
            </a:extLst>
          </p:cNvPr>
          <p:cNvSpPr/>
          <p:nvPr userDrawn="1"/>
        </p:nvSpPr>
        <p:spPr bwMode="auto">
          <a:xfrm>
            <a:off x="6396952" y="4088741"/>
            <a:ext cx="973165" cy="97499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9" name="Straight Connector 38">
            <a:extLst>
              <a:ext uri="{FF2B5EF4-FFF2-40B4-BE49-F238E27FC236}">
                <a16:creationId xmlns:a16="http://schemas.microsoft.com/office/drawing/2014/main" id="{4E7A8298-9E65-8238-5AE7-62B7C1577010}"/>
              </a:ext>
            </a:extLst>
          </p:cNvPr>
          <p:cNvCxnSpPr>
            <a:cxnSpLocks/>
          </p:cNvCxnSpPr>
          <p:nvPr userDrawn="1"/>
        </p:nvCxnSpPr>
        <p:spPr>
          <a:xfrm flipH="1">
            <a:off x="7348617" y="5153295"/>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43">
            <a:extLst>
              <a:ext uri="{FF2B5EF4-FFF2-40B4-BE49-F238E27FC236}">
                <a16:creationId xmlns:a16="http://schemas.microsoft.com/office/drawing/2014/main" id="{93A59912-2BBC-7FAE-AAF9-DF5AE013A32E}"/>
              </a:ext>
            </a:extLst>
          </p:cNvPr>
          <p:cNvSpPr>
            <a:spLocks noGrp="1"/>
          </p:cNvSpPr>
          <p:nvPr>
            <p:ph type="body" sz="quarter" idx="10" hasCustomPrompt="1"/>
          </p:nvPr>
        </p:nvSpPr>
        <p:spPr>
          <a:xfrm>
            <a:off x="1794142" y="2656817"/>
            <a:ext cx="3952929" cy="276999"/>
          </a:xfrm>
          <a:prstGeom prst="rect">
            <a:avLst/>
          </a:prstGeom>
        </p:spPr>
        <p:txBody>
          <a:bodyPr wrap="square" lIns="0" tIns="0" rIns="0" bIns="0" anchor="ctr">
            <a:spAutoFit/>
          </a:bodyPr>
          <a:lstStyle>
            <a:lvl1pPr marL="0" indent="0">
              <a:buNone/>
              <a:defRPr sz="1800">
                <a:latin typeface="+mj-lt"/>
              </a:defRPr>
            </a:lvl1pPr>
          </a:lstStyle>
          <a:p>
            <a:pPr lvl="0"/>
            <a:r>
              <a:rPr lang="en-IN"/>
              <a:t>L</a:t>
            </a:r>
            <a:r>
              <a:rPr lang="en-US" err="1"/>
              <a:t>orem</a:t>
            </a:r>
            <a:r>
              <a:rPr lang="en-US"/>
              <a:t> ipsum dolor sit </a:t>
            </a:r>
            <a:r>
              <a:rPr lang="en-US" err="1"/>
              <a:t>amet</a:t>
            </a:r>
            <a:endParaRPr lang="en-US"/>
          </a:p>
        </p:txBody>
      </p:sp>
      <p:sp>
        <p:nvSpPr>
          <p:cNvPr id="47" name="Text Placeholder 43">
            <a:extLst>
              <a:ext uri="{FF2B5EF4-FFF2-40B4-BE49-F238E27FC236}">
                <a16:creationId xmlns:a16="http://schemas.microsoft.com/office/drawing/2014/main" id="{5F9C9702-F45F-8BFC-37ED-C37560647FEF}"/>
              </a:ext>
            </a:extLst>
          </p:cNvPr>
          <p:cNvSpPr>
            <a:spLocks noGrp="1"/>
          </p:cNvSpPr>
          <p:nvPr>
            <p:ph type="body" sz="quarter" idx="13" hasCustomPrompt="1"/>
          </p:nvPr>
        </p:nvSpPr>
        <p:spPr>
          <a:xfrm>
            <a:off x="1794144" y="4437740"/>
            <a:ext cx="3952929" cy="276999"/>
          </a:xfrm>
          <a:prstGeom prst="rect">
            <a:avLst/>
          </a:prstGeom>
        </p:spPr>
        <p:txBody>
          <a:bodyPr wrap="square" lIns="0" tIns="0" rIns="0" bIns="0" anchor="ctr">
            <a:spAutoFit/>
          </a:bodyPr>
          <a:lstStyle>
            <a:lvl1pPr marL="0" indent="0">
              <a:buNone/>
              <a:defRPr sz="1800">
                <a:latin typeface="+mj-lt"/>
              </a:defRPr>
            </a:lvl1pPr>
          </a:lstStyle>
          <a:p>
            <a:pPr lvl="0"/>
            <a:r>
              <a:rPr lang="en-IN"/>
              <a:t>L</a:t>
            </a:r>
            <a:r>
              <a:rPr lang="en-US" err="1"/>
              <a:t>orem</a:t>
            </a:r>
            <a:r>
              <a:rPr lang="en-US"/>
              <a:t> ipsum dolor sit </a:t>
            </a:r>
            <a:r>
              <a:rPr lang="en-US" err="1"/>
              <a:t>amet</a:t>
            </a:r>
            <a:endParaRPr lang="en-US"/>
          </a:p>
        </p:txBody>
      </p:sp>
      <p:sp>
        <p:nvSpPr>
          <p:cNvPr id="48" name="Text Placeholder 43">
            <a:extLst>
              <a:ext uri="{FF2B5EF4-FFF2-40B4-BE49-F238E27FC236}">
                <a16:creationId xmlns:a16="http://schemas.microsoft.com/office/drawing/2014/main" id="{3B9AAAE3-E2E8-C6C7-C6B8-94998C0F3F98}"/>
              </a:ext>
            </a:extLst>
          </p:cNvPr>
          <p:cNvSpPr>
            <a:spLocks noGrp="1"/>
          </p:cNvSpPr>
          <p:nvPr>
            <p:ph type="body" sz="quarter" idx="14" hasCustomPrompt="1"/>
          </p:nvPr>
        </p:nvSpPr>
        <p:spPr>
          <a:xfrm>
            <a:off x="7513320" y="2656817"/>
            <a:ext cx="3952929" cy="276999"/>
          </a:xfrm>
          <a:prstGeom prst="rect">
            <a:avLst/>
          </a:prstGeom>
        </p:spPr>
        <p:txBody>
          <a:bodyPr wrap="square" lIns="0" tIns="0" rIns="0" bIns="0" anchor="ctr">
            <a:spAutoFit/>
          </a:bodyPr>
          <a:lstStyle>
            <a:lvl1pPr marL="0" indent="0">
              <a:buNone/>
              <a:defRPr sz="1800">
                <a:latin typeface="+mj-lt"/>
              </a:defRPr>
            </a:lvl1pPr>
          </a:lstStyle>
          <a:p>
            <a:pPr lvl="0"/>
            <a:r>
              <a:rPr lang="en-IN"/>
              <a:t>L</a:t>
            </a:r>
            <a:r>
              <a:rPr lang="en-US" err="1"/>
              <a:t>orem</a:t>
            </a:r>
            <a:r>
              <a:rPr lang="en-US"/>
              <a:t> ipsum dolor sit </a:t>
            </a:r>
            <a:r>
              <a:rPr lang="en-US" err="1"/>
              <a:t>amet</a:t>
            </a:r>
            <a:endParaRPr lang="en-US"/>
          </a:p>
        </p:txBody>
      </p:sp>
      <p:sp>
        <p:nvSpPr>
          <p:cNvPr id="51" name="Text Placeholder 43">
            <a:extLst>
              <a:ext uri="{FF2B5EF4-FFF2-40B4-BE49-F238E27FC236}">
                <a16:creationId xmlns:a16="http://schemas.microsoft.com/office/drawing/2014/main" id="{A5F653D7-BDF4-41D5-24CF-CC386D9E8720}"/>
              </a:ext>
            </a:extLst>
          </p:cNvPr>
          <p:cNvSpPr>
            <a:spLocks noGrp="1"/>
          </p:cNvSpPr>
          <p:nvPr>
            <p:ph type="body" sz="quarter" idx="17" hasCustomPrompt="1"/>
          </p:nvPr>
        </p:nvSpPr>
        <p:spPr>
          <a:xfrm>
            <a:off x="7513322" y="4437740"/>
            <a:ext cx="3952929" cy="276999"/>
          </a:xfrm>
          <a:prstGeom prst="rect">
            <a:avLst/>
          </a:prstGeom>
        </p:spPr>
        <p:txBody>
          <a:bodyPr wrap="square" lIns="0" tIns="0" rIns="0" bIns="0" anchor="ctr">
            <a:spAutoFit/>
          </a:bodyPr>
          <a:lstStyle>
            <a:lvl1pPr marL="0" indent="0">
              <a:buNone/>
              <a:defRPr sz="1800">
                <a:latin typeface="+mj-lt"/>
              </a:defRPr>
            </a:lvl1pPr>
          </a:lstStyle>
          <a:p>
            <a:pPr lvl="0"/>
            <a:r>
              <a:rPr lang="en-IN"/>
              <a:t>L</a:t>
            </a:r>
            <a:r>
              <a:rPr lang="en-US" err="1"/>
              <a:t>orem</a:t>
            </a:r>
            <a:r>
              <a:rPr lang="en-US"/>
              <a:t> ipsum dolor sit </a:t>
            </a:r>
            <a:r>
              <a:rPr lang="en-US" err="1"/>
              <a:t>amet</a:t>
            </a:r>
            <a:endParaRPr lang="en-US"/>
          </a:p>
        </p:txBody>
      </p:sp>
      <p:sp>
        <p:nvSpPr>
          <p:cNvPr id="5" name="Footer Placeholder 4">
            <a:extLst>
              <a:ext uri="{FF2B5EF4-FFF2-40B4-BE49-F238E27FC236}">
                <a16:creationId xmlns:a16="http://schemas.microsoft.com/office/drawing/2014/main" id="{DD454816-B209-B375-EBDF-7E9F1AC201BB}"/>
              </a:ext>
            </a:extLst>
          </p:cNvPr>
          <p:cNvSpPr>
            <a:spLocks noGrp="1"/>
          </p:cNvSpPr>
          <p:nvPr>
            <p:ph type="ftr" sz="quarter" idx="18"/>
          </p:nvPr>
        </p:nvSpPr>
        <p:spPr/>
        <p:txBody>
          <a:bodyPr/>
          <a:lstStyle/>
          <a:p>
            <a:r>
              <a:rPr lang="en-US"/>
              <a:t>Microsoft Confidential</a:t>
            </a:r>
          </a:p>
        </p:txBody>
      </p:sp>
    </p:spTree>
    <p:extLst>
      <p:ext uri="{BB962C8B-B14F-4D97-AF65-F5344CB8AC3E}">
        <p14:creationId xmlns:p14="http://schemas.microsoft.com/office/powerpoint/2010/main" val="9278401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w/2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Top Corners Rounded 2">
            <a:extLst>
              <a:ext uri="{FF2B5EF4-FFF2-40B4-BE49-F238E27FC236}">
                <a16:creationId xmlns:a16="http://schemas.microsoft.com/office/drawing/2014/main" id="{90354472-A4CC-6585-A6A9-A32AED094513}"/>
              </a:ext>
              <a:ext uri="{C183D7F6-B498-43B3-948B-1728B52AA6E4}">
                <adec:decorative xmlns:adec="http://schemas.microsoft.com/office/drawing/2017/decorative" val="1"/>
              </a:ext>
            </a:extLst>
          </p:cNvPr>
          <p:cNvSpPr>
            <a:spLocks/>
          </p:cNvSpPr>
          <p:nvPr userDrawn="1"/>
        </p:nvSpPr>
        <p:spPr bwMode="auto">
          <a:xfrm rot="16200000">
            <a:off x="5283116" y="-2858905"/>
            <a:ext cx="1413940" cy="10803637"/>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294A1F68-FE86-BF3D-22BA-6B72441D091E}"/>
              </a:ext>
              <a:ext uri="{C183D7F6-B498-43B3-948B-1728B52AA6E4}">
                <adec:decorative xmlns:adec="http://schemas.microsoft.com/office/drawing/2017/decorative" val="1"/>
              </a:ext>
            </a:extLst>
          </p:cNvPr>
          <p:cNvSpPr/>
          <p:nvPr userDrawn="1"/>
        </p:nvSpPr>
        <p:spPr bwMode="auto">
          <a:xfrm>
            <a:off x="677772" y="1925502"/>
            <a:ext cx="1232503" cy="12348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7" name="Straight Connector 6">
            <a:extLst>
              <a:ext uri="{FF2B5EF4-FFF2-40B4-BE49-F238E27FC236}">
                <a16:creationId xmlns:a16="http://schemas.microsoft.com/office/drawing/2014/main" id="{A06B5D55-2DE7-586A-933E-C7F9930B6F1A}"/>
              </a:ext>
            </a:extLst>
          </p:cNvPr>
          <p:cNvCxnSpPr>
            <a:cxnSpLocks/>
          </p:cNvCxnSpPr>
          <p:nvPr userDrawn="1"/>
        </p:nvCxnSpPr>
        <p:spPr>
          <a:xfrm flipH="1">
            <a:off x="1629436" y="1835947"/>
            <a:ext cx="9235440"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Rectangle: Top Corners Rounded 17">
            <a:extLst>
              <a:ext uri="{FF2B5EF4-FFF2-40B4-BE49-F238E27FC236}">
                <a16:creationId xmlns:a16="http://schemas.microsoft.com/office/drawing/2014/main" id="{DBF61354-A4D7-1B9F-65E7-AFF5BF0D0CDC}"/>
              </a:ext>
              <a:ext uri="{C183D7F6-B498-43B3-948B-1728B52AA6E4}">
                <adec:decorative xmlns:adec="http://schemas.microsoft.com/office/drawing/2017/decorative" val="1"/>
              </a:ext>
            </a:extLst>
          </p:cNvPr>
          <p:cNvSpPr>
            <a:spLocks/>
          </p:cNvSpPr>
          <p:nvPr userDrawn="1"/>
        </p:nvSpPr>
        <p:spPr bwMode="auto">
          <a:xfrm rot="16200000">
            <a:off x="5283115" y="-737994"/>
            <a:ext cx="1413940" cy="10803636"/>
          </a:xfrm>
          <a:prstGeom prst="round2SameRect">
            <a:avLst>
              <a:gd name="adj1" fmla="val 50000"/>
              <a:gd name="adj2" fmla="val 0"/>
            </a:avLst>
          </a:prstGeom>
          <a:gradFill flip="none" rotWithShape="1">
            <a:gsLst>
              <a:gs pos="100000">
                <a:schemeClr val="tx1">
                  <a:lumMod val="95000"/>
                  <a:lumOff val="5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9" name="Oval 18">
            <a:extLst>
              <a:ext uri="{FF2B5EF4-FFF2-40B4-BE49-F238E27FC236}">
                <a16:creationId xmlns:a16="http://schemas.microsoft.com/office/drawing/2014/main" id="{259E4832-747A-F4F1-731A-C508A69F2174}"/>
              </a:ext>
              <a:ext uri="{C183D7F6-B498-43B3-948B-1728B52AA6E4}">
                <adec:decorative xmlns:adec="http://schemas.microsoft.com/office/drawing/2017/decorative" val="1"/>
              </a:ext>
            </a:extLst>
          </p:cNvPr>
          <p:cNvSpPr/>
          <p:nvPr userDrawn="1"/>
        </p:nvSpPr>
        <p:spPr bwMode="auto">
          <a:xfrm>
            <a:off x="677774" y="4046413"/>
            <a:ext cx="1232503" cy="12348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2" name="Straight Connector 21">
            <a:extLst>
              <a:ext uri="{FF2B5EF4-FFF2-40B4-BE49-F238E27FC236}">
                <a16:creationId xmlns:a16="http://schemas.microsoft.com/office/drawing/2014/main" id="{6BA9A155-F8F2-A563-39E5-F2C36C2C33B1}"/>
              </a:ext>
            </a:extLst>
          </p:cNvPr>
          <p:cNvCxnSpPr>
            <a:cxnSpLocks/>
          </p:cNvCxnSpPr>
          <p:nvPr userDrawn="1"/>
        </p:nvCxnSpPr>
        <p:spPr>
          <a:xfrm flipH="1">
            <a:off x="1629438" y="5370793"/>
            <a:ext cx="9235440"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Text Placeholder 43">
            <a:extLst>
              <a:ext uri="{FF2B5EF4-FFF2-40B4-BE49-F238E27FC236}">
                <a16:creationId xmlns:a16="http://schemas.microsoft.com/office/drawing/2014/main" id="{93A59912-2BBC-7FAE-AAF9-DF5AE013A32E}"/>
              </a:ext>
            </a:extLst>
          </p:cNvPr>
          <p:cNvSpPr>
            <a:spLocks noGrp="1"/>
          </p:cNvSpPr>
          <p:nvPr>
            <p:ph type="body" sz="quarter" idx="10" hasCustomPrompt="1"/>
          </p:nvPr>
        </p:nvSpPr>
        <p:spPr>
          <a:xfrm>
            <a:off x="2146299" y="2358247"/>
            <a:ext cx="8718575" cy="369332"/>
          </a:xfrm>
          <a:prstGeom prst="rect">
            <a:avLst/>
          </a:prstGeom>
        </p:spPr>
        <p:txBody>
          <a:bodyPr wrap="square" lIns="0" tIns="0" rIns="0" bIns="0" anchor="ctr">
            <a:spAutoFit/>
          </a:bodyPr>
          <a:lstStyle>
            <a:lvl1pPr marL="0" indent="0">
              <a:buNone/>
              <a:defRPr sz="2400">
                <a:latin typeface="+mj-lt"/>
              </a:defRPr>
            </a:lvl1pPr>
          </a:lstStyle>
          <a:p>
            <a:pPr lvl="0"/>
            <a:r>
              <a:rPr lang="en-IN"/>
              <a:t>L</a:t>
            </a:r>
            <a:r>
              <a:rPr lang="en-US" err="1"/>
              <a:t>orem</a:t>
            </a:r>
            <a:r>
              <a:rPr lang="en-US"/>
              <a:t> ipsum dolor sit </a:t>
            </a:r>
            <a:r>
              <a:rPr lang="en-US" err="1"/>
              <a:t>amet</a:t>
            </a:r>
            <a:endParaRPr lang="en-US"/>
          </a:p>
        </p:txBody>
      </p:sp>
      <p:sp>
        <p:nvSpPr>
          <p:cNvPr id="47" name="Text Placeholder 43">
            <a:extLst>
              <a:ext uri="{FF2B5EF4-FFF2-40B4-BE49-F238E27FC236}">
                <a16:creationId xmlns:a16="http://schemas.microsoft.com/office/drawing/2014/main" id="{5F9C9702-F45F-8BFC-37ED-C37560647FEF}"/>
              </a:ext>
            </a:extLst>
          </p:cNvPr>
          <p:cNvSpPr>
            <a:spLocks noGrp="1"/>
          </p:cNvSpPr>
          <p:nvPr>
            <p:ph type="body" sz="quarter" idx="13" hasCustomPrompt="1"/>
          </p:nvPr>
        </p:nvSpPr>
        <p:spPr>
          <a:xfrm>
            <a:off x="2146301" y="4479158"/>
            <a:ext cx="8718575" cy="369332"/>
          </a:xfrm>
          <a:prstGeom prst="rect">
            <a:avLst/>
          </a:prstGeom>
        </p:spPr>
        <p:txBody>
          <a:bodyPr wrap="square" lIns="0" tIns="0" rIns="0" bIns="0" anchor="ctr">
            <a:spAutoFit/>
          </a:bodyPr>
          <a:lstStyle>
            <a:lvl1pPr marL="0" indent="0">
              <a:buNone/>
              <a:defRPr sz="2400">
                <a:latin typeface="+mj-lt"/>
              </a:defRPr>
            </a:lvl1pPr>
          </a:lstStyle>
          <a:p>
            <a:pPr lvl="0"/>
            <a:r>
              <a:rPr lang="en-IN"/>
              <a:t>L</a:t>
            </a:r>
            <a:r>
              <a:rPr lang="en-US" err="1"/>
              <a:t>orem</a:t>
            </a:r>
            <a:r>
              <a:rPr lang="en-US"/>
              <a:t> ipsum dolor sit </a:t>
            </a:r>
            <a:r>
              <a:rPr lang="en-US" err="1"/>
              <a:t>amet</a:t>
            </a:r>
            <a:endParaRPr lang="en-US"/>
          </a:p>
        </p:txBody>
      </p:sp>
      <p:sp>
        <p:nvSpPr>
          <p:cNvPr id="5" name="Footer Placeholder 4">
            <a:extLst>
              <a:ext uri="{FF2B5EF4-FFF2-40B4-BE49-F238E27FC236}">
                <a16:creationId xmlns:a16="http://schemas.microsoft.com/office/drawing/2014/main" id="{E3CAF563-A226-4EBD-51F5-CF5C6B29728C}"/>
              </a:ext>
            </a:extLst>
          </p:cNvPr>
          <p:cNvSpPr>
            <a:spLocks noGrp="1"/>
          </p:cNvSpPr>
          <p:nvPr>
            <p:ph type="ftr" sz="quarter" idx="14"/>
          </p:nvPr>
        </p:nvSpPr>
        <p:spPr/>
        <p:txBody>
          <a:bodyPr/>
          <a:lstStyle/>
          <a:p>
            <a:r>
              <a:rPr lang="en-US"/>
              <a:t>Microsoft Confidential</a:t>
            </a:r>
          </a:p>
        </p:txBody>
      </p:sp>
    </p:spTree>
    <p:extLst>
      <p:ext uri="{BB962C8B-B14F-4D97-AF65-F5344CB8AC3E}">
        <p14:creationId xmlns:p14="http://schemas.microsoft.com/office/powerpoint/2010/main" val="21445417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FBBEC96A-4829-1F5F-4D3C-CE45C941F735}"/>
              </a:ext>
            </a:extLst>
          </p:cNvPr>
          <p:cNvCxnSpPr>
            <a:cxnSpLocks/>
          </p:cNvCxnSpPr>
          <p:nvPr userDrawn="1"/>
        </p:nvCxnSpPr>
        <p:spPr>
          <a:xfrm>
            <a:off x="5656320" y="1630079"/>
            <a:ext cx="67261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3B36E41-8156-9DBC-3AE1-54C150F4CE49}"/>
              </a:ext>
            </a:extLst>
          </p:cNvPr>
          <p:cNvCxnSpPr>
            <a:cxnSpLocks/>
          </p:cNvCxnSpPr>
          <p:nvPr userDrawn="1"/>
        </p:nvCxnSpPr>
        <p:spPr>
          <a:xfrm>
            <a:off x="588263" y="6269038"/>
            <a:ext cx="67261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Freeform: Shape 5">
            <a:extLst>
              <a:ext uri="{FF2B5EF4-FFF2-40B4-BE49-F238E27FC236}">
                <a16:creationId xmlns:a16="http://schemas.microsoft.com/office/drawing/2014/main" id="{512937F3-5969-C6A4-1D37-354295336BC2}"/>
              </a:ext>
            </a:extLst>
          </p:cNvPr>
          <p:cNvSpPr/>
          <p:nvPr userDrawn="1"/>
        </p:nvSpPr>
        <p:spPr bwMode="auto">
          <a:xfrm>
            <a:off x="588263" y="1630079"/>
            <a:ext cx="11603737" cy="4638959"/>
          </a:xfrm>
          <a:custGeom>
            <a:avLst/>
            <a:gdLst>
              <a:gd name="connsiteX0" fmla="*/ 149514 w 11603737"/>
              <a:gd name="connsiteY0" fmla="*/ 0 h 4638959"/>
              <a:gd name="connsiteX1" fmla="*/ 11603737 w 11603737"/>
              <a:gd name="connsiteY1" fmla="*/ 0 h 4638959"/>
              <a:gd name="connsiteX2" fmla="*/ 11603737 w 11603737"/>
              <a:gd name="connsiteY2" fmla="*/ 4638959 h 4638959"/>
              <a:gd name="connsiteX3" fmla="*/ 149514 w 11603737"/>
              <a:gd name="connsiteY3" fmla="*/ 4638959 h 4638959"/>
              <a:gd name="connsiteX4" fmla="*/ 0 w 11603737"/>
              <a:gd name="connsiteY4" fmla="*/ 4489445 h 4638959"/>
              <a:gd name="connsiteX5" fmla="*/ 0 w 11603737"/>
              <a:gd name="connsiteY5" fmla="*/ 149514 h 4638959"/>
              <a:gd name="connsiteX6" fmla="*/ 149514 w 11603737"/>
              <a:gd name="connsiteY6" fmla="*/ 0 h 463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3737" h="4638959">
                <a:moveTo>
                  <a:pt x="149514" y="0"/>
                </a:moveTo>
                <a:lnTo>
                  <a:pt x="11603737" y="0"/>
                </a:lnTo>
                <a:lnTo>
                  <a:pt x="11603737" y="4638959"/>
                </a:lnTo>
                <a:lnTo>
                  <a:pt x="149514" y="4638959"/>
                </a:lnTo>
                <a:cubicBezTo>
                  <a:pt x="66940" y="4638959"/>
                  <a:pt x="0" y="4572019"/>
                  <a:pt x="0" y="4489445"/>
                </a:cubicBezTo>
                <a:lnTo>
                  <a:pt x="0" y="149514"/>
                </a:lnTo>
                <a:cubicBezTo>
                  <a:pt x="0" y="66940"/>
                  <a:pt x="66940" y="0"/>
                  <a:pt x="149514" y="0"/>
                </a:cubicBezTo>
                <a:close/>
              </a:path>
            </a:pathLst>
          </a:cu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4" name="Footer Placeholder 3">
            <a:extLst>
              <a:ext uri="{FF2B5EF4-FFF2-40B4-BE49-F238E27FC236}">
                <a16:creationId xmlns:a16="http://schemas.microsoft.com/office/drawing/2014/main" id="{EE2004EE-B69B-E40E-5D3F-F2DD19417CF4}"/>
              </a:ext>
            </a:extLst>
          </p:cNvPr>
          <p:cNvSpPr>
            <a:spLocks noGrp="1"/>
          </p:cNvSpPr>
          <p:nvPr>
            <p:ph type="ftr" sz="quarter" idx="10"/>
          </p:nvPr>
        </p:nvSpPr>
        <p:spPr/>
        <p:txBody>
          <a:bodyPr/>
          <a:lstStyle/>
          <a:p>
            <a:r>
              <a:rPr lang="en-US"/>
              <a:t>Microsoft Confidential</a:t>
            </a:r>
          </a:p>
        </p:txBody>
      </p:sp>
    </p:spTree>
    <p:extLst>
      <p:ext uri="{BB962C8B-B14F-4D97-AF65-F5344CB8AC3E}">
        <p14:creationId xmlns:p14="http://schemas.microsoft.com/office/powerpoint/2010/main" val="21011056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516595"/>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w/3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5" name="Text Placeholder 24">
            <a:extLst>
              <a:ext uri="{FF2B5EF4-FFF2-40B4-BE49-F238E27FC236}">
                <a16:creationId xmlns:a16="http://schemas.microsoft.com/office/drawing/2014/main" id="{30ADB67D-D3DB-5E43-AEB6-A76D67F7F69F}"/>
              </a:ext>
            </a:extLst>
          </p:cNvPr>
          <p:cNvSpPr>
            <a:spLocks noGrp="1"/>
          </p:cNvSpPr>
          <p:nvPr>
            <p:ph type="body" sz="quarter" idx="10" hasCustomPrompt="1"/>
          </p:nvPr>
        </p:nvSpPr>
        <p:spPr>
          <a:xfrm>
            <a:off x="1944271" y="2379363"/>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4" name="Oval 3">
            <a:extLst>
              <a:ext uri="{FF2B5EF4-FFF2-40B4-BE49-F238E27FC236}">
                <a16:creationId xmlns:a16="http://schemas.microsoft.com/office/drawing/2014/main" id="{FAF42D46-832C-C03C-699B-38569889DDF2}"/>
              </a:ext>
              <a:ext uri="{C183D7F6-B498-43B3-948B-1728B52AA6E4}">
                <adec:decorative xmlns:adec="http://schemas.microsoft.com/office/drawing/2017/decorative" val="1"/>
              </a:ext>
            </a:extLst>
          </p:cNvPr>
          <p:cNvSpPr>
            <a:spLocks/>
          </p:cNvSpPr>
          <p:nvPr userDrawn="1"/>
        </p:nvSpPr>
        <p:spPr bwMode="auto">
          <a:xfrm>
            <a:off x="817047" y="2088599"/>
            <a:ext cx="895143" cy="895143"/>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C13B66F4-D853-EFF9-E0D2-7B3B53311994}"/>
              </a:ext>
              <a:ext uri="{C183D7F6-B498-43B3-948B-1728B52AA6E4}">
                <adec:decorative xmlns:adec="http://schemas.microsoft.com/office/drawing/2017/decorative" val="1"/>
              </a:ext>
            </a:extLst>
          </p:cNvPr>
          <p:cNvSpPr>
            <a:spLocks/>
          </p:cNvSpPr>
          <p:nvPr userDrawn="1"/>
        </p:nvSpPr>
        <p:spPr bwMode="auto">
          <a:xfrm>
            <a:off x="9363379" y="3222572"/>
            <a:ext cx="895143" cy="895143"/>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B77D05D4-1F85-C1EF-DFC0-244FC21DEFD6}"/>
              </a:ext>
              <a:ext uri="{C183D7F6-B498-43B3-948B-1728B52AA6E4}">
                <adec:decorative xmlns:adec="http://schemas.microsoft.com/office/drawing/2017/decorative" val="1"/>
              </a:ext>
            </a:extLst>
          </p:cNvPr>
          <p:cNvSpPr>
            <a:spLocks/>
          </p:cNvSpPr>
          <p:nvPr userDrawn="1"/>
        </p:nvSpPr>
        <p:spPr bwMode="auto">
          <a:xfrm>
            <a:off x="1745167" y="4356546"/>
            <a:ext cx="895143" cy="895143"/>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2" name="Straight Connector 11">
            <a:extLst>
              <a:ext uri="{FF2B5EF4-FFF2-40B4-BE49-F238E27FC236}">
                <a16:creationId xmlns:a16="http://schemas.microsoft.com/office/drawing/2014/main" id="{26CFB6D8-043A-31A0-28A6-F4CF6F60F94F}"/>
              </a:ext>
            </a:extLst>
          </p:cNvPr>
          <p:cNvCxnSpPr>
            <a:cxnSpLocks/>
            <a:stCxn id="16" idx="0"/>
            <a:endCxn id="17" idx="3"/>
          </p:cNvCxnSpPr>
          <p:nvPr userDrawn="1"/>
        </p:nvCxnSpPr>
        <p:spPr>
          <a:xfrm flipH="1">
            <a:off x="1264619" y="3103157"/>
            <a:ext cx="8553029" cy="0"/>
          </a:xfrm>
          <a:prstGeom prst="line">
            <a:avLst/>
          </a:prstGeom>
          <a:noFill/>
          <a:ln w="28575" cap="rnd" cmpd="sng" algn="ctr">
            <a:solidFill>
              <a:schemeClr val="tx1">
                <a:lumMod val="75000"/>
                <a:lumOff val="25000"/>
              </a:schemeClr>
            </a:solidFill>
            <a:prstDash val="solid"/>
            <a:headEnd type="none"/>
            <a:tailEnd type="none"/>
          </a:ln>
          <a:effectLst/>
        </p:spPr>
      </p:cxnSp>
      <p:sp>
        <p:nvSpPr>
          <p:cNvPr id="14" name="Freeform: Shape 58">
            <a:extLst>
              <a:ext uri="{FF2B5EF4-FFF2-40B4-BE49-F238E27FC236}">
                <a16:creationId xmlns:a16="http://schemas.microsoft.com/office/drawing/2014/main" id="{D7D38586-CC09-296A-4B86-D9A2E767979B}"/>
              </a:ext>
            </a:extLst>
          </p:cNvPr>
          <p:cNvSpPr>
            <a:spLocks/>
          </p:cNvSpPr>
          <p:nvPr userDrawn="1"/>
        </p:nvSpPr>
        <p:spPr bwMode="auto">
          <a:xfrm flipH="1">
            <a:off x="1599035" y="4237131"/>
            <a:ext cx="566989" cy="1133973"/>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sp>
        <p:nvSpPr>
          <p:cNvPr id="16" name="Freeform: Shape 60">
            <a:extLst>
              <a:ext uri="{FF2B5EF4-FFF2-40B4-BE49-F238E27FC236}">
                <a16:creationId xmlns:a16="http://schemas.microsoft.com/office/drawing/2014/main" id="{6478D155-003F-315A-6B79-BE440DD173E9}"/>
              </a:ext>
            </a:extLst>
          </p:cNvPr>
          <p:cNvSpPr>
            <a:spLocks/>
          </p:cNvSpPr>
          <p:nvPr userDrawn="1"/>
        </p:nvSpPr>
        <p:spPr bwMode="auto">
          <a:xfrm>
            <a:off x="9817647" y="3103157"/>
            <a:ext cx="566989" cy="1133973"/>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sp>
        <p:nvSpPr>
          <p:cNvPr id="17" name="Freeform: Shape 160">
            <a:extLst>
              <a:ext uri="{FF2B5EF4-FFF2-40B4-BE49-F238E27FC236}">
                <a16:creationId xmlns:a16="http://schemas.microsoft.com/office/drawing/2014/main" id="{B7067515-DA1A-6EA1-4D4E-1B5A214A3621}"/>
              </a:ext>
            </a:extLst>
          </p:cNvPr>
          <p:cNvSpPr>
            <a:spLocks/>
          </p:cNvSpPr>
          <p:nvPr userDrawn="1"/>
        </p:nvSpPr>
        <p:spPr bwMode="auto">
          <a:xfrm flipH="1">
            <a:off x="697630" y="1969184"/>
            <a:ext cx="566989" cy="1133973"/>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6B5E7CA0-B48B-0987-9989-4F34AE86F08D}"/>
              </a:ext>
            </a:extLst>
          </p:cNvPr>
          <p:cNvCxnSpPr>
            <a:cxnSpLocks/>
            <a:endCxn id="17" idx="0"/>
          </p:cNvCxnSpPr>
          <p:nvPr userDrawn="1"/>
        </p:nvCxnSpPr>
        <p:spPr>
          <a:xfrm flipH="1">
            <a:off x="1264618" y="1969184"/>
            <a:ext cx="10927382" cy="0"/>
          </a:xfrm>
          <a:prstGeom prst="line">
            <a:avLst/>
          </a:prstGeom>
          <a:noFill/>
          <a:ln w="28575" cap="rnd" cmpd="sng" algn="ctr">
            <a:solidFill>
              <a:schemeClr val="tx1">
                <a:lumMod val="75000"/>
                <a:lumOff val="25000"/>
              </a:schemeClr>
            </a:solidFill>
            <a:prstDash val="solid"/>
            <a:headEnd type="none"/>
            <a:tailEnd type="none"/>
          </a:ln>
          <a:effectLst/>
        </p:spPr>
      </p:cxnSp>
      <p:sp>
        <p:nvSpPr>
          <p:cNvPr id="27" name="Text Placeholder 24">
            <a:extLst>
              <a:ext uri="{FF2B5EF4-FFF2-40B4-BE49-F238E27FC236}">
                <a16:creationId xmlns:a16="http://schemas.microsoft.com/office/drawing/2014/main" id="{2B4B5852-8E64-5F7B-B7A4-8A82A14C0C8C}"/>
              </a:ext>
            </a:extLst>
          </p:cNvPr>
          <p:cNvSpPr>
            <a:spLocks noGrp="1"/>
          </p:cNvSpPr>
          <p:nvPr>
            <p:ph type="body" sz="quarter" idx="11" hasCustomPrompt="1"/>
          </p:nvPr>
        </p:nvSpPr>
        <p:spPr>
          <a:xfrm>
            <a:off x="1653778" y="3513336"/>
            <a:ext cx="7484217" cy="313616"/>
          </a:xfrm>
          <a:prstGeom prst="rect">
            <a:avLst/>
          </a:prstGeom>
        </p:spPr>
        <p:txBody>
          <a:bodyPr wrap="square" lIns="0" tIns="0" rIns="0" bIns="0" anchor="ctr">
            <a:spAutoFit/>
          </a:bodyPr>
          <a:lstStyle>
            <a:lvl1pPr marL="0" indent="0" algn="r"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28" name="Text Placeholder 24">
            <a:extLst>
              <a:ext uri="{FF2B5EF4-FFF2-40B4-BE49-F238E27FC236}">
                <a16:creationId xmlns:a16="http://schemas.microsoft.com/office/drawing/2014/main" id="{FDA7BE67-8215-D090-ACB4-B5E735664293}"/>
              </a:ext>
            </a:extLst>
          </p:cNvPr>
          <p:cNvSpPr>
            <a:spLocks noGrp="1"/>
          </p:cNvSpPr>
          <p:nvPr>
            <p:ph type="body" sz="quarter" idx="12" hasCustomPrompt="1"/>
          </p:nvPr>
        </p:nvSpPr>
        <p:spPr>
          <a:xfrm>
            <a:off x="2839604" y="4647310"/>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cxnSp>
        <p:nvCxnSpPr>
          <p:cNvPr id="20" name="Straight Connector 19">
            <a:extLst>
              <a:ext uri="{FF2B5EF4-FFF2-40B4-BE49-F238E27FC236}">
                <a16:creationId xmlns:a16="http://schemas.microsoft.com/office/drawing/2014/main" id="{32C15C8B-F82F-C32A-912B-424B2997BDC7}"/>
              </a:ext>
            </a:extLst>
          </p:cNvPr>
          <p:cNvCxnSpPr>
            <a:cxnSpLocks/>
            <a:stCxn id="16" idx="3"/>
            <a:endCxn id="14" idx="0"/>
          </p:cNvCxnSpPr>
          <p:nvPr userDrawn="1"/>
        </p:nvCxnSpPr>
        <p:spPr>
          <a:xfrm flipH="1">
            <a:off x="2166023" y="4237130"/>
            <a:ext cx="7651624" cy="1"/>
          </a:xfrm>
          <a:prstGeom prst="line">
            <a:avLst/>
          </a:prstGeom>
          <a:noFill/>
          <a:ln w="28575" cap="rnd" cmpd="sng" algn="ctr">
            <a:solidFill>
              <a:schemeClr val="tx1">
                <a:lumMod val="75000"/>
                <a:lumOff val="25000"/>
              </a:schemeClr>
            </a:solidFill>
            <a:prstDash val="solid"/>
            <a:headEnd type="none"/>
            <a:tailEnd type="none"/>
          </a:ln>
          <a:effectLst/>
        </p:spPr>
      </p:cxnSp>
      <p:cxnSp>
        <p:nvCxnSpPr>
          <p:cNvPr id="23" name="Straight Connector 22">
            <a:extLst>
              <a:ext uri="{FF2B5EF4-FFF2-40B4-BE49-F238E27FC236}">
                <a16:creationId xmlns:a16="http://schemas.microsoft.com/office/drawing/2014/main" id="{AFE7F5D8-FB93-3D4F-FC90-7DB83A6F15D3}"/>
              </a:ext>
            </a:extLst>
          </p:cNvPr>
          <p:cNvCxnSpPr>
            <a:cxnSpLocks/>
            <a:endCxn id="14" idx="3"/>
          </p:cNvCxnSpPr>
          <p:nvPr userDrawn="1"/>
        </p:nvCxnSpPr>
        <p:spPr>
          <a:xfrm flipH="1">
            <a:off x="2166024" y="5371104"/>
            <a:ext cx="10025976" cy="0"/>
          </a:xfrm>
          <a:prstGeom prst="line">
            <a:avLst/>
          </a:prstGeom>
          <a:noFill/>
          <a:ln w="28575" cap="rnd" cmpd="sng" algn="ctr">
            <a:solidFill>
              <a:schemeClr val="tx1">
                <a:lumMod val="75000"/>
                <a:lumOff val="25000"/>
              </a:schemeClr>
            </a:solidFill>
            <a:prstDash val="solid"/>
            <a:headEnd type="none"/>
            <a:tailEnd type="none"/>
          </a:ln>
          <a:effectLst/>
        </p:spPr>
      </p:cxnSp>
      <p:sp>
        <p:nvSpPr>
          <p:cNvPr id="3" name="Footer Placeholder 2">
            <a:extLst>
              <a:ext uri="{FF2B5EF4-FFF2-40B4-BE49-F238E27FC236}">
                <a16:creationId xmlns:a16="http://schemas.microsoft.com/office/drawing/2014/main" id="{9E6CA14C-A835-CC98-AD22-BDC860520BE2}"/>
              </a:ext>
            </a:extLst>
          </p:cNvPr>
          <p:cNvSpPr>
            <a:spLocks noGrp="1"/>
          </p:cNvSpPr>
          <p:nvPr>
            <p:ph type="ftr" sz="quarter" idx="13"/>
          </p:nvPr>
        </p:nvSpPr>
        <p:spPr/>
        <p:txBody>
          <a:bodyPr/>
          <a:lstStyle/>
          <a:p>
            <a:r>
              <a:rPr lang="en-US"/>
              <a:t>Microsoft Confidential</a:t>
            </a:r>
          </a:p>
        </p:txBody>
      </p:sp>
    </p:spTree>
    <p:extLst>
      <p:ext uri="{BB962C8B-B14F-4D97-AF65-F5344CB8AC3E}">
        <p14:creationId xmlns:p14="http://schemas.microsoft.com/office/powerpoint/2010/main" val="32297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w/4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5" name="Text Placeholder 24">
            <a:extLst>
              <a:ext uri="{FF2B5EF4-FFF2-40B4-BE49-F238E27FC236}">
                <a16:creationId xmlns:a16="http://schemas.microsoft.com/office/drawing/2014/main" id="{30ADB67D-D3DB-5E43-AEB6-A76D67F7F69F}"/>
              </a:ext>
            </a:extLst>
          </p:cNvPr>
          <p:cNvSpPr>
            <a:spLocks noGrp="1"/>
          </p:cNvSpPr>
          <p:nvPr>
            <p:ph type="body" sz="quarter" idx="10" hasCustomPrompt="1"/>
          </p:nvPr>
        </p:nvSpPr>
        <p:spPr>
          <a:xfrm>
            <a:off x="1799894" y="2065753"/>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4" name="Oval 3">
            <a:extLst>
              <a:ext uri="{FF2B5EF4-FFF2-40B4-BE49-F238E27FC236}">
                <a16:creationId xmlns:a16="http://schemas.microsoft.com/office/drawing/2014/main" id="{FAF42D46-832C-C03C-699B-38569889DDF2}"/>
              </a:ext>
              <a:ext uri="{C183D7F6-B498-43B3-948B-1728B52AA6E4}">
                <adec:decorative xmlns:adec="http://schemas.microsoft.com/office/drawing/2017/decorative" val="1"/>
              </a:ext>
            </a:extLst>
          </p:cNvPr>
          <p:cNvSpPr>
            <a:spLocks/>
          </p:cNvSpPr>
          <p:nvPr userDrawn="1"/>
        </p:nvSpPr>
        <p:spPr bwMode="auto">
          <a:xfrm>
            <a:off x="830975" y="1838532"/>
            <a:ext cx="768060" cy="76806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C13B66F4-D853-EFF9-E0D2-7B3B53311994}"/>
              </a:ext>
              <a:ext uri="{C183D7F6-B498-43B3-948B-1728B52AA6E4}">
                <adec:decorative xmlns:adec="http://schemas.microsoft.com/office/drawing/2017/decorative" val="1"/>
              </a:ext>
            </a:extLst>
          </p:cNvPr>
          <p:cNvSpPr>
            <a:spLocks/>
          </p:cNvSpPr>
          <p:nvPr userDrawn="1"/>
        </p:nvSpPr>
        <p:spPr bwMode="auto">
          <a:xfrm>
            <a:off x="8407231" y="2840588"/>
            <a:ext cx="768060" cy="76806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B77D05D4-1F85-C1EF-DFC0-244FC21DEFD6}"/>
              </a:ext>
              <a:ext uri="{C183D7F6-B498-43B3-948B-1728B52AA6E4}">
                <adec:decorative xmlns:adec="http://schemas.microsoft.com/office/drawing/2017/decorative" val="1"/>
              </a:ext>
            </a:extLst>
          </p:cNvPr>
          <p:cNvSpPr>
            <a:spLocks/>
          </p:cNvSpPr>
          <p:nvPr userDrawn="1"/>
        </p:nvSpPr>
        <p:spPr bwMode="auto">
          <a:xfrm>
            <a:off x="1863081" y="3842644"/>
            <a:ext cx="768060" cy="76806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F5F8D137-4557-635B-AD8E-A144A95FE060}"/>
              </a:ext>
              <a:ext uri="{C183D7F6-B498-43B3-948B-1728B52AA6E4}">
                <adec:decorative xmlns:adec="http://schemas.microsoft.com/office/drawing/2017/decorative" val="1"/>
              </a:ext>
            </a:extLst>
          </p:cNvPr>
          <p:cNvSpPr>
            <a:spLocks/>
          </p:cNvSpPr>
          <p:nvPr userDrawn="1"/>
        </p:nvSpPr>
        <p:spPr bwMode="auto">
          <a:xfrm>
            <a:off x="10665359" y="4844700"/>
            <a:ext cx="768060" cy="76806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Freeform: Shape 55">
            <a:extLst>
              <a:ext uri="{FF2B5EF4-FFF2-40B4-BE49-F238E27FC236}">
                <a16:creationId xmlns:a16="http://schemas.microsoft.com/office/drawing/2014/main" id="{9BA81F6C-D0EF-D42E-3EC7-D049A4C08F07}"/>
              </a:ext>
            </a:extLst>
          </p:cNvPr>
          <p:cNvSpPr/>
          <p:nvPr userDrawn="1"/>
        </p:nvSpPr>
        <p:spPr bwMode="auto">
          <a:xfrm>
            <a:off x="8795539" y="2723590"/>
            <a:ext cx="501030" cy="100205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26CFB6D8-043A-31A0-28A6-F4CF6F60F94F}"/>
              </a:ext>
            </a:extLst>
          </p:cNvPr>
          <p:cNvCxnSpPr>
            <a:cxnSpLocks/>
          </p:cNvCxnSpPr>
          <p:nvPr userDrawn="1"/>
        </p:nvCxnSpPr>
        <p:spPr>
          <a:xfrm flipH="1">
            <a:off x="1198659" y="2723590"/>
            <a:ext cx="7596880" cy="0"/>
          </a:xfrm>
          <a:prstGeom prst="line">
            <a:avLst/>
          </a:prstGeom>
          <a:noFill/>
          <a:ln w="28575" cap="rnd" cmpd="sng" algn="ctr">
            <a:solidFill>
              <a:schemeClr val="tx1">
                <a:lumMod val="75000"/>
                <a:lumOff val="25000"/>
              </a:schemeClr>
            </a:solidFill>
            <a:prstDash val="solid"/>
            <a:headEnd type="none"/>
            <a:tailEnd type="none"/>
          </a:ln>
          <a:effectLst/>
        </p:spPr>
      </p:cxnSp>
      <p:cxnSp>
        <p:nvCxnSpPr>
          <p:cNvPr id="13" name="Straight Connector 12">
            <a:extLst>
              <a:ext uri="{FF2B5EF4-FFF2-40B4-BE49-F238E27FC236}">
                <a16:creationId xmlns:a16="http://schemas.microsoft.com/office/drawing/2014/main" id="{D72984F5-6D7C-8280-A796-A6EE2CB84C5A}"/>
              </a:ext>
            </a:extLst>
          </p:cNvPr>
          <p:cNvCxnSpPr>
            <a:cxnSpLocks/>
            <a:stCxn id="11" idx="3"/>
          </p:cNvCxnSpPr>
          <p:nvPr userDrawn="1"/>
        </p:nvCxnSpPr>
        <p:spPr>
          <a:xfrm flipH="1">
            <a:off x="2238369" y="3725646"/>
            <a:ext cx="6557170" cy="0"/>
          </a:xfrm>
          <a:prstGeom prst="line">
            <a:avLst/>
          </a:prstGeom>
          <a:noFill/>
          <a:ln w="28575" cap="rnd" cmpd="sng" algn="ctr">
            <a:solidFill>
              <a:schemeClr val="tx1">
                <a:lumMod val="75000"/>
                <a:lumOff val="25000"/>
              </a:schemeClr>
            </a:solidFill>
            <a:prstDash val="solid"/>
            <a:headEnd type="none"/>
            <a:tailEnd type="none"/>
          </a:ln>
          <a:effectLst/>
        </p:spPr>
      </p:cxnSp>
      <p:sp>
        <p:nvSpPr>
          <p:cNvPr id="14" name="Freeform: Shape 58">
            <a:extLst>
              <a:ext uri="{FF2B5EF4-FFF2-40B4-BE49-F238E27FC236}">
                <a16:creationId xmlns:a16="http://schemas.microsoft.com/office/drawing/2014/main" id="{D7D38586-CC09-296A-4B86-D9A2E767979B}"/>
              </a:ext>
            </a:extLst>
          </p:cNvPr>
          <p:cNvSpPr/>
          <p:nvPr userDrawn="1"/>
        </p:nvSpPr>
        <p:spPr bwMode="auto">
          <a:xfrm flipH="1">
            <a:off x="1737341" y="3725646"/>
            <a:ext cx="501028" cy="100205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BAB0545-A7CD-77B1-A03E-4006CC9E12CE}"/>
              </a:ext>
            </a:extLst>
          </p:cNvPr>
          <p:cNvCxnSpPr>
            <a:cxnSpLocks/>
            <a:stCxn id="16" idx="0"/>
          </p:cNvCxnSpPr>
          <p:nvPr userDrawn="1"/>
        </p:nvCxnSpPr>
        <p:spPr>
          <a:xfrm flipH="1">
            <a:off x="2238369" y="4727702"/>
            <a:ext cx="8801426" cy="0"/>
          </a:xfrm>
          <a:prstGeom prst="line">
            <a:avLst/>
          </a:prstGeom>
          <a:noFill/>
          <a:ln w="28575" cap="rnd" cmpd="sng" algn="ctr">
            <a:solidFill>
              <a:schemeClr val="tx1">
                <a:lumMod val="75000"/>
                <a:lumOff val="25000"/>
              </a:schemeClr>
            </a:solidFill>
            <a:prstDash val="solid"/>
            <a:headEnd type="none"/>
            <a:tailEnd type="none"/>
          </a:ln>
          <a:effectLst/>
        </p:spPr>
      </p:cxnSp>
      <p:sp>
        <p:nvSpPr>
          <p:cNvPr id="16" name="Freeform: Shape 60">
            <a:extLst>
              <a:ext uri="{FF2B5EF4-FFF2-40B4-BE49-F238E27FC236}">
                <a16:creationId xmlns:a16="http://schemas.microsoft.com/office/drawing/2014/main" id="{6478D155-003F-315A-6B79-BE440DD173E9}"/>
              </a:ext>
            </a:extLst>
          </p:cNvPr>
          <p:cNvSpPr/>
          <p:nvPr userDrawn="1"/>
        </p:nvSpPr>
        <p:spPr bwMode="auto">
          <a:xfrm>
            <a:off x="11039794" y="4727702"/>
            <a:ext cx="501030" cy="100205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sp>
        <p:nvSpPr>
          <p:cNvPr id="17" name="Freeform: Shape 160">
            <a:extLst>
              <a:ext uri="{FF2B5EF4-FFF2-40B4-BE49-F238E27FC236}">
                <a16:creationId xmlns:a16="http://schemas.microsoft.com/office/drawing/2014/main" id="{B7067515-DA1A-6EA1-4D4E-1B5A214A3621}"/>
              </a:ext>
            </a:extLst>
          </p:cNvPr>
          <p:cNvSpPr/>
          <p:nvPr userDrawn="1"/>
        </p:nvSpPr>
        <p:spPr bwMode="auto">
          <a:xfrm flipH="1">
            <a:off x="697630" y="1721534"/>
            <a:ext cx="501028" cy="100205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6B5E7CA0-B48B-0987-9989-4F34AE86F08D}"/>
              </a:ext>
            </a:extLst>
          </p:cNvPr>
          <p:cNvCxnSpPr>
            <a:cxnSpLocks/>
          </p:cNvCxnSpPr>
          <p:nvPr userDrawn="1"/>
        </p:nvCxnSpPr>
        <p:spPr>
          <a:xfrm flipH="1">
            <a:off x="1198658" y="1721534"/>
            <a:ext cx="10993343" cy="0"/>
          </a:xfrm>
          <a:prstGeom prst="line">
            <a:avLst/>
          </a:prstGeom>
          <a:noFill/>
          <a:ln w="28575"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9B3794EE-1869-19DB-CCC0-8530D7EB24C9}"/>
              </a:ext>
            </a:extLst>
          </p:cNvPr>
          <p:cNvCxnSpPr>
            <a:cxnSpLocks/>
            <a:stCxn id="16" idx="3"/>
          </p:cNvCxnSpPr>
          <p:nvPr userDrawn="1"/>
        </p:nvCxnSpPr>
        <p:spPr>
          <a:xfrm flipH="1">
            <a:off x="2" y="5729758"/>
            <a:ext cx="11039792" cy="0"/>
          </a:xfrm>
          <a:prstGeom prst="line">
            <a:avLst/>
          </a:prstGeom>
          <a:noFill/>
          <a:ln w="28575" cap="rnd" cmpd="sng" algn="ctr">
            <a:solidFill>
              <a:schemeClr val="tx1">
                <a:lumMod val="75000"/>
                <a:lumOff val="25000"/>
              </a:schemeClr>
            </a:solidFill>
            <a:prstDash val="solid"/>
            <a:headEnd type="none"/>
            <a:tailEnd type="none"/>
          </a:ln>
          <a:effectLst/>
        </p:spPr>
      </p:cxnSp>
      <p:sp>
        <p:nvSpPr>
          <p:cNvPr id="27" name="Text Placeholder 24">
            <a:extLst>
              <a:ext uri="{FF2B5EF4-FFF2-40B4-BE49-F238E27FC236}">
                <a16:creationId xmlns:a16="http://schemas.microsoft.com/office/drawing/2014/main" id="{2B4B5852-8E64-5F7B-B7A4-8A82A14C0C8C}"/>
              </a:ext>
            </a:extLst>
          </p:cNvPr>
          <p:cNvSpPr>
            <a:spLocks noGrp="1"/>
          </p:cNvSpPr>
          <p:nvPr>
            <p:ph type="body" sz="quarter" idx="11" hasCustomPrompt="1"/>
          </p:nvPr>
        </p:nvSpPr>
        <p:spPr>
          <a:xfrm>
            <a:off x="697630" y="3067810"/>
            <a:ext cx="7484217" cy="313616"/>
          </a:xfrm>
          <a:prstGeom prst="rect">
            <a:avLst/>
          </a:prstGeom>
        </p:spPr>
        <p:txBody>
          <a:bodyPr wrap="square" lIns="0" tIns="0" rIns="0" bIns="0" anchor="ctr">
            <a:spAutoFit/>
          </a:bodyPr>
          <a:lstStyle>
            <a:lvl1pPr marL="0" indent="0" algn="r"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28" name="Text Placeholder 24">
            <a:extLst>
              <a:ext uri="{FF2B5EF4-FFF2-40B4-BE49-F238E27FC236}">
                <a16:creationId xmlns:a16="http://schemas.microsoft.com/office/drawing/2014/main" id="{FDA7BE67-8215-D090-ACB4-B5E735664293}"/>
              </a:ext>
            </a:extLst>
          </p:cNvPr>
          <p:cNvSpPr>
            <a:spLocks noGrp="1"/>
          </p:cNvSpPr>
          <p:nvPr>
            <p:ph type="body" sz="quarter" idx="12" hasCustomPrompt="1"/>
          </p:nvPr>
        </p:nvSpPr>
        <p:spPr>
          <a:xfrm>
            <a:off x="2839604" y="4069866"/>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29" name="Text Placeholder 24">
            <a:extLst>
              <a:ext uri="{FF2B5EF4-FFF2-40B4-BE49-F238E27FC236}">
                <a16:creationId xmlns:a16="http://schemas.microsoft.com/office/drawing/2014/main" id="{2F9FD5D4-CE6C-9F8D-2062-395AC63F79DF}"/>
              </a:ext>
            </a:extLst>
          </p:cNvPr>
          <p:cNvSpPr>
            <a:spLocks noGrp="1"/>
          </p:cNvSpPr>
          <p:nvPr>
            <p:ph type="body" sz="quarter" idx="13" hasCustomPrompt="1"/>
          </p:nvPr>
        </p:nvSpPr>
        <p:spPr>
          <a:xfrm>
            <a:off x="1737340" y="5071922"/>
            <a:ext cx="8702060" cy="313616"/>
          </a:xfrm>
          <a:prstGeom prst="rect">
            <a:avLst/>
          </a:prstGeom>
        </p:spPr>
        <p:txBody>
          <a:bodyPr wrap="square" lIns="0" tIns="0" rIns="0" bIns="0" anchor="ctr">
            <a:spAutoFit/>
          </a:bodyPr>
          <a:lstStyle>
            <a:lvl1pPr marL="0" indent="0" algn="r" defTabSz="914400" rtl="0" eaLnBrk="1" latinLnBrk="0" hangingPunct="1">
              <a:buFont typeface="Arial" panose="020B0604020202020204" pitchFamily="34" charset="0"/>
              <a:buNone/>
              <a:defRPr lang="en-US" sz="20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3" name="Footer Placeholder 2">
            <a:extLst>
              <a:ext uri="{FF2B5EF4-FFF2-40B4-BE49-F238E27FC236}">
                <a16:creationId xmlns:a16="http://schemas.microsoft.com/office/drawing/2014/main" id="{410ABE3E-9DDA-80BF-F0AB-06DE65F3092C}"/>
              </a:ext>
            </a:extLst>
          </p:cNvPr>
          <p:cNvSpPr>
            <a:spLocks noGrp="1"/>
          </p:cNvSpPr>
          <p:nvPr>
            <p:ph type="ftr" sz="quarter" idx="14"/>
          </p:nvPr>
        </p:nvSpPr>
        <p:spPr/>
        <p:txBody>
          <a:bodyPr/>
          <a:lstStyle/>
          <a:p>
            <a:r>
              <a:rPr lang="en-US"/>
              <a:t>Microsoft Confidential</a:t>
            </a:r>
          </a:p>
        </p:txBody>
      </p:sp>
    </p:spTree>
    <p:extLst>
      <p:ext uri="{BB962C8B-B14F-4D97-AF65-F5344CB8AC3E}">
        <p14:creationId xmlns:p14="http://schemas.microsoft.com/office/powerpoint/2010/main" val="33434922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w/5 lin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5" name="Text Placeholder 24">
            <a:extLst>
              <a:ext uri="{FF2B5EF4-FFF2-40B4-BE49-F238E27FC236}">
                <a16:creationId xmlns:a16="http://schemas.microsoft.com/office/drawing/2014/main" id="{30ADB67D-D3DB-5E43-AEB6-A76D67F7F69F}"/>
              </a:ext>
            </a:extLst>
          </p:cNvPr>
          <p:cNvSpPr>
            <a:spLocks noGrp="1"/>
          </p:cNvSpPr>
          <p:nvPr>
            <p:ph type="body" sz="quarter" idx="10" hasCustomPrompt="1"/>
          </p:nvPr>
        </p:nvSpPr>
        <p:spPr>
          <a:xfrm>
            <a:off x="1700389" y="1656460"/>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18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4" name="Oval 3">
            <a:extLst>
              <a:ext uri="{FF2B5EF4-FFF2-40B4-BE49-F238E27FC236}">
                <a16:creationId xmlns:a16="http://schemas.microsoft.com/office/drawing/2014/main" id="{FAF42D46-832C-C03C-699B-38569889DDF2}"/>
              </a:ext>
              <a:ext uri="{C183D7F6-B498-43B3-948B-1728B52AA6E4}">
                <adec:decorative xmlns:adec="http://schemas.microsoft.com/office/drawing/2017/decorative" val="1"/>
              </a:ext>
            </a:extLst>
          </p:cNvPr>
          <p:cNvSpPr>
            <a:spLocks/>
          </p:cNvSpPr>
          <p:nvPr userDrawn="1"/>
        </p:nvSpPr>
        <p:spPr bwMode="auto">
          <a:xfrm>
            <a:off x="813396" y="1477697"/>
            <a:ext cx="671144" cy="6711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C13B66F4-D853-EFF9-E0D2-7B3B53311994}"/>
              </a:ext>
              <a:ext uri="{C183D7F6-B498-43B3-948B-1728B52AA6E4}">
                <adec:decorative xmlns:adec="http://schemas.microsoft.com/office/drawing/2017/decorative" val="1"/>
              </a:ext>
            </a:extLst>
          </p:cNvPr>
          <p:cNvSpPr>
            <a:spLocks/>
          </p:cNvSpPr>
          <p:nvPr userDrawn="1"/>
        </p:nvSpPr>
        <p:spPr bwMode="auto">
          <a:xfrm>
            <a:off x="8453152" y="2346963"/>
            <a:ext cx="671144" cy="6711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B77D05D4-1F85-C1EF-DFC0-244FC21DEFD6}"/>
              </a:ext>
              <a:ext uri="{C183D7F6-B498-43B3-948B-1728B52AA6E4}">
                <adec:decorative xmlns:adec="http://schemas.microsoft.com/office/drawing/2017/decorative" val="1"/>
              </a:ext>
            </a:extLst>
          </p:cNvPr>
          <p:cNvSpPr>
            <a:spLocks/>
          </p:cNvSpPr>
          <p:nvPr userDrawn="1"/>
        </p:nvSpPr>
        <p:spPr bwMode="auto">
          <a:xfrm>
            <a:off x="1845502" y="3216229"/>
            <a:ext cx="671144" cy="6711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F5F8D137-4557-635B-AD8E-A144A95FE060}"/>
              </a:ext>
              <a:ext uri="{C183D7F6-B498-43B3-948B-1728B52AA6E4}">
                <adec:decorative xmlns:adec="http://schemas.microsoft.com/office/drawing/2017/decorative" val="1"/>
              </a:ext>
            </a:extLst>
          </p:cNvPr>
          <p:cNvSpPr>
            <a:spLocks/>
          </p:cNvSpPr>
          <p:nvPr userDrawn="1"/>
        </p:nvSpPr>
        <p:spPr bwMode="auto">
          <a:xfrm>
            <a:off x="10692230" y="4085495"/>
            <a:ext cx="671144" cy="6711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Freeform: Shape 55">
            <a:extLst>
              <a:ext uri="{FF2B5EF4-FFF2-40B4-BE49-F238E27FC236}">
                <a16:creationId xmlns:a16="http://schemas.microsoft.com/office/drawing/2014/main" id="{9BA81F6C-D0EF-D42E-3EC7-D049A4C08F07}"/>
              </a:ext>
            </a:extLst>
          </p:cNvPr>
          <p:cNvSpPr>
            <a:spLocks/>
          </p:cNvSpPr>
          <p:nvPr userDrawn="1"/>
        </p:nvSpPr>
        <p:spPr bwMode="auto">
          <a:xfrm>
            <a:off x="8795540" y="2247901"/>
            <a:ext cx="434633" cy="86926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26CFB6D8-043A-31A0-28A6-F4CF6F60F94F}"/>
              </a:ext>
            </a:extLst>
          </p:cNvPr>
          <p:cNvCxnSpPr>
            <a:cxnSpLocks/>
            <a:stCxn id="11" idx="0"/>
            <a:endCxn id="17" idx="3"/>
          </p:cNvCxnSpPr>
          <p:nvPr userDrawn="1"/>
        </p:nvCxnSpPr>
        <p:spPr>
          <a:xfrm flipH="1">
            <a:off x="1132263" y="2247901"/>
            <a:ext cx="7663278" cy="0"/>
          </a:xfrm>
          <a:prstGeom prst="line">
            <a:avLst/>
          </a:prstGeom>
          <a:noFill/>
          <a:ln w="28575" cap="rnd" cmpd="sng" algn="ctr">
            <a:solidFill>
              <a:schemeClr val="tx1">
                <a:lumMod val="75000"/>
                <a:lumOff val="25000"/>
              </a:schemeClr>
            </a:solidFill>
            <a:prstDash val="solid"/>
            <a:headEnd type="none"/>
            <a:tailEnd type="none"/>
          </a:ln>
          <a:effectLst/>
        </p:spPr>
      </p:cxnSp>
      <p:cxnSp>
        <p:nvCxnSpPr>
          <p:cNvPr id="13" name="Straight Connector 12">
            <a:extLst>
              <a:ext uri="{FF2B5EF4-FFF2-40B4-BE49-F238E27FC236}">
                <a16:creationId xmlns:a16="http://schemas.microsoft.com/office/drawing/2014/main" id="{D72984F5-6D7C-8280-A796-A6EE2CB84C5A}"/>
              </a:ext>
            </a:extLst>
          </p:cNvPr>
          <p:cNvCxnSpPr>
            <a:cxnSpLocks/>
            <a:stCxn id="11" idx="3"/>
            <a:endCxn id="14" idx="0"/>
          </p:cNvCxnSpPr>
          <p:nvPr userDrawn="1"/>
        </p:nvCxnSpPr>
        <p:spPr>
          <a:xfrm flipH="1">
            <a:off x="2171974" y="3117167"/>
            <a:ext cx="6623566" cy="0"/>
          </a:xfrm>
          <a:prstGeom prst="line">
            <a:avLst/>
          </a:prstGeom>
          <a:noFill/>
          <a:ln w="28575" cap="rnd" cmpd="sng" algn="ctr">
            <a:solidFill>
              <a:schemeClr val="tx1">
                <a:lumMod val="75000"/>
                <a:lumOff val="25000"/>
              </a:schemeClr>
            </a:solidFill>
            <a:prstDash val="solid"/>
            <a:headEnd type="none"/>
            <a:tailEnd type="none"/>
          </a:ln>
          <a:effectLst/>
        </p:spPr>
      </p:cxnSp>
      <p:sp>
        <p:nvSpPr>
          <p:cNvPr id="14" name="Freeform: Shape 58">
            <a:extLst>
              <a:ext uri="{FF2B5EF4-FFF2-40B4-BE49-F238E27FC236}">
                <a16:creationId xmlns:a16="http://schemas.microsoft.com/office/drawing/2014/main" id="{D7D38586-CC09-296A-4B86-D9A2E767979B}"/>
              </a:ext>
            </a:extLst>
          </p:cNvPr>
          <p:cNvSpPr>
            <a:spLocks/>
          </p:cNvSpPr>
          <p:nvPr userDrawn="1"/>
        </p:nvSpPr>
        <p:spPr bwMode="auto">
          <a:xfrm flipH="1">
            <a:off x="1737342" y="3117167"/>
            <a:ext cx="434633" cy="86926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5" name="Straight Connector 14">
            <a:extLst>
              <a:ext uri="{FF2B5EF4-FFF2-40B4-BE49-F238E27FC236}">
                <a16:creationId xmlns:a16="http://schemas.microsoft.com/office/drawing/2014/main" id="{6BAB0545-A7CD-77B1-A03E-4006CC9E12CE}"/>
              </a:ext>
            </a:extLst>
          </p:cNvPr>
          <p:cNvCxnSpPr>
            <a:cxnSpLocks/>
            <a:stCxn id="16" idx="0"/>
            <a:endCxn id="14" idx="3"/>
          </p:cNvCxnSpPr>
          <p:nvPr userDrawn="1"/>
        </p:nvCxnSpPr>
        <p:spPr>
          <a:xfrm flipH="1" flipV="1">
            <a:off x="2171975" y="3986433"/>
            <a:ext cx="8867821" cy="1"/>
          </a:xfrm>
          <a:prstGeom prst="line">
            <a:avLst/>
          </a:prstGeom>
          <a:noFill/>
          <a:ln w="28575" cap="rnd" cmpd="sng" algn="ctr">
            <a:solidFill>
              <a:schemeClr val="tx1">
                <a:lumMod val="75000"/>
                <a:lumOff val="25000"/>
              </a:schemeClr>
            </a:solidFill>
            <a:prstDash val="solid"/>
            <a:headEnd type="none"/>
            <a:tailEnd type="none"/>
          </a:ln>
          <a:effectLst/>
        </p:spPr>
      </p:cxnSp>
      <p:sp>
        <p:nvSpPr>
          <p:cNvPr id="16" name="Freeform: Shape 60">
            <a:extLst>
              <a:ext uri="{FF2B5EF4-FFF2-40B4-BE49-F238E27FC236}">
                <a16:creationId xmlns:a16="http://schemas.microsoft.com/office/drawing/2014/main" id="{6478D155-003F-315A-6B79-BE440DD173E9}"/>
              </a:ext>
            </a:extLst>
          </p:cNvPr>
          <p:cNvSpPr>
            <a:spLocks/>
          </p:cNvSpPr>
          <p:nvPr userDrawn="1"/>
        </p:nvSpPr>
        <p:spPr bwMode="auto">
          <a:xfrm>
            <a:off x="11039795" y="3986434"/>
            <a:ext cx="434633" cy="86926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sp>
        <p:nvSpPr>
          <p:cNvPr id="17" name="Freeform: Shape 160">
            <a:extLst>
              <a:ext uri="{FF2B5EF4-FFF2-40B4-BE49-F238E27FC236}">
                <a16:creationId xmlns:a16="http://schemas.microsoft.com/office/drawing/2014/main" id="{B7067515-DA1A-6EA1-4D4E-1B5A214A3621}"/>
              </a:ext>
            </a:extLst>
          </p:cNvPr>
          <p:cNvSpPr>
            <a:spLocks/>
          </p:cNvSpPr>
          <p:nvPr userDrawn="1"/>
        </p:nvSpPr>
        <p:spPr bwMode="auto">
          <a:xfrm flipH="1">
            <a:off x="697630" y="1378635"/>
            <a:ext cx="434633" cy="86926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18" name="Straight Connector 17">
            <a:extLst>
              <a:ext uri="{FF2B5EF4-FFF2-40B4-BE49-F238E27FC236}">
                <a16:creationId xmlns:a16="http://schemas.microsoft.com/office/drawing/2014/main" id="{6B5E7CA0-B48B-0987-9989-4F34AE86F08D}"/>
              </a:ext>
            </a:extLst>
          </p:cNvPr>
          <p:cNvCxnSpPr>
            <a:cxnSpLocks/>
            <a:endCxn id="17" idx="0"/>
          </p:cNvCxnSpPr>
          <p:nvPr userDrawn="1"/>
        </p:nvCxnSpPr>
        <p:spPr>
          <a:xfrm flipH="1">
            <a:off x="1132262" y="1378634"/>
            <a:ext cx="11059739" cy="1"/>
          </a:xfrm>
          <a:prstGeom prst="line">
            <a:avLst/>
          </a:prstGeom>
          <a:noFill/>
          <a:ln w="28575"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9B3794EE-1869-19DB-CCC0-8530D7EB24C9}"/>
              </a:ext>
            </a:extLst>
          </p:cNvPr>
          <p:cNvCxnSpPr>
            <a:cxnSpLocks/>
            <a:stCxn id="16" idx="3"/>
            <a:endCxn id="7" idx="0"/>
          </p:cNvCxnSpPr>
          <p:nvPr userDrawn="1"/>
        </p:nvCxnSpPr>
        <p:spPr>
          <a:xfrm flipH="1">
            <a:off x="3172636" y="4855700"/>
            <a:ext cx="7867159" cy="0"/>
          </a:xfrm>
          <a:prstGeom prst="line">
            <a:avLst/>
          </a:prstGeom>
          <a:noFill/>
          <a:ln w="28575" cap="rnd" cmpd="sng" algn="ctr">
            <a:solidFill>
              <a:schemeClr val="tx1">
                <a:lumMod val="75000"/>
                <a:lumOff val="25000"/>
              </a:schemeClr>
            </a:solidFill>
            <a:prstDash val="solid"/>
            <a:headEnd type="none"/>
            <a:tailEnd type="none"/>
          </a:ln>
          <a:effectLst/>
        </p:spPr>
      </p:cxnSp>
      <p:sp>
        <p:nvSpPr>
          <p:cNvPr id="27" name="Text Placeholder 24">
            <a:extLst>
              <a:ext uri="{FF2B5EF4-FFF2-40B4-BE49-F238E27FC236}">
                <a16:creationId xmlns:a16="http://schemas.microsoft.com/office/drawing/2014/main" id="{2B4B5852-8E64-5F7B-B7A4-8A82A14C0C8C}"/>
              </a:ext>
            </a:extLst>
          </p:cNvPr>
          <p:cNvSpPr>
            <a:spLocks noGrp="1"/>
          </p:cNvSpPr>
          <p:nvPr>
            <p:ph type="body" sz="quarter" idx="11" hasCustomPrompt="1"/>
          </p:nvPr>
        </p:nvSpPr>
        <p:spPr>
          <a:xfrm>
            <a:off x="697630" y="2525726"/>
            <a:ext cx="7484217" cy="313616"/>
          </a:xfrm>
          <a:prstGeom prst="rect">
            <a:avLst/>
          </a:prstGeom>
        </p:spPr>
        <p:txBody>
          <a:bodyPr wrap="square" lIns="0" tIns="0" rIns="0" bIns="0" anchor="ctr">
            <a:spAutoFit/>
          </a:bodyPr>
          <a:lstStyle>
            <a:lvl1pPr marL="0" indent="0" algn="r" defTabSz="914400" rtl="0" eaLnBrk="1" latinLnBrk="0" hangingPunct="1">
              <a:buFont typeface="Arial" panose="020B0604020202020204" pitchFamily="34" charset="0"/>
              <a:buNone/>
              <a:defRPr lang="en-US" sz="18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28" name="Text Placeholder 24">
            <a:extLst>
              <a:ext uri="{FF2B5EF4-FFF2-40B4-BE49-F238E27FC236}">
                <a16:creationId xmlns:a16="http://schemas.microsoft.com/office/drawing/2014/main" id="{FDA7BE67-8215-D090-ACB4-B5E735664293}"/>
              </a:ext>
            </a:extLst>
          </p:cNvPr>
          <p:cNvSpPr>
            <a:spLocks noGrp="1"/>
          </p:cNvSpPr>
          <p:nvPr>
            <p:ph type="body" sz="quarter" idx="12" hasCustomPrompt="1"/>
          </p:nvPr>
        </p:nvSpPr>
        <p:spPr>
          <a:xfrm>
            <a:off x="2738004" y="3394992"/>
            <a:ext cx="759979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18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29" name="Text Placeholder 24">
            <a:extLst>
              <a:ext uri="{FF2B5EF4-FFF2-40B4-BE49-F238E27FC236}">
                <a16:creationId xmlns:a16="http://schemas.microsoft.com/office/drawing/2014/main" id="{2F9FD5D4-CE6C-9F8D-2062-395AC63F79DF}"/>
              </a:ext>
            </a:extLst>
          </p:cNvPr>
          <p:cNvSpPr>
            <a:spLocks noGrp="1"/>
          </p:cNvSpPr>
          <p:nvPr>
            <p:ph type="body" sz="quarter" idx="13" hasCustomPrompt="1"/>
          </p:nvPr>
        </p:nvSpPr>
        <p:spPr>
          <a:xfrm>
            <a:off x="1737340" y="4264258"/>
            <a:ext cx="8702060" cy="313616"/>
          </a:xfrm>
          <a:prstGeom prst="rect">
            <a:avLst/>
          </a:prstGeom>
        </p:spPr>
        <p:txBody>
          <a:bodyPr wrap="square" lIns="0" tIns="0" rIns="0" bIns="0" anchor="ctr">
            <a:spAutoFit/>
          </a:bodyPr>
          <a:lstStyle>
            <a:lvl1pPr marL="0" indent="0" algn="r" defTabSz="914400" rtl="0" eaLnBrk="1" latinLnBrk="0" hangingPunct="1">
              <a:buFont typeface="Arial" panose="020B0604020202020204" pitchFamily="34" charset="0"/>
              <a:buNone/>
              <a:defRPr lang="en-US" sz="18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7" name="Freeform: Shape 160">
            <a:extLst>
              <a:ext uri="{FF2B5EF4-FFF2-40B4-BE49-F238E27FC236}">
                <a16:creationId xmlns:a16="http://schemas.microsoft.com/office/drawing/2014/main" id="{DDA29E0B-C556-2526-A2C5-C4B54E65EFB8}"/>
              </a:ext>
            </a:extLst>
          </p:cNvPr>
          <p:cNvSpPr>
            <a:spLocks/>
          </p:cNvSpPr>
          <p:nvPr userDrawn="1"/>
        </p:nvSpPr>
        <p:spPr bwMode="auto">
          <a:xfrm flipH="1">
            <a:off x="2738004" y="4855700"/>
            <a:ext cx="434633" cy="869266"/>
          </a:xfrm>
          <a:custGeom>
            <a:avLst/>
            <a:gdLst>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6" fmla="*/ 91440 w 11435501"/>
              <a:gd name="connsiteY6" fmla="*/ 91440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5" fmla="*/ 0 w 11435501"/>
              <a:gd name="connsiteY5" fmla="*/ 10006 h 1337924"/>
              <a:gd name="connsiteX0" fmla="*/ 0 w 11435501"/>
              <a:gd name="connsiteY0" fmla="*/ 0 h 1337924"/>
              <a:gd name="connsiteX1" fmla="*/ 10766539 w 11435501"/>
              <a:gd name="connsiteY1" fmla="*/ 0 h 1337924"/>
              <a:gd name="connsiteX2" fmla="*/ 11435501 w 11435501"/>
              <a:gd name="connsiteY2" fmla="*/ 668962 h 1337924"/>
              <a:gd name="connsiteX3" fmla="*/ 11435500 w 11435501"/>
              <a:gd name="connsiteY3" fmla="*/ 668962 h 1337924"/>
              <a:gd name="connsiteX4" fmla="*/ 10766538 w 11435501"/>
              <a:gd name="connsiteY4" fmla="*/ 1337924 h 1337924"/>
              <a:gd name="connsiteX0" fmla="*/ 0 w 10806850"/>
              <a:gd name="connsiteY0" fmla="*/ 0 h 1340306"/>
              <a:gd name="connsiteX1" fmla="*/ 10137888 w 10806850"/>
              <a:gd name="connsiteY1" fmla="*/ 2382 h 1340306"/>
              <a:gd name="connsiteX2" fmla="*/ 10806850 w 10806850"/>
              <a:gd name="connsiteY2" fmla="*/ 671344 h 1340306"/>
              <a:gd name="connsiteX3" fmla="*/ 10806849 w 10806850"/>
              <a:gd name="connsiteY3" fmla="*/ 671344 h 1340306"/>
              <a:gd name="connsiteX4" fmla="*/ 10137887 w 10806850"/>
              <a:gd name="connsiteY4" fmla="*/ 1340306 h 1340306"/>
              <a:gd name="connsiteX0" fmla="*/ 0 w 10754462"/>
              <a:gd name="connsiteY0" fmla="*/ 0 h 1340306"/>
              <a:gd name="connsiteX1" fmla="*/ 10085500 w 10754462"/>
              <a:gd name="connsiteY1" fmla="*/ 2382 h 1340306"/>
              <a:gd name="connsiteX2" fmla="*/ 10754462 w 10754462"/>
              <a:gd name="connsiteY2" fmla="*/ 671344 h 1340306"/>
              <a:gd name="connsiteX3" fmla="*/ 10754461 w 10754462"/>
              <a:gd name="connsiteY3" fmla="*/ 671344 h 1340306"/>
              <a:gd name="connsiteX4" fmla="*/ 10085499 w 10754462"/>
              <a:gd name="connsiteY4" fmla="*/ 1340306 h 1340306"/>
              <a:gd name="connsiteX0" fmla="*/ 0 w 10259162"/>
              <a:gd name="connsiteY0" fmla="*/ 0 h 1346656"/>
              <a:gd name="connsiteX1" fmla="*/ 9590200 w 10259162"/>
              <a:gd name="connsiteY1" fmla="*/ 8732 h 1346656"/>
              <a:gd name="connsiteX2" fmla="*/ 10259162 w 10259162"/>
              <a:gd name="connsiteY2" fmla="*/ 677694 h 1346656"/>
              <a:gd name="connsiteX3" fmla="*/ 10259161 w 10259162"/>
              <a:gd name="connsiteY3" fmla="*/ 677694 h 1346656"/>
              <a:gd name="connsiteX4" fmla="*/ 9590199 w 10259162"/>
              <a:gd name="connsiteY4" fmla="*/ 1346656 h 1346656"/>
              <a:gd name="connsiteX0" fmla="*/ 0 w 9732112"/>
              <a:gd name="connsiteY0" fmla="*/ 0 h 1346656"/>
              <a:gd name="connsiteX1" fmla="*/ 9063150 w 9732112"/>
              <a:gd name="connsiteY1" fmla="*/ 8732 h 1346656"/>
              <a:gd name="connsiteX2" fmla="*/ 9732112 w 9732112"/>
              <a:gd name="connsiteY2" fmla="*/ 677694 h 1346656"/>
              <a:gd name="connsiteX3" fmla="*/ 9732111 w 9732112"/>
              <a:gd name="connsiteY3" fmla="*/ 677694 h 1346656"/>
              <a:gd name="connsiteX4" fmla="*/ 9063149 w 9732112"/>
              <a:gd name="connsiteY4" fmla="*/ 1346656 h 1346656"/>
              <a:gd name="connsiteX0" fmla="*/ 0 w 9736875"/>
              <a:gd name="connsiteY0" fmla="*/ 0 h 1341893"/>
              <a:gd name="connsiteX1" fmla="*/ 9067913 w 9736875"/>
              <a:gd name="connsiteY1" fmla="*/ 3969 h 1341893"/>
              <a:gd name="connsiteX2" fmla="*/ 9736875 w 9736875"/>
              <a:gd name="connsiteY2" fmla="*/ 672931 h 1341893"/>
              <a:gd name="connsiteX3" fmla="*/ 9736874 w 9736875"/>
              <a:gd name="connsiteY3" fmla="*/ 672931 h 1341893"/>
              <a:gd name="connsiteX4" fmla="*/ 9067912 w 9736875"/>
              <a:gd name="connsiteY4" fmla="*/ 1341893 h 1341893"/>
              <a:gd name="connsiteX0" fmla="*/ 1 w 668963"/>
              <a:gd name="connsiteY0" fmla="*/ 0 h 1337924"/>
              <a:gd name="connsiteX1" fmla="*/ 668963 w 668963"/>
              <a:gd name="connsiteY1" fmla="*/ 668962 h 1337924"/>
              <a:gd name="connsiteX2" fmla="*/ 668962 w 668963"/>
              <a:gd name="connsiteY2" fmla="*/ 668962 h 1337924"/>
              <a:gd name="connsiteX3" fmla="*/ 0 w 668963"/>
              <a:gd name="connsiteY3" fmla="*/ 1337924 h 1337924"/>
            </a:gdLst>
            <a:ahLst/>
            <a:cxnLst>
              <a:cxn ang="0">
                <a:pos x="connsiteX0" y="connsiteY0"/>
              </a:cxn>
              <a:cxn ang="0">
                <a:pos x="connsiteX1" y="connsiteY1"/>
              </a:cxn>
              <a:cxn ang="0">
                <a:pos x="connsiteX2" y="connsiteY2"/>
              </a:cxn>
              <a:cxn ang="0">
                <a:pos x="connsiteX3" y="connsiteY3"/>
              </a:cxn>
            </a:cxnLst>
            <a:rect l="l" t="t" r="r" b="b"/>
            <a:pathLst>
              <a:path w="668963" h="1337924">
                <a:moveTo>
                  <a:pt x="1" y="0"/>
                </a:moveTo>
                <a:cubicBezTo>
                  <a:pt x="369459" y="0"/>
                  <a:pt x="668963" y="299504"/>
                  <a:pt x="668963" y="668962"/>
                </a:cubicBezTo>
                <a:lnTo>
                  <a:pt x="668962" y="668962"/>
                </a:lnTo>
                <a:cubicBezTo>
                  <a:pt x="668962" y="1038420"/>
                  <a:pt x="369458" y="1337924"/>
                  <a:pt x="0" y="1337924"/>
                </a:cubicBezTo>
              </a:path>
            </a:pathLst>
          </a:custGeom>
          <a:noFill/>
          <a:ln w="28575" cap="rnd" cmpd="sng" algn="ctr">
            <a:solidFill>
              <a:schemeClr val="tx1">
                <a:lumMod val="75000"/>
                <a:lumOff val="25000"/>
              </a:schemeClr>
            </a:solidFill>
            <a:prstDash val="solid"/>
            <a:headEnd type="none"/>
            <a:tailEnd type="none"/>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err="1">
              <a:solidFill>
                <a:schemeClr val="bg1"/>
              </a:solidFill>
              <a:ea typeface="Segoe UI" pitchFamily="34" charset="0"/>
              <a:cs typeface="Segoe UI" pitchFamily="34" charset="0"/>
            </a:endParaRPr>
          </a:p>
        </p:txBody>
      </p:sp>
      <p:cxnSp>
        <p:nvCxnSpPr>
          <p:cNvPr id="20" name="Straight Connector 19">
            <a:extLst>
              <a:ext uri="{FF2B5EF4-FFF2-40B4-BE49-F238E27FC236}">
                <a16:creationId xmlns:a16="http://schemas.microsoft.com/office/drawing/2014/main" id="{2748EACC-DD69-2836-7D2A-846D4D66329A}"/>
              </a:ext>
            </a:extLst>
          </p:cNvPr>
          <p:cNvCxnSpPr>
            <a:cxnSpLocks/>
            <a:endCxn id="7" idx="3"/>
          </p:cNvCxnSpPr>
          <p:nvPr userDrawn="1"/>
        </p:nvCxnSpPr>
        <p:spPr>
          <a:xfrm flipH="1">
            <a:off x="3172637" y="5724966"/>
            <a:ext cx="9019363" cy="0"/>
          </a:xfrm>
          <a:prstGeom prst="line">
            <a:avLst/>
          </a:prstGeom>
          <a:noFill/>
          <a:ln w="28575" cap="rnd" cmpd="sng" algn="ctr">
            <a:solidFill>
              <a:schemeClr val="tx1">
                <a:lumMod val="75000"/>
                <a:lumOff val="25000"/>
              </a:schemeClr>
            </a:solidFill>
            <a:prstDash val="solid"/>
            <a:headEnd type="none"/>
            <a:tailEnd type="none"/>
          </a:ln>
          <a:effectLst/>
        </p:spPr>
      </p:cxnSp>
      <p:sp>
        <p:nvSpPr>
          <p:cNvPr id="32" name="Oval 31">
            <a:extLst>
              <a:ext uri="{FF2B5EF4-FFF2-40B4-BE49-F238E27FC236}">
                <a16:creationId xmlns:a16="http://schemas.microsoft.com/office/drawing/2014/main" id="{6F2547CD-1762-781D-3C25-E835BE1DE4DE}"/>
              </a:ext>
              <a:ext uri="{C183D7F6-B498-43B3-948B-1728B52AA6E4}">
                <adec:decorative xmlns:adec="http://schemas.microsoft.com/office/drawing/2017/decorative" val="1"/>
              </a:ext>
            </a:extLst>
          </p:cNvPr>
          <p:cNvSpPr>
            <a:spLocks/>
          </p:cNvSpPr>
          <p:nvPr userDrawn="1"/>
        </p:nvSpPr>
        <p:spPr bwMode="auto">
          <a:xfrm>
            <a:off x="2853770" y="4954761"/>
            <a:ext cx="671144" cy="6711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Text Placeholder 24">
            <a:extLst>
              <a:ext uri="{FF2B5EF4-FFF2-40B4-BE49-F238E27FC236}">
                <a16:creationId xmlns:a16="http://schemas.microsoft.com/office/drawing/2014/main" id="{0FB043A6-3043-BC0D-B08F-E0E74499163B}"/>
              </a:ext>
            </a:extLst>
          </p:cNvPr>
          <p:cNvSpPr>
            <a:spLocks noGrp="1"/>
          </p:cNvSpPr>
          <p:nvPr>
            <p:ph type="body" sz="quarter" idx="14" hasCustomPrompt="1"/>
          </p:nvPr>
        </p:nvSpPr>
        <p:spPr>
          <a:xfrm>
            <a:off x="3740763" y="5133525"/>
            <a:ext cx="7484217" cy="313616"/>
          </a:xfrm>
          <a:prstGeom prst="rect">
            <a:avLst/>
          </a:prstGeom>
        </p:spPr>
        <p:txBody>
          <a:bodyPr wrap="square" lIns="0" tIns="0" rIns="0" bIns="0" anchor="ctr">
            <a:spAutoFit/>
          </a:bodyPr>
          <a:lstStyle>
            <a:lvl1pPr marL="0" indent="0" algn="l" defTabSz="914400" rtl="0" eaLnBrk="1" latinLnBrk="0" hangingPunct="1">
              <a:buFont typeface="Arial" panose="020B0604020202020204" pitchFamily="34" charset="0"/>
              <a:buNone/>
              <a:defRPr lang="en-US" sz="1800" kern="1200" dirty="0" smtClean="0">
                <a:solidFill>
                  <a:schemeClr val="bg1"/>
                </a:solidFill>
                <a:latin typeface="+mn-lt"/>
                <a:ea typeface="+mn-ea"/>
                <a:cs typeface="+mn-cs"/>
              </a:defRPr>
            </a:lvl1pPr>
            <a:lvl2pPr marL="0" algn="l" defTabSz="914400" rtl="0" eaLnBrk="1" latinLnBrk="0" hangingPunct="1">
              <a:defRPr lang="en-US" sz="2000" kern="1200" dirty="0" smtClean="0">
                <a:solidFill>
                  <a:schemeClr val="bg1"/>
                </a:solidFill>
                <a:latin typeface="+mn-lt"/>
                <a:ea typeface="+mn-ea"/>
                <a:cs typeface="+mn-cs"/>
              </a:defRPr>
            </a:lvl2pPr>
            <a:lvl3pPr marL="0" algn="l" defTabSz="914400" rtl="0" eaLnBrk="1" latinLnBrk="0" hangingPunct="1">
              <a:defRPr lang="en-US" sz="2000" kern="1200" dirty="0" smtClean="0">
                <a:solidFill>
                  <a:schemeClr val="bg1"/>
                </a:solidFill>
                <a:latin typeface="+mn-lt"/>
                <a:ea typeface="+mn-ea"/>
                <a:cs typeface="+mn-cs"/>
              </a:defRPr>
            </a:lvl3pPr>
            <a:lvl4pPr marL="0" algn="l" defTabSz="914400" rtl="0" eaLnBrk="1" latinLnBrk="0" hangingPunct="1">
              <a:defRPr lang="en-US" sz="2000" kern="1200" dirty="0" smtClean="0">
                <a:solidFill>
                  <a:schemeClr val="bg1"/>
                </a:solidFill>
                <a:latin typeface="+mn-lt"/>
                <a:ea typeface="+mn-ea"/>
                <a:cs typeface="+mn-cs"/>
              </a:defRPr>
            </a:lvl4pPr>
            <a:lvl5pPr marL="0" algn="l" defTabSz="914400" rtl="0" eaLnBrk="1" latinLnBrk="0" hangingPunct="1">
              <a:defRPr lang="en-US" sz="2000" kern="1200" dirty="0">
                <a:solidFill>
                  <a:schemeClr val="bg1"/>
                </a:solidFill>
                <a:latin typeface="+mn-lt"/>
                <a:ea typeface="+mn-ea"/>
                <a:cs typeface="+mn-cs"/>
              </a:defRPr>
            </a:lvl5pPr>
          </a:lstStyle>
          <a:p>
            <a:r>
              <a:rPr lang="en-US" sz="2000">
                <a:solidFill>
                  <a:schemeClr val="bg1"/>
                </a:solidFill>
              </a:rPr>
              <a:t>Lorem ipsum dolor sit </a:t>
            </a:r>
            <a:r>
              <a:rPr lang="en-US" sz="2000" err="1">
                <a:solidFill>
                  <a:schemeClr val="bg1"/>
                </a:solidFill>
              </a:rPr>
              <a:t>amet</a:t>
            </a:r>
            <a:endParaRPr lang="en-US" sz="2000">
              <a:solidFill>
                <a:schemeClr val="bg1"/>
              </a:solidFill>
            </a:endParaRPr>
          </a:p>
        </p:txBody>
      </p:sp>
      <p:sp>
        <p:nvSpPr>
          <p:cNvPr id="3" name="Footer Placeholder 2">
            <a:extLst>
              <a:ext uri="{FF2B5EF4-FFF2-40B4-BE49-F238E27FC236}">
                <a16:creationId xmlns:a16="http://schemas.microsoft.com/office/drawing/2014/main" id="{3FCFCF7E-F237-E71E-E70F-05BE1467CAB8}"/>
              </a:ext>
            </a:extLst>
          </p:cNvPr>
          <p:cNvSpPr>
            <a:spLocks noGrp="1"/>
          </p:cNvSpPr>
          <p:nvPr>
            <p:ph type="ftr" sz="quarter" idx="15"/>
          </p:nvPr>
        </p:nvSpPr>
        <p:spPr/>
        <p:txBody>
          <a:bodyPr/>
          <a:lstStyle/>
          <a:p>
            <a:r>
              <a:rPr lang="en-US"/>
              <a:t>Microsoft Confidential</a:t>
            </a:r>
          </a:p>
        </p:txBody>
      </p:sp>
    </p:spTree>
    <p:extLst>
      <p:ext uri="{BB962C8B-B14F-4D97-AF65-F5344CB8AC3E}">
        <p14:creationId xmlns:p14="http://schemas.microsoft.com/office/powerpoint/2010/main" val="23383525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w/3 colum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9C9AD-BE37-ED32-11A2-13D2C3697101}"/>
              </a:ext>
              <a:ext uri="{C183D7F6-B498-43B3-948B-1728B52AA6E4}">
                <adec:decorative xmlns:adec="http://schemas.microsoft.com/office/drawing/2017/decorative" val="1"/>
              </a:ext>
            </a:extLst>
          </p:cNvPr>
          <p:cNvPicPr>
            <a:picLocks/>
          </p:cNvPicPr>
          <p:nvPr userDrawn="1"/>
        </p:nvPicPr>
        <p:blipFill rotWithShape="1">
          <a:blip r:embed="rId2" cstate="screen">
            <a:extLst>
              <a:ext uri="{BEBA8EAE-BF5A-486C-A8C5-ECC9F3942E4B}">
                <a14:imgProps xmlns:a14="http://schemas.microsoft.com/office/drawing/2010/main">
                  <a14:imgLayer r:embed="rId3">
                    <a14:imgEffect>
                      <a14:colorTemperature colorTemp="4000"/>
                    </a14:imgEffect>
                    <a14:imgEffect>
                      <a14:brightnessContrast bright="33000" contrast="29000"/>
                    </a14:imgEffect>
                  </a14:imgLayer>
                </a14:imgProps>
              </a:ext>
              <a:ext uri="{28A0092B-C50C-407E-A947-70E740481C1C}">
                <a14:useLocalDpi xmlns:a14="http://schemas.microsoft.com/office/drawing/2010/main"/>
              </a:ext>
            </a:extLst>
          </a:blip>
          <a:srcRect t="1" b="35733"/>
          <a:stretch/>
        </p:blipFill>
        <p:spPr>
          <a:xfrm>
            <a:off x="1" y="0"/>
            <a:ext cx="12192000" cy="4407411"/>
          </a:xfrm>
          <a:prstGeom prst="rect">
            <a:avLst/>
          </a:prstGeom>
        </p:spPr>
      </p:pic>
      <p:sp>
        <p:nvSpPr>
          <p:cNvPr id="4" name="Rectangle 3">
            <a:extLst>
              <a:ext uri="{FF2B5EF4-FFF2-40B4-BE49-F238E27FC236}">
                <a16:creationId xmlns:a16="http://schemas.microsoft.com/office/drawing/2014/main" id="{03BF0C16-DD9D-0630-3EDE-16C70AFDAF4C}"/>
              </a:ext>
            </a:extLst>
          </p:cNvPr>
          <p:cNvSpPr>
            <a:spLocks/>
          </p:cNvSpPr>
          <p:nvPr userDrawn="1"/>
        </p:nvSpPr>
        <p:spPr bwMode="auto">
          <a:xfrm>
            <a:off x="0" y="0"/>
            <a:ext cx="12192000" cy="4535961"/>
          </a:xfrm>
          <a:prstGeom prst="rect">
            <a:avLst/>
          </a:prstGeom>
          <a:gradFill flip="none" rotWithShape="1">
            <a:gsLst>
              <a:gs pos="43000">
                <a:schemeClr val="tx1"/>
              </a:gs>
              <a:gs pos="100000">
                <a:schemeClr val="tx1">
                  <a:alpha val="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D4A92AA-89A0-C9ED-A633-6BD68A192BF5}"/>
              </a:ext>
            </a:extLst>
          </p:cNvPr>
          <p:cNvSpPr/>
          <p:nvPr userDrawn="1"/>
        </p:nvSpPr>
        <p:spPr bwMode="auto">
          <a:xfrm>
            <a:off x="-536" y="3210339"/>
            <a:ext cx="12192000" cy="1858617"/>
          </a:xfrm>
          <a:prstGeom prst="rect">
            <a:avLst/>
          </a:prstGeom>
          <a:gradFill>
            <a:gsLst>
              <a:gs pos="48000">
                <a:srgbClr val="0D0D0D"/>
              </a:gs>
              <a:gs pos="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BE1959E1-7FBD-5DCA-7102-23489885B64E}"/>
              </a:ext>
            </a:extLst>
          </p:cNvPr>
          <p:cNvCxnSpPr>
            <a:cxnSpLocks/>
          </p:cNvCxnSpPr>
          <p:nvPr userDrawn="1"/>
        </p:nvCxnSpPr>
        <p:spPr>
          <a:xfrm flipH="1">
            <a:off x="8101703" y="3293366"/>
            <a:ext cx="26517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1CDF33-A182-786F-6188-CAECC9148BC4}"/>
              </a:ext>
            </a:extLst>
          </p:cNvPr>
          <p:cNvCxnSpPr>
            <a:cxnSpLocks/>
          </p:cNvCxnSpPr>
          <p:nvPr userDrawn="1"/>
        </p:nvCxnSpPr>
        <p:spPr>
          <a:xfrm flipH="1">
            <a:off x="4770120" y="3293366"/>
            <a:ext cx="26517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EA4C07A-59BC-9E97-55E3-55CCB2510A30}"/>
              </a:ext>
            </a:extLst>
          </p:cNvPr>
          <p:cNvCxnSpPr>
            <a:cxnSpLocks/>
          </p:cNvCxnSpPr>
          <p:nvPr userDrawn="1"/>
        </p:nvCxnSpPr>
        <p:spPr>
          <a:xfrm flipH="1">
            <a:off x="1438536" y="3293366"/>
            <a:ext cx="26517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B19ACB49-8040-127D-7020-EC0FFFF2561C}"/>
              </a:ext>
              <a:ext uri="{C183D7F6-B498-43B3-948B-1728B52AA6E4}">
                <adec:decorative xmlns:adec="http://schemas.microsoft.com/office/drawing/2017/decorative" val="1"/>
              </a:ext>
            </a:extLst>
          </p:cNvPr>
          <p:cNvSpPr>
            <a:spLocks/>
          </p:cNvSpPr>
          <p:nvPr userDrawn="1"/>
        </p:nvSpPr>
        <p:spPr bwMode="auto">
          <a:xfrm>
            <a:off x="7970523" y="3293366"/>
            <a:ext cx="2914122"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3C31A40D-8C8C-6D33-70F3-C4738D188D0E}"/>
              </a:ext>
              <a:ext uri="{C183D7F6-B498-43B3-948B-1728B52AA6E4}">
                <adec:decorative xmlns:adec="http://schemas.microsoft.com/office/drawing/2017/decorative" val="1"/>
              </a:ext>
            </a:extLst>
          </p:cNvPr>
          <p:cNvSpPr>
            <a:spLocks/>
          </p:cNvSpPr>
          <p:nvPr userDrawn="1"/>
        </p:nvSpPr>
        <p:spPr bwMode="auto">
          <a:xfrm>
            <a:off x="4638939" y="3293366"/>
            <a:ext cx="2914122"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E5020D6F-7997-C29A-5B96-37525A4AB393}"/>
              </a:ext>
              <a:ext uri="{C183D7F6-B498-43B3-948B-1728B52AA6E4}">
                <adec:decorative xmlns:adec="http://schemas.microsoft.com/office/drawing/2017/decorative" val="1"/>
              </a:ext>
            </a:extLst>
          </p:cNvPr>
          <p:cNvSpPr>
            <a:spLocks/>
          </p:cNvSpPr>
          <p:nvPr userDrawn="1"/>
        </p:nvSpPr>
        <p:spPr bwMode="auto">
          <a:xfrm>
            <a:off x="1307355" y="3293366"/>
            <a:ext cx="2914122"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73100" y="2489685"/>
            <a:ext cx="10845800" cy="553998"/>
          </a:xfrm>
        </p:spPr>
        <p:txBody>
          <a:bodyPr/>
          <a:lstStyle>
            <a:lvl1pPr algn="ctr">
              <a:defRPr>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CE60473-9747-0F22-8178-7CEF80EC7292}"/>
              </a:ext>
            </a:extLst>
          </p:cNvPr>
          <p:cNvSpPr/>
          <p:nvPr userDrawn="1"/>
        </p:nvSpPr>
        <p:spPr bwMode="auto">
          <a:xfrm rot="10800000">
            <a:off x="0" y="4452093"/>
            <a:ext cx="12192000" cy="2405907"/>
          </a:xfrm>
          <a:prstGeom prst="rect">
            <a:avLst/>
          </a:prstGeom>
          <a:gradFill>
            <a:gsLst>
              <a:gs pos="100000">
                <a:srgbClr val="0D0D0D">
                  <a:alpha val="0"/>
                </a:srgbClr>
              </a:gs>
              <a:gs pos="3700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5EF28EA-DF61-86DF-F1EE-141B1A88AB5B}"/>
              </a:ext>
              <a:ext uri="{C183D7F6-B498-43B3-948B-1728B52AA6E4}">
                <adec:decorative xmlns:adec="http://schemas.microsoft.com/office/drawing/2017/decorative" val="1"/>
              </a:ext>
            </a:extLst>
          </p:cNvPr>
          <p:cNvSpPr/>
          <p:nvPr userDrawn="1"/>
        </p:nvSpPr>
        <p:spPr bwMode="auto">
          <a:xfrm>
            <a:off x="2354733"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0" name="Oval 29">
            <a:extLst>
              <a:ext uri="{FF2B5EF4-FFF2-40B4-BE49-F238E27FC236}">
                <a16:creationId xmlns:a16="http://schemas.microsoft.com/office/drawing/2014/main" id="{D31C61E6-6C39-1E52-7A48-A1B8519F5208}"/>
              </a:ext>
              <a:ext uri="{C183D7F6-B498-43B3-948B-1728B52AA6E4}">
                <adec:decorative xmlns:adec="http://schemas.microsoft.com/office/drawing/2017/decorative" val="1"/>
              </a:ext>
            </a:extLst>
          </p:cNvPr>
          <p:cNvSpPr/>
          <p:nvPr userDrawn="1"/>
        </p:nvSpPr>
        <p:spPr bwMode="auto">
          <a:xfrm>
            <a:off x="5686317"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3" name="Oval 32">
            <a:extLst>
              <a:ext uri="{FF2B5EF4-FFF2-40B4-BE49-F238E27FC236}">
                <a16:creationId xmlns:a16="http://schemas.microsoft.com/office/drawing/2014/main" id="{3BF611D1-3095-5DAE-E977-01BB46207694}"/>
              </a:ext>
              <a:ext uri="{C183D7F6-B498-43B3-948B-1728B52AA6E4}">
                <adec:decorative xmlns:adec="http://schemas.microsoft.com/office/drawing/2017/decorative" val="1"/>
              </a:ext>
            </a:extLst>
          </p:cNvPr>
          <p:cNvSpPr/>
          <p:nvPr userDrawn="1"/>
        </p:nvSpPr>
        <p:spPr bwMode="auto">
          <a:xfrm>
            <a:off x="9017901"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40" name="Text Placeholder 38">
            <a:extLst>
              <a:ext uri="{FF2B5EF4-FFF2-40B4-BE49-F238E27FC236}">
                <a16:creationId xmlns:a16="http://schemas.microsoft.com/office/drawing/2014/main" id="{4E9A5199-2E73-63CD-0FBA-0A10A12781F5}"/>
              </a:ext>
            </a:extLst>
          </p:cNvPr>
          <p:cNvSpPr>
            <a:spLocks noGrp="1"/>
          </p:cNvSpPr>
          <p:nvPr>
            <p:ph type="body" sz="quarter" idx="11" hasCustomPrompt="1"/>
          </p:nvPr>
        </p:nvSpPr>
        <p:spPr>
          <a:xfrm>
            <a:off x="1425488" y="4465164"/>
            <a:ext cx="2677856" cy="998537"/>
          </a:xfrm>
          <a:prstGeom prst="rect">
            <a:avLst/>
          </a:prstGeom>
        </p:spPr>
        <p:txBody>
          <a:bodyPr lIns="0" tIns="0" rIns="0" bIns="0"/>
          <a:lstStyle>
            <a:lvl1pPr marL="0" indent="0" algn="ctr">
              <a:buNone/>
              <a:defRPr sz="1600"/>
            </a:lvl1pPr>
          </a:lstStyle>
          <a:p>
            <a:pPr lvl="0"/>
            <a:r>
              <a:rPr lang="en-US"/>
              <a:t>Lorem Ipsum</a:t>
            </a:r>
          </a:p>
        </p:txBody>
      </p:sp>
      <p:sp>
        <p:nvSpPr>
          <p:cNvPr id="41" name="Text Placeholder 38">
            <a:extLst>
              <a:ext uri="{FF2B5EF4-FFF2-40B4-BE49-F238E27FC236}">
                <a16:creationId xmlns:a16="http://schemas.microsoft.com/office/drawing/2014/main" id="{DF7773D6-16BA-A357-C67D-64F64ABDE524}"/>
              </a:ext>
            </a:extLst>
          </p:cNvPr>
          <p:cNvSpPr>
            <a:spLocks noGrp="1"/>
          </p:cNvSpPr>
          <p:nvPr>
            <p:ph type="body" sz="quarter" idx="12" hasCustomPrompt="1"/>
          </p:nvPr>
        </p:nvSpPr>
        <p:spPr>
          <a:xfrm>
            <a:off x="4757071" y="4465164"/>
            <a:ext cx="2677856" cy="998537"/>
          </a:xfrm>
          <a:prstGeom prst="rect">
            <a:avLst/>
          </a:prstGeom>
        </p:spPr>
        <p:txBody>
          <a:bodyPr lIns="0" tIns="0" rIns="0" bIns="0"/>
          <a:lstStyle>
            <a:lvl1pPr marL="0" indent="0" algn="ctr">
              <a:buNone/>
              <a:defRPr sz="1600"/>
            </a:lvl1pPr>
          </a:lstStyle>
          <a:p>
            <a:pPr lvl="0"/>
            <a:r>
              <a:rPr lang="en-US"/>
              <a:t>Lorem Ipsum</a:t>
            </a:r>
          </a:p>
        </p:txBody>
      </p:sp>
      <p:sp>
        <p:nvSpPr>
          <p:cNvPr id="43" name="Text Placeholder 38">
            <a:extLst>
              <a:ext uri="{FF2B5EF4-FFF2-40B4-BE49-F238E27FC236}">
                <a16:creationId xmlns:a16="http://schemas.microsoft.com/office/drawing/2014/main" id="{9DEC398D-6714-FDDD-FA83-A2FCE6C7FA63}"/>
              </a:ext>
            </a:extLst>
          </p:cNvPr>
          <p:cNvSpPr>
            <a:spLocks noGrp="1"/>
          </p:cNvSpPr>
          <p:nvPr>
            <p:ph type="body" sz="quarter" idx="14" hasCustomPrompt="1"/>
          </p:nvPr>
        </p:nvSpPr>
        <p:spPr>
          <a:xfrm>
            <a:off x="8088655" y="4465164"/>
            <a:ext cx="2677856" cy="998537"/>
          </a:xfrm>
          <a:prstGeom prst="rect">
            <a:avLst/>
          </a:prstGeom>
        </p:spPr>
        <p:txBody>
          <a:bodyPr lIns="0" tIns="0" rIns="0" bIns="0"/>
          <a:lstStyle>
            <a:lvl1pPr marL="0" indent="0" algn="ctr">
              <a:buNone/>
              <a:defRPr sz="1600"/>
            </a:lvl1pPr>
          </a:lstStyle>
          <a:p>
            <a:pPr lvl="0"/>
            <a:r>
              <a:rPr lang="en-US"/>
              <a:t>Lorem Ipsum</a:t>
            </a:r>
          </a:p>
        </p:txBody>
      </p:sp>
      <p:sp>
        <p:nvSpPr>
          <p:cNvPr id="6" name="Footer Placeholder 5">
            <a:extLst>
              <a:ext uri="{FF2B5EF4-FFF2-40B4-BE49-F238E27FC236}">
                <a16:creationId xmlns:a16="http://schemas.microsoft.com/office/drawing/2014/main" id="{CB4E4D97-25F7-4F32-2573-3F5F68F68CE8}"/>
              </a:ext>
            </a:extLst>
          </p:cNvPr>
          <p:cNvSpPr>
            <a:spLocks noGrp="1"/>
          </p:cNvSpPr>
          <p:nvPr>
            <p:ph type="ftr" sz="quarter" idx="15"/>
          </p:nvPr>
        </p:nvSpPr>
        <p:spPr/>
        <p:txBody>
          <a:bodyPr/>
          <a:lstStyle/>
          <a:p>
            <a:r>
              <a:rPr lang="en-US"/>
              <a:t>Microsoft Confidential</a:t>
            </a:r>
          </a:p>
        </p:txBody>
      </p:sp>
    </p:spTree>
    <p:extLst>
      <p:ext uri="{BB962C8B-B14F-4D97-AF65-F5344CB8AC3E}">
        <p14:creationId xmlns:p14="http://schemas.microsoft.com/office/powerpoint/2010/main" val="30316023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w/4 colum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9C9AD-BE37-ED32-11A2-13D2C3697101}"/>
              </a:ext>
              <a:ext uri="{C183D7F6-B498-43B3-948B-1728B52AA6E4}">
                <adec:decorative xmlns:adec="http://schemas.microsoft.com/office/drawing/2017/decorative" val="1"/>
              </a:ext>
            </a:extLst>
          </p:cNvPr>
          <p:cNvPicPr>
            <a:picLocks/>
          </p:cNvPicPr>
          <p:nvPr userDrawn="1"/>
        </p:nvPicPr>
        <p:blipFill rotWithShape="1">
          <a:blip r:embed="rId2" cstate="screen">
            <a:extLst>
              <a:ext uri="{BEBA8EAE-BF5A-486C-A8C5-ECC9F3942E4B}">
                <a14:imgProps xmlns:a14="http://schemas.microsoft.com/office/drawing/2010/main">
                  <a14:imgLayer r:embed="rId3">
                    <a14:imgEffect>
                      <a14:colorTemperature colorTemp="4000"/>
                    </a14:imgEffect>
                    <a14:imgEffect>
                      <a14:brightnessContrast bright="33000" contrast="29000"/>
                    </a14:imgEffect>
                  </a14:imgLayer>
                </a14:imgProps>
              </a:ext>
              <a:ext uri="{28A0092B-C50C-407E-A947-70E740481C1C}">
                <a14:useLocalDpi xmlns:a14="http://schemas.microsoft.com/office/drawing/2010/main"/>
              </a:ext>
            </a:extLst>
          </a:blip>
          <a:srcRect t="1" b="35733"/>
          <a:stretch/>
        </p:blipFill>
        <p:spPr>
          <a:xfrm>
            <a:off x="1" y="0"/>
            <a:ext cx="12192000" cy="4407411"/>
          </a:xfrm>
          <a:prstGeom prst="rect">
            <a:avLst/>
          </a:prstGeom>
        </p:spPr>
      </p:pic>
      <p:sp>
        <p:nvSpPr>
          <p:cNvPr id="4" name="Rectangle 3">
            <a:extLst>
              <a:ext uri="{FF2B5EF4-FFF2-40B4-BE49-F238E27FC236}">
                <a16:creationId xmlns:a16="http://schemas.microsoft.com/office/drawing/2014/main" id="{03BF0C16-DD9D-0630-3EDE-16C70AFDAF4C}"/>
              </a:ext>
            </a:extLst>
          </p:cNvPr>
          <p:cNvSpPr>
            <a:spLocks/>
          </p:cNvSpPr>
          <p:nvPr userDrawn="1"/>
        </p:nvSpPr>
        <p:spPr bwMode="auto">
          <a:xfrm>
            <a:off x="0" y="0"/>
            <a:ext cx="12192000" cy="4535961"/>
          </a:xfrm>
          <a:prstGeom prst="rect">
            <a:avLst/>
          </a:prstGeom>
          <a:gradFill flip="none" rotWithShape="1">
            <a:gsLst>
              <a:gs pos="43000">
                <a:schemeClr val="tx1"/>
              </a:gs>
              <a:gs pos="100000">
                <a:schemeClr val="tx1">
                  <a:alpha val="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D4A92AA-89A0-C9ED-A633-6BD68A192BF5}"/>
              </a:ext>
            </a:extLst>
          </p:cNvPr>
          <p:cNvSpPr/>
          <p:nvPr userDrawn="1"/>
        </p:nvSpPr>
        <p:spPr bwMode="auto">
          <a:xfrm>
            <a:off x="-536" y="3210339"/>
            <a:ext cx="12192000" cy="1858617"/>
          </a:xfrm>
          <a:prstGeom prst="rect">
            <a:avLst/>
          </a:prstGeom>
          <a:gradFill>
            <a:gsLst>
              <a:gs pos="48000">
                <a:srgbClr val="0D0D0D"/>
              </a:gs>
              <a:gs pos="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BE1959E1-7FBD-5DCA-7102-23489885B64E}"/>
              </a:ext>
            </a:extLst>
          </p:cNvPr>
          <p:cNvCxnSpPr>
            <a:cxnSpLocks/>
          </p:cNvCxnSpPr>
          <p:nvPr userDrawn="1"/>
        </p:nvCxnSpPr>
        <p:spPr>
          <a:xfrm flipH="1">
            <a:off x="9116854" y="3293366"/>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1CDF33-A182-786F-6188-CAECC9148BC4}"/>
              </a:ext>
            </a:extLst>
          </p:cNvPr>
          <p:cNvCxnSpPr>
            <a:cxnSpLocks/>
          </p:cNvCxnSpPr>
          <p:nvPr userDrawn="1"/>
        </p:nvCxnSpPr>
        <p:spPr>
          <a:xfrm flipH="1">
            <a:off x="6280520" y="3293366"/>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EA4C07A-59BC-9E97-55E3-55CCB2510A30}"/>
              </a:ext>
            </a:extLst>
          </p:cNvPr>
          <p:cNvCxnSpPr>
            <a:cxnSpLocks/>
          </p:cNvCxnSpPr>
          <p:nvPr userDrawn="1"/>
        </p:nvCxnSpPr>
        <p:spPr>
          <a:xfrm flipH="1">
            <a:off x="3444187" y="3293366"/>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235C6E3-2728-E81D-3D3B-931E3E1CDE53}"/>
              </a:ext>
            </a:extLst>
          </p:cNvPr>
          <p:cNvCxnSpPr>
            <a:cxnSpLocks/>
          </p:cNvCxnSpPr>
          <p:nvPr userDrawn="1"/>
        </p:nvCxnSpPr>
        <p:spPr>
          <a:xfrm flipH="1">
            <a:off x="607854" y="3293366"/>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B19ACB49-8040-127D-7020-EC0FFFF2561C}"/>
              </a:ext>
              <a:ext uri="{C183D7F6-B498-43B3-948B-1728B52AA6E4}">
                <adec:decorative xmlns:adec="http://schemas.microsoft.com/office/drawing/2017/decorative" val="1"/>
              </a:ext>
            </a:extLst>
          </p:cNvPr>
          <p:cNvSpPr>
            <a:spLocks/>
          </p:cNvSpPr>
          <p:nvPr userDrawn="1"/>
        </p:nvSpPr>
        <p:spPr bwMode="auto">
          <a:xfrm>
            <a:off x="9093201" y="3293366"/>
            <a:ext cx="2516188"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3C31A40D-8C8C-6D33-70F3-C4738D188D0E}"/>
              </a:ext>
              <a:ext uri="{C183D7F6-B498-43B3-948B-1728B52AA6E4}">
                <adec:decorative xmlns:adec="http://schemas.microsoft.com/office/drawing/2017/decorative" val="1"/>
              </a:ext>
            </a:extLst>
          </p:cNvPr>
          <p:cNvSpPr>
            <a:spLocks/>
          </p:cNvSpPr>
          <p:nvPr userDrawn="1"/>
        </p:nvSpPr>
        <p:spPr bwMode="auto">
          <a:xfrm>
            <a:off x="6256868" y="3293366"/>
            <a:ext cx="2516188"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E5020D6F-7997-C29A-5B96-37525A4AB393}"/>
              </a:ext>
              <a:ext uri="{C183D7F6-B498-43B3-948B-1728B52AA6E4}">
                <adec:decorative xmlns:adec="http://schemas.microsoft.com/office/drawing/2017/decorative" val="1"/>
              </a:ext>
            </a:extLst>
          </p:cNvPr>
          <p:cNvSpPr>
            <a:spLocks/>
          </p:cNvSpPr>
          <p:nvPr userDrawn="1"/>
        </p:nvSpPr>
        <p:spPr bwMode="auto">
          <a:xfrm>
            <a:off x="3420534" y="3293366"/>
            <a:ext cx="2516188"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Rounded Corners 14">
            <a:extLst>
              <a:ext uri="{FF2B5EF4-FFF2-40B4-BE49-F238E27FC236}">
                <a16:creationId xmlns:a16="http://schemas.microsoft.com/office/drawing/2014/main" id="{B0E73B25-A428-7A96-F5E1-8AF3334E8A2A}"/>
              </a:ext>
              <a:ext uri="{C183D7F6-B498-43B3-948B-1728B52AA6E4}">
                <adec:decorative xmlns:adec="http://schemas.microsoft.com/office/drawing/2017/decorative" val="1"/>
              </a:ext>
            </a:extLst>
          </p:cNvPr>
          <p:cNvSpPr>
            <a:spLocks/>
          </p:cNvSpPr>
          <p:nvPr userDrawn="1"/>
        </p:nvSpPr>
        <p:spPr bwMode="auto">
          <a:xfrm>
            <a:off x="584200" y="3293366"/>
            <a:ext cx="2516188"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73100" y="2489685"/>
            <a:ext cx="10845800" cy="553998"/>
          </a:xfrm>
        </p:spPr>
        <p:txBody>
          <a:bodyPr/>
          <a:lstStyle>
            <a:lvl1pPr algn="ctr">
              <a:defRPr>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CE60473-9747-0F22-8178-7CEF80EC7292}"/>
              </a:ext>
            </a:extLst>
          </p:cNvPr>
          <p:cNvSpPr/>
          <p:nvPr userDrawn="1"/>
        </p:nvSpPr>
        <p:spPr bwMode="auto">
          <a:xfrm rot="10800000">
            <a:off x="0" y="4452093"/>
            <a:ext cx="12192000" cy="2405907"/>
          </a:xfrm>
          <a:prstGeom prst="rect">
            <a:avLst/>
          </a:prstGeom>
          <a:gradFill>
            <a:gsLst>
              <a:gs pos="100000">
                <a:srgbClr val="0D0D0D">
                  <a:alpha val="0"/>
                </a:srgbClr>
              </a:gs>
              <a:gs pos="3700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5EF28EA-DF61-86DF-F1EE-141B1A88AB5B}"/>
              </a:ext>
              <a:ext uri="{C183D7F6-B498-43B3-948B-1728B52AA6E4}">
                <adec:decorative xmlns:adec="http://schemas.microsoft.com/office/drawing/2017/decorative" val="1"/>
              </a:ext>
            </a:extLst>
          </p:cNvPr>
          <p:cNvSpPr/>
          <p:nvPr/>
        </p:nvSpPr>
        <p:spPr bwMode="auto">
          <a:xfrm>
            <a:off x="4268945"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0" name="Oval 29">
            <a:extLst>
              <a:ext uri="{FF2B5EF4-FFF2-40B4-BE49-F238E27FC236}">
                <a16:creationId xmlns:a16="http://schemas.microsoft.com/office/drawing/2014/main" id="{D31C61E6-6C39-1E52-7A48-A1B8519F5208}"/>
              </a:ext>
              <a:ext uri="{C183D7F6-B498-43B3-948B-1728B52AA6E4}">
                <adec:decorative xmlns:adec="http://schemas.microsoft.com/office/drawing/2017/decorative" val="1"/>
              </a:ext>
            </a:extLst>
          </p:cNvPr>
          <p:cNvSpPr/>
          <p:nvPr/>
        </p:nvSpPr>
        <p:spPr bwMode="auto">
          <a:xfrm>
            <a:off x="7105279"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3" name="Oval 32">
            <a:extLst>
              <a:ext uri="{FF2B5EF4-FFF2-40B4-BE49-F238E27FC236}">
                <a16:creationId xmlns:a16="http://schemas.microsoft.com/office/drawing/2014/main" id="{3BF611D1-3095-5DAE-E977-01BB46207694}"/>
              </a:ext>
              <a:ext uri="{C183D7F6-B498-43B3-948B-1728B52AA6E4}">
                <adec:decorative xmlns:adec="http://schemas.microsoft.com/office/drawing/2017/decorative" val="1"/>
              </a:ext>
            </a:extLst>
          </p:cNvPr>
          <p:cNvSpPr/>
          <p:nvPr/>
        </p:nvSpPr>
        <p:spPr bwMode="auto">
          <a:xfrm>
            <a:off x="9941612"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6" name="Oval 35">
            <a:extLst>
              <a:ext uri="{FF2B5EF4-FFF2-40B4-BE49-F238E27FC236}">
                <a16:creationId xmlns:a16="http://schemas.microsoft.com/office/drawing/2014/main" id="{7AAD0F23-F949-59E5-C384-588730905802}"/>
              </a:ext>
              <a:ext uri="{C183D7F6-B498-43B3-948B-1728B52AA6E4}">
                <adec:decorative xmlns:adec="http://schemas.microsoft.com/office/drawing/2017/decorative" val="1"/>
              </a:ext>
            </a:extLst>
          </p:cNvPr>
          <p:cNvSpPr/>
          <p:nvPr/>
        </p:nvSpPr>
        <p:spPr bwMode="auto">
          <a:xfrm>
            <a:off x="1432611"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Text Placeholder 38">
            <a:extLst>
              <a:ext uri="{FF2B5EF4-FFF2-40B4-BE49-F238E27FC236}">
                <a16:creationId xmlns:a16="http://schemas.microsoft.com/office/drawing/2014/main" id="{E9BEC4C8-2A81-AD76-0C84-B2FDD2A9FC50}"/>
              </a:ext>
            </a:extLst>
          </p:cNvPr>
          <p:cNvSpPr>
            <a:spLocks noGrp="1"/>
          </p:cNvSpPr>
          <p:nvPr>
            <p:ph type="body" sz="quarter" idx="10" hasCustomPrompt="1"/>
          </p:nvPr>
        </p:nvSpPr>
        <p:spPr>
          <a:xfrm>
            <a:off x="695676" y="4465164"/>
            <a:ext cx="2293237" cy="998537"/>
          </a:xfrm>
          <a:prstGeom prst="rect">
            <a:avLst/>
          </a:prstGeom>
        </p:spPr>
        <p:txBody>
          <a:bodyPr lIns="0" tIns="0" rIns="0" bIns="0"/>
          <a:lstStyle>
            <a:lvl1pPr marL="0" indent="0" algn="ctr">
              <a:buNone/>
              <a:defRPr sz="1600"/>
            </a:lvl1pPr>
          </a:lstStyle>
          <a:p>
            <a:pPr lvl="0"/>
            <a:r>
              <a:rPr lang="en-US"/>
              <a:t>Lorem Ipsum</a:t>
            </a:r>
          </a:p>
        </p:txBody>
      </p:sp>
      <p:sp>
        <p:nvSpPr>
          <p:cNvPr id="40" name="Text Placeholder 38">
            <a:extLst>
              <a:ext uri="{FF2B5EF4-FFF2-40B4-BE49-F238E27FC236}">
                <a16:creationId xmlns:a16="http://schemas.microsoft.com/office/drawing/2014/main" id="{4E9A5199-2E73-63CD-0FBA-0A10A12781F5}"/>
              </a:ext>
            </a:extLst>
          </p:cNvPr>
          <p:cNvSpPr>
            <a:spLocks noGrp="1"/>
          </p:cNvSpPr>
          <p:nvPr>
            <p:ph type="body" sz="quarter" idx="11" hasCustomPrompt="1"/>
          </p:nvPr>
        </p:nvSpPr>
        <p:spPr>
          <a:xfrm>
            <a:off x="3532009" y="4465164"/>
            <a:ext cx="2293237" cy="998537"/>
          </a:xfrm>
          <a:prstGeom prst="rect">
            <a:avLst/>
          </a:prstGeom>
        </p:spPr>
        <p:txBody>
          <a:bodyPr lIns="0" tIns="0" rIns="0" bIns="0"/>
          <a:lstStyle>
            <a:lvl1pPr marL="0" indent="0" algn="ctr">
              <a:buNone/>
              <a:defRPr sz="1600"/>
            </a:lvl1pPr>
          </a:lstStyle>
          <a:p>
            <a:pPr lvl="0"/>
            <a:r>
              <a:rPr lang="en-US"/>
              <a:t>Lorem Ipsum</a:t>
            </a:r>
          </a:p>
        </p:txBody>
      </p:sp>
      <p:sp>
        <p:nvSpPr>
          <p:cNvPr id="41" name="Text Placeholder 38">
            <a:extLst>
              <a:ext uri="{FF2B5EF4-FFF2-40B4-BE49-F238E27FC236}">
                <a16:creationId xmlns:a16="http://schemas.microsoft.com/office/drawing/2014/main" id="{DF7773D6-16BA-A357-C67D-64F64ABDE524}"/>
              </a:ext>
            </a:extLst>
          </p:cNvPr>
          <p:cNvSpPr>
            <a:spLocks noGrp="1"/>
          </p:cNvSpPr>
          <p:nvPr>
            <p:ph type="body" sz="quarter" idx="12" hasCustomPrompt="1"/>
          </p:nvPr>
        </p:nvSpPr>
        <p:spPr>
          <a:xfrm>
            <a:off x="6368342" y="4465164"/>
            <a:ext cx="2293237" cy="998537"/>
          </a:xfrm>
          <a:prstGeom prst="rect">
            <a:avLst/>
          </a:prstGeom>
        </p:spPr>
        <p:txBody>
          <a:bodyPr lIns="0" tIns="0" rIns="0" bIns="0"/>
          <a:lstStyle>
            <a:lvl1pPr marL="0" indent="0" algn="ctr">
              <a:buNone/>
              <a:defRPr sz="1600"/>
            </a:lvl1pPr>
          </a:lstStyle>
          <a:p>
            <a:pPr lvl="0"/>
            <a:r>
              <a:rPr lang="en-US"/>
              <a:t>Lorem Ipsum</a:t>
            </a:r>
          </a:p>
        </p:txBody>
      </p:sp>
      <p:sp>
        <p:nvSpPr>
          <p:cNvPr id="43" name="Text Placeholder 38">
            <a:extLst>
              <a:ext uri="{FF2B5EF4-FFF2-40B4-BE49-F238E27FC236}">
                <a16:creationId xmlns:a16="http://schemas.microsoft.com/office/drawing/2014/main" id="{9DEC398D-6714-FDDD-FA83-A2FCE6C7FA63}"/>
              </a:ext>
            </a:extLst>
          </p:cNvPr>
          <p:cNvSpPr>
            <a:spLocks noGrp="1"/>
          </p:cNvSpPr>
          <p:nvPr>
            <p:ph type="body" sz="quarter" idx="14" hasCustomPrompt="1"/>
          </p:nvPr>
        </p:nvSpPr>
        <p:spPr>
          <a:xfrm>
            <a:off x="9204676" y="4465164"/>
            <a:ext cx="2293237" cy="998537"/>
          </a:xfrm>
          <a:prstGeom prst="rect">
            <a:avLst/>
          </a:prstGeom>
        </p:spPr>
        <p:txBody>
          <a:bodyPr lIns="0" tIns="0" rIns="0" bIns="0"/>
          <a:lstStyle>
            <a:lvl1pPr marL="0" indent="0" algn="ctr">
              <a:buNone/>
              <a:defRPr sz="1600"/>
            </a:lvl1pPr>
          </a:lstStyle>
          <a:p>
            <a:pPr lvl="0"/>
            <a:r>
              <a:rPr lang="en-US"/>
              <a:t>Lorem Ipsum</a:t>
            </a:r>
          </a:p>
        </p:txBody>
      </p:sp>
      <p:sp>
        <p:nvSpPr>
          <p:cNvPr id="6" name="Footer Placeholder 5">
            <a:extLst>
              <a:ext uri="{FF2B5EF4-FFF2-40B4-BE49-F238E27FC236}">
                <a16:creationId xmlns:a16="http://schemas.microsoft.com/office/drawing/2014/main" id="{31E8CAA9-16AD-3195-000F-A00E99155BA2}"/>
              </a:ext>
            </a:extLst>
          </p:cNvPr>
          <p:cNvSpPr>
            <a:spLocks noGrp="1"/>
          </p:cNvSpPr>
          <p:nvPr>
            <p:ph type="ftr" sz="quarter" idx="15"/>
          </p:nvPr>
        </p:nvSpPr>
        <p:spPr/>
        <p:txBody>
          <a:bodyPr/>
          <a:lstStyle/>
          <a:p>
            <a:r>
              <a:rPr lang="en-US"/>
              <a:t>Microsoft Confidential</a:t>
            </a:r>
          </a:p>
        </p:txBody>
      </p:sp>
    </p:spTree>
    <p:extLst>
      <p:ext uri="{BB962C8B-B14F-4D97-AF65-F5344CB8AC3E}">
        <p14:creationId xmlns:p14="http://schemas.microsoft.com/office/powerpoint/2010/main" val="25632487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w/5 column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79C9AD-BE37-ED32-11A2-13D2C3697101}"/>
              </a:ext>
              <a:ext uri="{C183D7F6-B498-43B3-948B-1728B52AA6E4}">
                <adec:decorative xmlns:adec="http://schemas.microsoft.com/office/drawing/2017/decorative" val="1"/>
              </a:ext>
            </a:extLst>
          </p:cNvPr>
          <p:cNvPicPr>
            <a:picLocks/>
          </p:cNvPicPr>
          <p:nvPr userDrawn="1"/>
        </p:nvPicPr>
        <p:blipFill rotWithShape="1">
          <a:blip r:embed="rId2" cstate="screen">
            <a:extLst>
              <a:ext uri="{BEBA8EAE-BF5A-486C-A8C5-ECC9F3942E4B}">
                <a14:imgProps xmlns:a14="http://schemas.microsoft.com/office/drawing/2010/main">
                  <a14:imgLayer r:embed="rId3">
                    <a14:imgEffect>
                      <a14:colorTemperature colorTemp="4000"/>
                    </a14:imgEffect>
                    <a14:imgEffect>
                      <a14:brightnessContrast bright="33000" contrast="29000"/>
                    </a14:imgEffect>
                  </a14:imgLayer>
                </a14:imgProps>
              </a:ext>
              <a:ext uri="{28A0092B-C50C-407E-A947-70E740481C1C}">
                <a14:useLocalDpi xmlns:a14="http://schemas.microsoft.com/office/drawing/2010/main"/>
              </a:ext>
            </a:extLst>
          </a:blip>
          <a:srcRect t="1" b="35733"/>
          <a:stretch/>
        </p:blipFill>
        <p:spPr>
          <a:xfrm>
            <a:off x="1" y="0"/>
            <a:ext cx="12192000" cy="4407411"/>
          </a:xfrm>
          <a:prstGeom prst="rect">
            <a:avLst/>
          </a:prstGeom>
        </p:spPr>
      </p:pic>
      <p:sp>
        <p:nvSpPr>
          <p:cNvPr id="4" name="Rectangle 3">
            <a:extLst>
              <a:ext uri="{FF2B5EF4-FFF2-40B4-BE49-F238E27FC236}">
                <a16:creationId xmlns:a16="http://schemas.microsoft.com/office/drawing/2014/main" id="{03BF0C16-DD9D-0630-3EDE-16C70AFDAF4C}"/>
              </a:ext>
            </a:extLst>
          </p:cNvPr>
          <p:cNvSpPr>
            <a:spLocks/>
          </p:cNvSpPr>
          <p:nvPr userDrawn="1"/>
        </p:nvSpPr>
        <p:spPr bwMode="auto">
          <a:xfrm>
            <a:off x="0" y="0"/>
            <a:ext cx="12192000" cy="4535961"/>
          </a:xfrm>
          <a:prstGeom prst="rect">
            <a:avLst/>
          </a:prstGeom>
          <a:gradFill flip="none" rotWithShape="1">
            <a:gsLst>
              <a:gs pos="43000">
                <a:schemeClr val="tx1"/>
              </a:gs>
              <a:gs pos="100000">
                <a:schemeClr val="tx1">
                  <a:alpha val="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6D4A92AA-89A0-C9ED-A633-6BD68A192BF5}"/>
              </a:ext>
            </a:extLst>
          </p:cNvPr>
          <p:cNvSpPr/>
          <p:nvPr userDrawn="1"/>
        </p:nvSpPr>
        <p:spPr bwMode="auto">
          <a:xfrm>
            <a:off x="-536" y="3210339"/>
            <a:ext cx="12192000" cy="1858617"/>
          </a:xfrm>
          <a:prstGeom prst="rect">
            <a:avLst/>
          </a:prstGeom>
          <a:gradFill>
            <a:gsLst>
              <a:gs pos="48000">
                <a:srgbClr val="0D0D0D"/>
              </a:gs>
              <a:gs pos="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6" name="Straight Connector 5">
            <a:extLst>
              <a:ext uri="{FF2B5EF4-FFF2-40B4-BE49-F238E27FC236}">
                <a16:creationId xmlns:a16="http://schemas.microsoft.com/office/drawing/2014/main" id="{6F74D465-05FD-0612-AA53-E88E7B6E8566}"/>
              </a:ext>
            </a:extLst>
          </p:cNvPr>
          <p:cNvCxnSpPr>
            <a:cxnSpLocks/>
          </p:cNvCxnSpPr>
          <p:nvPr userDrawn="1"/>
        </p:nvCxnSpPr>
        <p:spPr>
          <a:xfrm flipH="1">
            <a:off x="7353989" y="3293366"/>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E1959E1-7FBD-5DCA-7102-23489885B64E}"/>
              </a:ext>
            </a:extLst>
          </p:cNvPr>
          <p:cNvCxnSpPr>
            <a:cxnSpLocks/>
          </p:cNvCxnSpPr>
          <p:nvPr userDrawn="1"/>
        </p:nvCxnSpPr>
        <p:spPr>
          <a:xfrm flipH="1">
            <a:off x="9598364" y="3293366"/>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51CDF33-A182-786F-6188-CAECC9148BC4}"/>
              </a:ext>
            </a:extLst>
          </p:cNvPr>
          <p:cNvCxnSpPr>
            <a:cxnSpLocks/>
          </p:cNvCxnSpPr>
          <p:nvPr userDrawn="1"/>
        </p:nvCxnSpPr>
        <p:spPr>
          <a:xfrm flipH="1">
            <a:off x="5109614" y="3293366"/>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EA4C07A-59BC-9E97-55E3-55CCB2510A30}"/>
              </a:ext>
            </a:extLst>
          </p:cNvPr>
          <p:cNvCxnSpPr>
            <a:cxnSpLocks/>
          </p:cNvCxnSpPr>
          <p:nvPr userDrawn="1"/>
        </p:nvCxnSpPr>
        <p:spPr>
          <a:xfrm flipH="1">
            <a:off x="2865239" y="3293366"/>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235C6E3-2728-E81D-3D3B-931E3E1CDE53}"/>
              </a:ext>
            </a:extLst>
          </p:cNvPr>
          <p:cNvCxnSpPr>
            <a:cxnSpLocks/>
          </p:cNvCxnSpPr>
          <p:nvPr userDrawn="1"/>
        </p:nvCxnSpPr>
        <p:spPr>
          <a:xfrm flipH="1">
            <a:off x="620864" y="3293366"/>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4E7A2F29-2542-69B6-62B2-7EC4C6FFF8DB}"/>
              </a:ext>
              <a:ext uri="{C183D7F6-B498-43B3-948B-1728B52AA6E4}">
                <adec:decorative xmlns:adec="http://schemas.microsoft.com/office/drawing/2017/decorative" val="1"/>
              </a:ext>
            </a:extLst>
          </p:cNvPr>
          <p:cNvSpPr>
            <a:spLocks/>
          </p:cNvSpPr>
          <p:nvPr userDrawn="1"/>
        </p:nvSpPr>
        <p:spPr bwMode="auto">
          <a:xfrm>
            <a:off x="7317326" y="3293366"/>
            <a:ext cx="2047687"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B19ACB49-8040-127D-7020-EC0FFFF2561C}"/>
              </a:ext>
              <a:ext uri="{C183D7F6-B498-43B3-948B-1728B52AA6E4}">
                <adec:decorative xmlns:adec="http://schemas.microsoft.com/office/drawing/2017/decorative" val="1"/>
              </a:ext>
            </a:extLst>
          </p:cNvPr>
          <p:cNvSpPr>
            <a:spLocks/>
          </p:cNvSpPr>
          <p:nvPr userDrawn="1"/>
        </p:nvSpPr>
        <p:spPr bwMode="auto">
          <a:xfrm>
            <a:off x="9561701" y="3293366"/>
            <a:ext cx="2047687"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3C31A40D-8C8C-6D33-70F3-C4738D188D0E}"/>
              </a:ext>
              <a:ext uri="{C183D7F6-B498-43B3-948B-1728B52AA6E4}">
                <adec:decorative xmlns:adec="http://schemas.microsoft.com/office/drawing/2017/decorative" val="1"/>
              </a:ext>
            </a:extLst>
          </p:cNvPr>
          <p:cNvSpPr>
            <a:spLocks/>
          </p:cNvSpPr>
          <p:nvPr userDrawn="1"/>
        </p:nvSpPr>
        <p:spPr bwMode="auto">
          <a:xfrm>
            <a:off x="5072951" y="3293366"/>
            <a:ext cx="2047687"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E5020D6F-7997-C29A-5B96-37525A4AB393}"/>
              </a:ext>
              <a:ext uri="{C183D7F6-B498-43B3-948B-1728B52AA6E4}">
                <adec:decorative xmlns:adec="http://schemas.microsoft.com/office/drawing/2017/decorative" val="1"/>
              </a:ext>
            </a:extLst>
          </p:cNvPr>
          <p:cNvSpPr>
            <a:spLocks/>
          </p:cNvSpPr>
          <p:nvPr userDrawn="1"/>
        </p:nvSpPr>
        <p:spPr bwMode="auto">
          <a:xfrm>
            <a:off x="2828576" y="3293366"/>
            <a:ext cx="2047687"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Rounded Corners 14">
            <a:extLst>
              <a:ext uri="{FF2B5EF4-FFF2-40B4-BE49-F238E27FC236}">
                <a16:creationId xmlns:a16="http://schemas.microsoft.com/office/drawing/2014/main" id="{B0E73B25-A428-7A96-F5E1-8AF3334E8A2A}"/>
              </a:ext>
              <a:ext uri="{C183D7F6-B498-43B3-948B-1728B52AA6E4}">
                <adec:decorative xmlns:adec="http://schemas.microsoft.com/office/drawing/2017/decorative" val="1"/>
              </a:ext>
            </a:extLst>
          </p:cNvPr>
          <p:cNvSpPr>
            <a:spLocks/>
          </p:cNvSpPr>
          <p:nvPr userDrawn="1"/>
        </p:nvSpPr>
        <p:spPr bwMode="auto">
          <a:xfrm>
            <a:off x="584201" y="3293366"/>
            <a:ext cx="2047687" cy="3142569"/>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73100" y="2489685"/>
            <a:ext cx="10845800" cy="553998"/>
          </a:xfrm>
        </p:spPr>
        <p:txBody>
          <a:bodyPr/>
          <a:lstStyle>
            <a:lvl1pPr algn="ctr">
              <a:defRPr>
                <a:solidFill>
                  <a:schemeClr val="bg1"/>
                </a:solidFill>
              </a:defRPr>
            </a:lvl1pPr>
          </a:lstStyle>
          <a:p>
            <a:r>
              <a:rPr lang="en-US"/>
              <a:t>Click to edit Master title style</a:t>
            </a:r>
          </a:p>
        </p:txBody>
      </p:sp>
      <p:sp>
        <p:nvSpPr>
          <p:cNvPr id="17" name="Rectangle 16">
            <a:extLst>
              <a:ext uri="{FF2B5EF4-FFF2-40B4-BE49-F238E27FC236}">
                <a16:creationId xmlns:a16="http://schemas.microsoft.com/office/drawing/2014/main" id="{CCE60473-9747-0F22-8178-7CEF80EC7292}"/>
              </a:ext>
            </a:extLst>
          </p:cNvPr>
          <p:cNvSpPr/>
          <p:nvPr userDrawn="1"/>
        </p:nvSpPr>
        <p:spPr bwMode="auto">
          <a:xfrm rot="10800000">
            <a:off x="0" y="4452093"/>
            <a:ext cx="12192000" cy="2405907"/>
          </a:xfrm>
          <a:prstGeom prst="rect">
            <a:avLst/>
          </a:prstGeom>
          <a:gradFill>
            <a:gsLst>
              <a:gs pos="100000">
                <a:srgbClr val="0D0D0D">
                  <a:alpha val="0"/>
                </a:srgbClr>
              </a:gs>
              <a:gs pos="37000">
                <a:srgbClr val="000000"/>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4" name="Oval 23">
            <a:extLst>
              <a:ext uri="{FF2B5EF4-FFF2-40B4-BE49-F238E27FC236}">
                <a16:creationId xmlns:a16="http://schemas.microsoft.com/office/drawing/2014/main" id="{85EF28EA-DF61-86DF-F1EE-141B1A88AB5B}"/>
              </a:ext>
              <a:ext uri="{C183D7F6-B498-43B3-948B-1728B52AA6E4}">
                <adec:decorative xmlns:adec="http://schemas.microsoft.com/office/drawing/2017/decorative" val="1"/>
              </a:ext>
            </a:extLst>
          </p:cNvPr>
          <p:cNvSpPr/>
          <p:nvPr/>
        </p:nvSpPr>
        <p:spPr bwMode="auto">
          <a:xfrm>
            <a:off x="3442736"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27" name="Oval 26">
            <a:extLst>
              <a:ext uri="{FF2B5EF4-FFF2-40B4-BE49-F238E27FC236}">
                <a16:creationId xmlns:a16="http://schemas.microsoft.com/office/drawing/2014/main" id="{6AB0AE00-FEE3-8267-DF10-E5D8911721EC}"/>
              </a:ext>
              <a:ext uri="{C183D7F6-B498-43B3-948B-1728B52AA6E4}">
                <adec:decorative xmlns:adec="http://schemas.microsoft.com/office/drawing/2017/decorative" val="1"/>
              </a:ext>
            </a:extLst>
          </p:cNvPr>
          <p:cNvSpPr/>
          <p:nvPr/>
        </p:nvSpPr>
        <p:spPr bwMode="auto">
          <a:xfrm>
            <a:off x="7931486"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0" name="Oval 29">
            <a:extLst>
              <a:ext uri="{FF2B5EF4-FFF2-40B4-BE49-F238E27FC236}">
                <a16:creationId xmlns:a16="http://schemas.microsoft.com/office/drawing/2014/main" id="{D31C61E6-6C39-1E52-7A48-A1B8519F5208}"/>
              </a:ext>
              <a:ext uri="{C183D7F6-B498-43B3-948B-1728B52AA6E4}">
                <adec:decorative xmlns:adec="http://schemas.microsoft.com/office/drawing/2017/decorative" val="1"/>
              </a:ext>
            </a:extLst>
          </p:cNvPr>
          <p:cNvSpPr/>
          <p:nvPr/>
        </p:nvSpPr>
        <p:spPr bwMode="auto">
          <a:xfrm>
            <a:off x="5687111"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3" name="Oval 32">
            <a:extLst>
              <a:ext uri="{FF2B5EF4-FFF2-40B4-BE49-F238E27FC236}">
                <a16:creationId xmlns:a16="http://schemas.microsoft.com/office/drawing/2014/main" id="{3BF611D1-3095-5DAE-E977-01BB46207694}"/>
              </a:ext>
              <a:ext uri="{C183D7F6-B498-43B3-948B-1728B52AA6E4}">
                <adec:decorative xmlns:adec="http://schemas.microsoft.com/office/drawing/2017/decorative" val="1"/>
              </a:ext>
            </a:extLst>
          </p:cNvPr>
          <p:cNvSpPr/>
          <p:nvPr/>
        </p:nvSpPr>
        <p:spPr bwMode="auto">
          <a:xfrm>
            <a:off x="10175861"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6" name="Oval 35">
            <a:extLst>
              <a:ext uri="{FF2B5EF4-FFF2-40B4-BE49-F238E27FC236}">
                <a16:creationId xmlns:a16="http://schemas.microsoft.com/office/drawing/2014/main" id="{7AAD0F23-F949-59E5-C384-588730905802}"/>
              </a:ext>
              <a:ext uri="{C183D7F6-B498-43B3-948B-1728B52AA6E4}">
                <adec:decorative xmlns:adec="http://schemas.microsoft.com/office/drawing/2017/decorative" val="1"/>
              </a:ext>
            </a:extLst>
          </p:cNvPr>
          <p:cNvSpPr/>
          <p:nvPr/>
        </p:nvSpPr>
        <p:spPr bwMode="auto">
          <a:xfrm>
            <a:off x="1198361" y="3478677"/>
            <a:ext cx="819366" cy="8173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Semibold"/>
              <a:ea typeface="+mn-ea"/>
              <a:cs typeface="Segoe UI" pitchFamily="34" charset="0"/>
            </a:endParaRPr>
          </a:p>
        </p:txBody>
      </p:sp>
      <p:sp>
        <p:nvSpPr>
          <p:cNvPr id="39" name="Text Placeholder 38">
            <a:extLst>
              <a:ext uri="{FF2B5EF4-FFF2-40B4-BE49-F238E27FC236}">
                <a16:creationId xmlns:a16="http://schemas.microsoft.com/office/drawing/2014/main" id="{E9BEC4C8-2A81-AD76-0C84-B2FDD2A9FC50}"/>
              </a:ext>
            </a:extLst>
          </p:cNvPr>
          <p:cNvSpPr>
            <a:spLocks noGrp="1"/>
          </p:cNvSpPr>
          <p:nvPr>
            <p:ph type="body" sz="quarter" idx="10" hasCustomPrompt="1"/>
          </p:nvPr>
        </p:nvSpPr>
        <p:spPr>
          <a:xfrm>
            <a:off x="691263" y="4465164"/>
            <a:ext cx="1833563" cy="998537"/>
          </a:xfrm>
          <a:prstGeom prst="rect">
            <a:avLst/>
          </a:prstGeom>
        </p:spPr>
        <p:txBody>
          <a:bodyPr lIns="0" tIns="0" rIns="0" bIns="0"/>
          <a:lstStyle>
            <a:lvl1pPr marL="0" indent="0" algn="ctr">
              <a:buNone/>
              <a:defRPr sz="1600"/>
            </a:lvl1pPr>
          </a:lstStyle>
          <a:p>
            <a:pPr lvl="0"/>
            <a:r>
              <a:rPr lang="en-US"/>
              <a:t>Lorem Ipsum</a:t>
            </a:r>
          </a:p>
        </p:txBody>
      </p:sp>
      <p:sp>
        <p:nvSpPr>
          <p:cNvPr id="40" name="Text Placeholder 38">
            <a:extLst>
              <a:ext uri="{FF2B5EF4-FFF2-40B4-BE49-F238E27FC236}">
                <a16:creationId xmlns:a16="http://schemas.microsoft.com/office/drawing/2014/main" id="{4E9A5199-2E73-63CD-0FBA-0A10A12781F5}"/>
              </a:ext>
            </a:extLst>
          </p:cNvPr>
          <p:cNvSpPr>
            <a:spLocks noGrp="1"/>
          </p:cNvSpPr>
          <p:nvPr>
            <p:ph type="body" sz="quarter" idx="11" hasCustomPrompt="1"/>
          </p:nvPr>
        </p:nvSpPr>
        <p:spPr>
          <a:xfrm>
            <a:off x="2932825" y="4465164"/>
            <a:ext cx="1833563" cy="998537"/>
          </a:xfrm>
          <a:prstGeom prst="rect">
            <a:avLst/>
          </a:prstGeom>
        </p:spPr>
        <p:txBody>
          <a:bodyPr lIns="0" tIns="0" rIns="0" bIns="0"/>
          <a:lstStyle>
            <a:lvl1pPr marL="0" indent="0" algn="ctr">
              <a:buNone/>
              <a:defRPr sz="1600"/>
            </a:lvl1pPr>
          </a:lstStyle>
          <a:p>
            <a:pPr lvl="0"/>
            <a:r>
              <a:rPr lang="en-US"/>
              <a:t>Lorem Ipsum</a:t>
            </a:r>
          </a:p>
        </p:txBody>
      </p:sp>
      <p:sp>
        <p:nvSpPr>
          <p:cNvPr id="41" name="Text Placeholder 38">
            <a:extLst>
              <a:ext uri="{FF2B5EF4-FFF2-40B4-BE49-F238E27FC236}">
                <a16:creationId xmlns:a16="http://schemas.microsoft.com/office/drawing/2014/main" id="{DF7773D6-16BA-A357-C67D-64F64ABDE524}"/>
              </a:ext>
            </a:extLst>
          </p:cNvPr>
          <p:cNvSpPr>
            <a:spLocks noGrp="1"/>
          </p:cNvSpPr>
          <p:nvPr>
            <p:ph type="body" sz="quarter" idx="12" hasCustomPrompt="1"/>
          </p:nvPr>
        </p:nvSpPr>
        <p:spPr>
          <a:xfrm>
            <a:off x="5174387" y="4465164"/>
            <a:ext cx="1833563" cy="998537"/>
          </a:xfrm>
          <a:prstGeom prst="rect">
            <a:avLst/>
          </a:prstGeom>
        </p:spPr>
        <p:txBody>
          <a:bodyPr lIns="0" tIns="0" rIns="0" bIns="0"/>
          <a:lstStyle>
            <a:lvl1pPr marL="0" indent="0" algn="ctr">
              <a:buNone/>
              <a:defRPr sz="1600"/>
            </a:lvl1pPr>
          </a:lstStyle>
          <a:p>
            <a:pPr lvl="0"/>
            <a:r>
              <a:rPr lang="en-US"/>
              <a:t>Lorem Ipsum</a:t>
            </a:r>
          </a:p>
        </p:txBody>
      </p:sp>
      <p:sp>
        <p:nvSpPr>
          <p:cNvPr id="42" name="Text Placeholder 38">
            <a:extLst>
              <a:ext uri="{FF2B5EF4-FFF2-40B4-BE49-F238E27FC236}">
                <a16:creationId xmlns:a16="http://schemas.microsoft.com/office/drawing/2014/main" id="{2F22B7B1-FDE1-C637-B056-F37B91FE7867}"/>
              </a:ext>
            </a:extLst>
          </p:cNvPr>
          <p:cNvSpPr>
            <a:spLocks noGrp="1"/>
          </p:cNvSpPr>
          <p:nvPr>
            <p:ph type="body" sz="quarter" idx="13" hasCustomPrompt="1"/>
          </p:nvPr>
        </p:nvSpPr>
        <p:spPr>
          <a:xfrm>
            <a:off x="7415949" y="4465164"/>
            <a:ext cx="1833563" cy="998537"/>
          </a:xfrm>
          <a:prstGeom prst="rect">
            <a:avLst/>
          </a:prstGeom>
        </p:spPr>
        <p:txBody>
          <a:bodyPr lIns="0" tIns="0" rIns="0" bIns="0"/>
          <a:lstStyle>
            <a:lvl1pPr marL="0" indent="0" algn="ctr">
              <a:buNone/>
              <a:defRPr sz="1600"/>
            </a:lvl1pPr>
          </a:lstStyle>
          <a:p>
            <a:pPr lvl="0"/>
            <a:r>
              <a:rPr lang="en-US"/>
              <a:t>Lorem Ipsum</a:t>
            </a:r>
          </a:p>
        </p:txBody>
      </p:sp>
      <p:sp>
        <p:nvSpPr>
          <p:cNvPr id="43" name="Text Placeholder 38">
            <a:extLst>
              <a:ext uri="{FF2B5EF4-FFF2-40B4-BE49-F238E27FC236}">
                <a16:creationId xmlns:a16="http://schemas.microsoft.com/office/drawing/2014/main" id="{9DEC398D-6714-FDDD-FA83-A2FCE6C7FA63}"/>
              </a:ext>
            </a:extLst>
          </p:cNvPr>
          <p:cNvSpPr>
            <a:spLocks noGrp="1"/>
          </p:cNvSpPr>
          <p:nvPr>
            <p:ph type="body" sz="quarter" idx="14" hasCustomPrompt="1"/>
          </p:nvPr>
        </p:nvSpPr>
        <p:spPr>
          <a:xfrm>
            <a:off x="9657511" y="4465164"/>
            <a:ext cx="1833563" cy="998537"/>
          </a:xfrm>
          <a:prstGeom prst="rect">
            <a:avLst/>
          </a:prstGeom>
        </p:spPr>
        <p:txBody>
          <a:bodyPr lIns="0" tIns="0" rIns="0" bIns="0"/>
          <a:lstStyle>
            <a:lvl1pPr marL="0" indent="0" algn="ctr">
              <a:buNone/>
              <a:defRPr sz="1600"/>
            </a:lvl1pPr>
          </a:lstStyle>
          <a:p>
            <a:pPr lvl="0"/>
            <a:r>
              <a:rPr lang="en-US"/>
              <a:t>Lorem Ipsum</a:t>
            </a:r>
          </a:p>
        </p:txBody>
      </p:sp>
      <p:sp>
        <p:nvSpPr>
          <p:cNvPr id="16" name="Footer Placeholder 15">
            <a:extLst>
              <a:ext uri="{FF2B5EF4-FFF2-40B4-BE49-F238E27FC236}">
                <a16:creationId xmlns:a16="http://schemas.microsoft.com/office/drawing/2014/main" id="{013AF419-F0D7-827B-C91F-25E2D6DD1277}"/>
              </a:ext>
            </a:extLst>
          </p:cNvPr>
          <p:cNvSpPr>
            <a:spLocks noGrp="1"/>
          </p:cNvSpPr>
          <p:nvPr>
            <p:ph type="ftr" sz="quarter" idx="15"/>
          </p:nvPr>
        </p:nvSpPr>
        <p:spPr/>
        <p:txBody>
          <a:bodyPr/>
          <a:lstStyle/>
          <a:p>
            <a:r>
              <a:rPr lang="en-US"/>
              <a:t>Microsoft Confidential</a:t>
            </a:r>
          </a:p>
        </p:txBody>
      </p:sp>
    </p:spTree>
    <p:extLst>
      <p:ext uri="{BB962C8B-B14F-4D97-AF65-F5344CB8AC3E}">
        <p14:creationId xmlns:p14="http://schemas.microsoft.com/office/powerpoint/2010/main" val="16863046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2 3 rows">
    <p:spTree>
      <p:nvGrpSpPr>
        <p:cNvPr id="1" name=""/>
        <p:cNvGrpSpPr/>
        <p:nvPr/>
      </p:nvGrpSpPr>
      <p:grpSpPr>
        <a:xfrm>
          <a:off x="0" y="0"/>
          <a:ext cx="0" cy="0"/>
          <a:chOff x="0" y="0"/>
          <a:chExt cx="0" cy="0"/>
        </a:xfrm>
      </p:grpSpPr>
      <p:sp>
        <p:nvSpPr>
          <p:cNvPr id="33" name="Rectangle: Single Corner Rounded 32">
            <a:extLst>
              <a:ext uri="{FF2B5EF4-FFF2-40B4-BE49-F238E27FC236}">
                <a16:creationId xmlns:a16="http://schemas.microsoft.com/office/drawing/2014/main" id="{1230C38F-54D2-C577-3AA3-D18B2C9CDBE5}"/>
              </a:ext>
              <a:ext uri="{C183D7F6-B498-43B3-948B-1728B52AA6E4}">
                <adec:decorative xmlns:adec="http://schemas.microsoft.com/office/drawing/2017/decorative" val="1"/>
              </a:ext>
            </a:extLst>
          </p:cNvPr>
          <p:cNvSpPr>
            <a:spLocks/>
          </p:cNvSpPr>
          <p:nvPr userDrawn="1"/>
        </p:nvSpPr>
        <p:spPr bwMode="auto">
          <a:xfrm flipV="1">
            <a:off x="0" y="0"/>
            <a:ext cx="5069014" cy="6476998"/>
          </a:xfrm>
          <a:prstGeom prst="round1Rect">
            <a:avLst>
              <a:gd name="adj" fmla="val 330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 name="Straight Connector 2">
            <a:extLst>
              <a:ext uri="{FF2B5EF4-FFF2-40B4-BE49-F238E27FC236}">
                <a16:creationId xmlns:a16="http://schemas.microsoft.com/office/drawing/2014/main" id="{5E23F4C9-DC6F-E4B9-28AD-F85759AFB78D}"/>
              </a:ext>
            </a:extLst>
          </p:cNvPr>
          <p:cNvCxnSpPr>
            <a:cxnSpLocks/>
          </p:cNvCxnSpPr>
          <p:nvPr userDrawn="1"/>
        </p:nvCxnSpPr>
        <p:spPr>
          <a:xfrm rot="5400000" flipH="1">
            <a:off x="2673286" y="2548128"/>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DC0B46-114E-09DB-31F1-0CB61C613569}"/>
              </a:ext>
            </a:extLst>
          </p:cNvPr>
          <p:cNvCxnSpPr>
            <a:cxnSpLocks/>
          </p:cNvCxnSpPr>
          <p:nvPr userDrawn="1"/>
        </p:nvCxnSpPr>
        <p:spPr>
          <a:xfrm flipH="1">
            <a:off x="7391083" y="3746847"/>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E0717EE-9170-8B81-02D6-D8BF3D076864}"/>
              </a:ext>
            </a:extLst>
          </p:cNvPr>
          <p:cNvCxnSpPr>
            <a:cxnSpLocks/>
          </p:cNvCxnSpPr>
          <p:nvPr userDrawn="1"/>
        </p:nvCxnSpPr>
        <p:spPr>
          <a:xfrm flipH="1">
            <a:off x="6796468" y="5472821"/>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5">
            <a:extLst>
              <a:ext uri="{FF2B5EF4-FFF2-40B4-BE49-F238E27FC236}">
                <a16:creationId xmlns:a16="http://schemas.microsoft.com/office/drawing/2014/main" id="{6105BEFD-A281-5965-F82F-E0BDB542C283}"/>
              </a:ext>
            </a:extLst>
          </p:cNvPr>
          <p:cNvSpPr>
            <a:spLocks noGrp="1"/>
          </p:cNvSpPr>
          <p:nvPr>
            <p:ph type="body" sz="quarter" idx="29" hasCustomPrompt="1"/>
          </p:nvPr>
        </p:nvSpPr>
        <p:spPr>
          <a:xfrm>
            <a:off x="588264" y="4046355"/>
            <a:ext cx="4130023" cy="1661993"/>
          </a:xfrm>
          <a:prstGeom prst="rect">
            <a:avLst/>
          </a:prstGeom>
        </p:spPr>
        <p:txBody>
          <a:bodyPr lIns="0" tIns="0" rIns="0" bIns="0"/>
          <a:lstStyle>
            <a:lvl1pPr marL="0" indent="0">
              <a:buNone/>
              <a:defRPr sz="1800"/>
            </a:lvl1pPr>
          </a:lstStyle>
          <a:p>
            <a:pPr lvl="0"/>
            <a:r>
              <a:rPr lang="en-US"/>
              <a:t>Lorem ipsum dolor sit </a:t>
            </a:r>
            <a:r>
              <a:rPr lang="en-US" err="1"/>
              <a:t>amet</a:t>
            </a:r>
            <a:endParaRPr lang="en-US"/>
          </a:p>
        </p:txBody>
      </p:sp>
      <p:sp>
        <p:nvSpPr>
          <p:cNvPr id="11" name="Rectangle: Top Corners Rounded 10">
            <a:extLst>
              <a:ext uri="{FF2B5EF4-FFF2-40B4-BE49-F238E27FC236}">
                <a16:creationId xmlns:a16="http://schemas.microsoft.com/office/drawing/2014/main" id="{06EEF984-9896-4DBB-50C1-4C75ED2C2ADF}"/>
              </a:ext>
              <a:ext uri="{C183D7F6-B498-43B3-948B-1728B52AA6E4}">
                <adec:decorative xmlns:adec="http://schemas.microsoft.com/office/drawing/2017/decorative" val="1"/>
              </a:ext>
            </a:extLst>
          </p:cNvPr>
          <p:cNvSpPr>
            <a:spLocks/>
          </p:cNvSpPr>
          <p:nvPr userDrawn="1"/>
        </p:nvSpPr>
        <p:spPr bwMode="auto">
          <a:xfrm rot="16200000">
            <a:off x="8787650" y="-1149575"/>
            <a:ext cx="1288888" cy="551981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30A8A1E9-A2D9-C155-4907-FFC7F14B3CC3}"/>
              </a:ext>
              <a:ext uri="{C183D7F6-B498-43B3-948B-1728B52AA6E4}">
                <adec:decorative xmlns:adec="http://schemas.microsoft.com/office/drawing/2017/decorative" val="1"/>
              </a:ext>
            </a:extLst>
          </p:cNvPr>
          <p:cNvSpPr>
            <a:spLocks/>
          </p:cNvSpPr>
          <p:nvPr userDrawn="1"/>
        </p:nvSpPr>
        <p:spPr bwMode="auto">
          <a:xfrm>
            <a:off x="6785321" y="1089609"/>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Top Corners Rounded 12">
            <a:extLst>
              <a:ext uri="{FF2B5EF4-FFF2-40B4-BE49-F238E27FC236}">
                <a16:creationId xmlns:a16="http://schemas.microsoft.com/office/drawing/2014/main" id="{040AE92B-0896-AEE2-46BE-D03FF041DA2A}"/>
              </a:ext>
              <a:ext uri="{C183D7F6-B498-43B3-948B-1728B52AA6E4}">
                <adec:decorative xmlns:adec="http://schemas.microsoft.com/office/drawing/2017/decorative" val="1"/>
              </a:ext>
            </a:extLst>
          </p:cNvPr>
          <p:cNvSpPr>
            <a:spLocks/>
          </p:cNvSpPr>
          <p:nvPr userDrawn="1"/>
        </p:nvSpPr>
        <p:spPr bwMode="auto">
          <a:xfrm rot="16200000">
            <a:off x="8634502" y="454086"/>
            <a:ext cx="1288888" cy="5826106"/>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1477CAEB-35FA-1FC6-A834-73D5A24D5BDD}"/>
              </a:ext>
              <a:ext uri="{C183D7F6-B498-43B3-948B-1728B52AA6E4}">
                <adec:decorative xmlns:adec="http://schemas.microsoft.com/office/drawing/2017/decorative" val="1"/>
              </a:ext>
            </a:extLst>
          </p:cNvPr>
          <p:cNvSpPr>
            <a:spLocks/>
          </p:cNvSpPr>
          <p:nvPr userDrawn="1"/>
        </p:nvSpPr>
        <p:spPr bwMode="auto">
          <a:xfrm>
            <a:off x="6479027" y="2846417"/>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Top Corners Rounded 14">
            <a:extLst>
              <a:ext uri="{FF2B5EF4-FFF2-40B4-BE49-F238E27FC236}">
                <a16:creationId xmlns:a16="http://schemas.microsoft.com/office/drawing/2014/main" id="{69087FA3-966F-951D-1B55-376654C04926}"/>
              </a:ext>
              <a:ext uri="{C183D7F6-B498-43B3-948B-1728B52AA6E4}">
                <adec:decorative xmlns:adec="http://schemas.microsoft.com/office/drawing/2017/decorative" val="1"/>
              </a:ext>
            </a:extLst>
          </p:cNvPr>
          <p:cNvSpPr>
            <a:spLocks/>
          </p:cNvSpPr>
          <p:nvPr userDrawn="1"/>
        </p:nvSpPr>
        <p:spPr bwMode="auto">
          <a:xfrm rot="16200000">
            <a:off x="8481356" y="2057746"/>
            <a:ext cx="1288888" cy="613240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6F9B18FF-5A03-C31A-2EDF-A5BDBD04478A}"/>
              </a:ext>
              <a:ext uri="{C183D7F6-B498-43B3-948B-1728B52AA6E4}">
                <adec:decorative xmlns:adec="http://schemas.microsoft.com/office/drawing/2017/decorative" val="1"/>
              </a:ext>
            </a:extLst>
          </p:cNvPr>
          <p:cNvSpPr>
            <a:spLocks/>
          </p:cNvSpPr>
          <p:nvPr userDrawn="1"/>
        </p:nvSpPr>
        <p:spPr bwMode="auto">
          <a:xfrm>
            <a:off x="6172733" y="4603225"/>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Text Placeholder 35">
            <a:extLst>
              <a:ext uri="{FF2B5EF4-FFF2-40B4-BE49-F238E27FC236}">
                <a16:creationId xmlns:a16="http://schemas.microsoft.com/office/drawing/2014/main" id="{DBFF266A-F348-450A-C6D3-3870613A250D}"/>
              </a:ext>
            </a:extLst>
          </p:cNvPr>
          <p:cNvSpPr>
            <a:spLocks noGrp="1"/>
          </p:cNvSpPr>
          <p:nvPr>
            <p:ph type="body" sz="quarter" idx="10" hasCustomPrompt="1"/>
          </p:nvPr>
        </p:nvSpPr>
        <p:spPr>
          <a:xfrm>
            <a:off x="588263" y="2220393"/>
            <a:ext cx="4130023" cy="1661993"/>
          </a:xfrm>
          <a:prstGeom prst="rect">
            <a:avLst/>
          </a:prstGeom>
        </p:spPr>
        <p:txBody>
          <a:bodyPr lIns="0" tIns="0" rIns="0" bIns="0"/>
          <a:lstStyle>
            <a:lvl1pPr marL="0" indent="0" algn="l">
              <a:buNone/>
              <a:defRPr kumimoji="0" lang="en-US" sz="3600" b="0" i="0" u="none" strike="noStrike" kern="1200" cap="none" spc="-50" normalizeH="0" baseline="0" dirty="0" smtClean="0">
                <a:ln w="3175">
                  <a:noFill/>
                </a:ln>
                <a:solidFill>
                  <a:schemeClr val="bg1"/>
                </a:solidFill>
                <a:effectLst/>
                <a:uLnTx/>
                <a:uFillTx/>
                <a:latin typeface="+mj-lt"/>
                <a:ea typeface="+mn-ea"/>
                <a:cs typeface="Segoe UI" pitchFamily="34" charset="0"/>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31" name="Rectangle: Top Corners Rounded 30">
            <a:extLst>
              <a:ext uri="{FF2B5EF4-FFF2-40B4-BE49-F238E27FC236}">
                <a16:creationId xmlns:a16="http://schemas.microsoft.com/office/drawing/2014/main" id="{5A5F39E0-4EFE-7DD8-B301-AE16C8EDEE4C}"/>
              </a:ext>
              <a:ext uri="{C183D7F6-B498-43B3-948B-1728B52AA6E4}">
                <adec:decorative xmlns:adec="http://schemas.microsoft.com/office/drawing/2017/decorative" val="1"/>
              </a:ext>
            </a:extLst>
          </p:cNvPr>
          <p:cNvSpPr>
            <a:spLocks/>
          </p:cNvSpPr>
          <p:nvPr userDrawn="1"/>
        </p:nvSpPr>
        <p:spPr bwMode="auto">
          <a:xfrm rot="5400000">
            <a:off x="318030" y="-24710"/>
            <a:ext cx="1798914" cy="2434978"/>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Text Placeholder 40">
            <a:extLst>
              <a:ext uri="{FF2B5EF4-FFF2-40B4-BE49-F238E27FC236}">
                <a16:creationId xmlns:a16="http://schemas.microsoft.com/office/drawing/2014/main" id="{36FE8546-F3B4-1B3D-9FAE-5E78E83C1D97}"/>
              </a:ext>
            </a:extLst>
          </p:cNvPr>
          <p:cNvSpPr>
            <a:spLocks noGrp="1"/>
          </p:cNvSpPr>
          <p:nvPr>
            <p:ph type="body" sz="quarter" idx="24" hasCustomPrompt="1"/>
          </p:nvPr>
        </p:nvSpPr>
        <p:spPr>
          <a:xfrm>
            <a:off x="588263" y="5887062"/>
            <a:ext cx="4130023" cy="161583"/>
          </a:xfrm>
          <a:prstGeom prst="rect">
            <a:avLst/>
          </a:prstGeom>
        </p:spPr>
        <p:txBody>
          <a:bodyPr lIns="0" tIns="0" rIns="0" bIns="0" anchor="b">
            <a:spAutoFit/>
          </a:bodyPr>
          <a:lstStyle>
            <a:lvl1pPr marL="0" indent="0">
              <a:buNone/>
              <a:defRPr sz="1050"/>
            </a:lvl1pPr>
          </a:lstStyle>
          <a:p>
            <a:pPr marL="228600" marR="0" lvl="0" indent="-228600" algn="l" defTabSz="914400" rtl="0" eaLnBrk="1" fontAlgn="ctr" latinLnBrk="0" hangingPunct="1">
              <a:lnSpc>
                <a:spcPct val="100000"/>
              </a:lnSpc>
              <a:spcBef>
                <a:spcPts val="0"/>
              </a:spcBef>
              <a:spcAft>
                <a:spcPts val="200"/>
              </a:spcAft>
              <a:buClr>
                <a:srgbClr val="000000"/>
              </a:buClr>
              <a:buSzPct val="100000"/>
              <a:tabLst/>
              <a:defRPr/>
            </a:pPr>
            <a:r>
              <a:rPr lang="en-IN"/>
              <a:t>Source</a:t>
            </a:r>
            <a:endParaRPr lang="en-US"/>
          </a:p>
        </p:txBody>
      </p:sp>
      <p:sp>
        <p:nvSpPr>
          <p:cNvPr id="44" name="Text Placeholder 42">
            <a:extLst>
              <a:ext uri="{FF2B5EF4-FFF2-40B4-BE49-F238E27FC236}">
                <a16:creationId xmlns:a16="http://schemas.microsoft.com/office/drawing/2014/main" id="{5B373B28-7F53-7A58-4265-937636C6EC69}"/>
              </a:ext>
            </a:extLst>
          </p:cNvPr>
          <p:cNvSpPr>
            <a:spLocks noGrp="1"/>
          </p:cNvSpPr>
          <p:nvPr>
            <p:ph type="body" sz="quarter" idx="26" hasCustomPrompt="1"/>
          </p:nvPr>
        </p:nvSpPr>
        <p:spPr>
          <a:xfrm>
            <a:off x="8054416" y="1471831"/>
            <a:ext cx="3554972"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5" name="Text Placeholder 42">
            <a:extLst>
              <a:ext uri="{FF2B5EF4-FFF2-40B4-BE49-F238E27FC236}">
                <a16:creationId xmlns:a16="http://schemas.microsoft.com/office/drawing/2014/main" id="{EE81E199-4654-9AFD-B9D4-DEF5DD9548BA}"/>
              </a:ext>
            </a:extLst>
          </p:cNvPr>
          <p:cNvSpPr>
            <a:spLocks noGrp="1"/>
          </p:cNvSpPr>
          <p:nvPr>
            <p:ph type="body" sz="quarter" idx="27" hasCustomPrompt="1"/>
          </p:nvPr>
        </p:nvSpPr>
        <p:spPr>
          <a:xfrm>
            <a:off x="7748583" y="3228640"/>
            <a:ext cx="3860805"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6" name="Text Placeholder 42">
            <a:extLst>
              <a:ext uri="{FF2B5EF4-FFF2-40B4-BE49-F238E27FC236}">
                <a16:creationId xmlns:a16="http://schemas.microsoft.com/office/drawing/2014/main" id="{440AE09C-DB41-F7D6-AC0E-49B96428A048}"/>
              </a:ext>
            </a:extLst>
          </p:cNvPr>
          <p:cNvSpPr>
            <a:spLocks noGrp="1"/>
          </p:cNvSpPr>
          <p:nvPr>
            <p:ph type="body" sz="quarter" idx="28" hasCustomPrompt="1"/>
          </p:nvPr>
        </p:nvSpPr>
        <p:spPr>
          <a:xfrm>
            <a:off x="7442749" y="4985447"/>
            <a:ext cx="4166639"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2" name="Footer Placeholder 1">
            <a:extLst>
              <a:ext uri="{FF2B5EF4-FFF2-40B4-BE49-F238E27FC236}">
                <a16:creationId xmlns:a16="http://schemas.microsoft.com/office/drawing/2014/main" id="{59D7DB86-9345-E50E-5A9A-06979C7BAD89}"/>
              </a:ext>
            </a:extLst>
          </p:cNvPr>
          <p:cNvSpPr>
            <a:spLocks noGrp="1"/>
          </p:cNvSpPr>
          <p:nvPr>
            <p:ph type="ftr" sz="quarter" idx="30"/>
          </p:nvPr>
        </p:nvSpPr>
        <p:spPr/>
        <p:txBody>
          <a:bodyPr/>
          <a:lstStyle/>
          <a:p>
            <a:r>
              <a:rPr lang="en-US"/>
              <a:t>Microsoft Confidential</a:t>
            </a:r>
          </a:p>
        </p:txBody>
      </p:sp>
    </p:spTree>
    <p:extLst>
      <p:ext uri="{BB962C8B-B14F-4D97-AF65-F5344CB8AC3E}">
        <p14:creationId xmlns:p14="http://schemas.microsoft.com/office/powerpoint/2010/main" val="23569497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2 4 rows">
    <p:spTree>
      <p:nvGrpSpPr>
        <p:cNvPr id="1" name=""/>
        <p:cNvGrpSpPr/>
        <p:nvPr/>
      </p:nvGrpSpPr>
      <p:grpSpPr>
        <a:xfrm>
          <a:off x="0" y="0"/>
          <a:ext cx="0" cy="0"/>
          <a:chOff x="0" y="0"/>
          <a:chExt cx="0" cy="0"/>
        </a:xfrm>
      </p:grpSpPr>
      <p:sp>
        <p:nvSpPr>
          <p:cNvPr id="33" name="Rectangle: Single Corner Rounded 32">
            <a:extLst>
              <a:ext uri="{FF2B5EF4-FFF2-40B4-BE49-F238E27FC236}">
                <a16:creationId xmlns:a16="http://schemas.microsoft.com/office/drawing/2014/main" id="{1230C38F-54D2-C577-3AA3-D18B2C9CDBE5}"/>
              </a:ext>
              <a:ext uri="{C183D7F6-B498-43B3-948B-1728B52AA6E4}">
                <adec:decorative xmlns:adec="http://schemas.microsoft.com/office/drawing/2017/decorative" val="1"/>
              </a:ext>
            </a:extLst>
          </p:cNvPr>
          <p:cNvSpPr>
            <a:spLocks/>
          </p:cNvSpPr>
          <p:nvPr userDrawn="1"/>
        </p:nvSpPr>
        <p:spPr bwMode="auto">
          <a:xfrm flipV="1">
            <a:off x="0" y="0"/>
            <a:ext cx="5069014" cy="6476998"/>
          </a:xfrm>
          <a:prstGeom prst="round1Rect">
            <a:avLst>
              <a:gd name="adj" fmla="val 330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 name="Straight Connector 2">
            <a:extLst>
              <a:ext uri="{FF2B5EF4-FFF2-40B4-BE49-F238E27FC236}">
                <a16:creationId xmlns:a16="http://schemas.microsoft.com/office/drawing/2014/main" id="{5E23F4C9-DC6F-E4B9-28AD-F85759AFB78D}"/>
              </a:ext>
            </a:extLst>
          </p:cNvPr>
          <p:cNvCxnSpPr>
            <a:cxnSpLocks/>
          </p:cNvCxnSpPr>
          <p:nvPr userDrawn="1"/>
        </p:nvCxnSpPr>
        <p:spPr>
          <a:xfrm rot="5400000" flipH="1">
            <a:off x="2673286" y="2548128"/>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DC0B46-114E-09DB-31F1-0CB61C613569}"/>
              </a:ext>
            </a:extLst>
          </p:cNvPr>
          <p:cNvCxnSpPr>
            <a:cxnSpLocks/>
          </p:cNvCxnSpPr>
          <p:nvPr userDrawn="1"/>
        </p:nvCxnSpPr>
        <p:spPr>
          <a:xfrm flipH="1">
            <a:off x="7391083" y="4541558"/>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E0717EE-9170-8B81-02D6-D8BF3D076864}"/>
              </a:ext>
            </a:extLst>
          </p:cNvPr>
          <p:cNvCxnSpPr>
            <a:cxnSpLocks/>
          </p:cNvCxnSpPr>
          <p:nvPr userDrawn="1"/>
        </p:nvCxnSpPr>
        <p:spPr>
          <a:xfrm flipH="1">
            <a:off x="6294818" y="5887062"/>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Top Corners Rounded 10">
            <a:extLst>
              <a:ext uri="{FF2B5EF4-FFF2-40B4-BE49-F238E27FC236}">
                <a16:creationId xmlns:a16="http://schemas.microsoft.com/office/drawing/2014/main" id="{06EEF984-9896-4DBB-50C1-4C75ED2C2ADF}"/>
              </a:ext>
              <a:ext uri="{C183D7F6-B498-43B3-948B-1728B52AA6E4}">
                <adec:decorative xmlns:adec="http://schemas.microsoft.com/office/drawing/2017/decorative" val="1"/>
              </a:ext>
            </a:extLst>
          </p:cNvPr>
          <p:cNvSpPr>
            <a:spLocks/>
          </p:cNvSpPr>
          <p:nvPr userDrawn="1"/>
        </p:nvSpPr>
        <p:spPr bwMode="auto">
          <a:xfrm rot="16200000">
            <a:off x="8905483" y="-1435969"/>
            <a:ext cx="1053222" cy="551981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30A8A1E9-A2D9-C155-4907-FFC7F14B3CC3}"/>
              </a:ext>
              <a:ext uri="{C183D7F6-B498-43B3-948B-1728B52AA6E4}">
                <adec:decorative xmlns:adec="http://schemas.microsoft.com/office/drawing/2017/decorative" val="1"/>
              </a:ext>
            </a:extLst>
          </p:cNvPr>
          <p:cNvSpPr/>
          <p:nvPr userDrawn="1"/>
        </p:nvSpPr>
        <p:spPr bwMode="auto">
          <a:xfrm>
            <a:off x="6785321" y="919284"/>
            <a:ext cx="807786" cy="80930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Top Corners Rounded 12">
            <a:extLst>
              <a:ext uri="{FF2B5EF4-FFF2-40B4-BE49-F238E27FC236}">
                <a16:creationId xmlns:a16="http://schemas.microsoft.com/office/drawing/2014/main" id="{040AE92B-0896-AEE2-46BE-D03FF041DA2A}"/>
              </a:ext>
              <a:ext uri="{C183D7F6-B498-43B3-948B-1728B52AA6E4}">
                <adec:decorative xmlns:adec="http://schemas.microsoft.com/office/drawing/2017/decorative" val="1"/>
              </a:ext>
            </a:extLst>
          </p:cNvPr>
          <p:cNvSpPr>
            <a:spLocks/>
          </p:cNvSpPr>
          <p:nvPr userDrawn="1"/>
        </p:nvSpPr>
        <p:spPr bwMode="auto">
          <a:xfrm rot="16200000">
            <a:off x="8752335" y="-243611"/>
            <a:ext cx="1053222" cy="5826106"/>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1477CAEB-35FA-1FC6-A834-73D5A24D5BDD}"/>
              </a:ext>
              <a:ext uri="{C183D7F6-B498-43B3-948B-1728B52AA6E4}">
                <adec:decorative xmlns:adec="http://schemas.microsoft.com/office/drawing/2017/decorative" val="1"/>
              </a:ext>
            </a:extLst>
          </p:cNvPr>
          <p:cNvSpPr/>
          <p:nvPr userDrawn="1"/>
        </p:nvSpPr>
        <p:spPr bwMode="auto">
          <a:xfrm>
            <a:off x="6479027" y="2264790"/>
            <a:ext cx="807786" cy="80930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Top Corners Rounded 14">
            <a:extLst>
              <a:ext uri="{FF2B5EF4-FFF2-40B4-BE49-F238E27FC236}">
                <a16:creationId xmlns:a16="http://schemas.microsoft.com/office/drawing/2014/main" id="{69087FA3-966F-951D-1B55-376654C04926}"/>
              </a:ext>
              <a:ext uri="{C183D7F6-B498-43B3-948B-1728B52AA6E4}">
                <adec:decorative xmlns:adec="http://schemas.microsoft.com/office/drawing/2017/decorative" val="1"/>
              </a:ext>
            </a:extLst>
          </p:cNvPr>
          <p:cNvSpPr>
            <a:spLocks/>
          </p:cNvSpPr>
          <p:nvPr userDrawn="1"/>
        </p:nvSpPr>
        <p:spPr bwMode="auto">
          <a:xfrm rot="16200000">
            <a:off x="8599189" y="948746"/>
            <a:ext cx="1053222" cy="613240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6F9B18FF-5A03-C31A-2EDF-A5BDBD04478A}"/>
              </a:ext>
              <a:ext uri="{C183D7F6-B498-43B3-948B-1728B52AA6E4}">
                <adec:decorative xmlns:adec="http://schemas.microsoft.com/office/drawing/2017/decorative" val="1"/>
              </a:ext>
            </a:extLst>
          </p:cNvPr>
          <p:cNvSpPr/>
          <p:nvPr userDrawn="1"/>
        </p:nvSpPr>
        <p:spPr bwMode="auto">
          <a:xfrm>
            <a:off x="6172733" y="3610295"/>
            <a:ext cx="807786" cy="80930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3CEAB6D3-4A01-DF03-052D-5649683A474F}"/>
              </a:ext>
              <a:ext uri="{C183D7F6-B498-43B3-948B-1728B52AA6E4}">
                <adec:decorative xmlns:adec="http://schemas.microsoft.com/office/drawing/2017/decorative" val="1"/>
              </a:ext>
            </a:extLst>
          </p:cNvPr>
          <p:cNvSpPr>
            <a:spLocks/>
          </p:cNvSpPr>
          <p:nvPr userDrawn="1"/>
        </p:nvSpPr>
        <p:spPr bwMode="auto">
          <a:xfrm rot="16200000">
            <a:off x="8446041" y="2141104"/>
            <a:ext cx="1053222" cy="6438694"/>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0D375BEB-03C3-690A-F66B-116F6524F74E}"/>
              </a:ext>
              <a:ext uri="{C183D7F6-B498-43B3-948B-1728B52AA6E4}">
                <adec:decorative xmlns:adec="http://schemas.microsoft.com/office/drawing/2017/decorative" val="1"/>
              </a:ext>
            </a:extLst>
          </p:cNvPr>
          <p:cNvSpPr/>
          <p:nvPr userDrawn="1"/>
        </p:nvSpPr>
        <p:spPr bwMode="auto">
          <a:xfrm>
            <a:off x="5866439" y="4955799"/>
            <a:ext cx="807786" cy="80930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Text Placeholder 35">
            <a:extLst>
              <a:ext uri="{FF2B5EF4-FFF2-40B4-BE49-F238E27FC236}">
                <a16:creationId xmlns:a16="http://schemas.microsoft.com/office/drawing/2014/main" id="{DBFF266A-F348-450A-C6D3-3870613A250D}"/>
              </a:ext>
            </a:extLst>
          </p:cNvPr>
          <p:cNvSpPr>
            <a:spLocks noGrp="1"/>
          </p:cNvSpPr>
          <p:nvPr>
            <p:ph type="body" sz="quarter" idx="10" hasCustomPrompt="1"/>
          </p:nvPr>
        </p:nvSpPr>
        <p:spPr>
          <a:xfrm>
            <a:off x="588263" y="2220393"/>
            <a:ext cx="4130023" cy="1661993"/>
          </a:xfrm>
          <a:prstGeom prst="rect">
            <a:avLst/>
          </a:prstGeom>
        </p:spPr>
        <p:txBody>
          <a:bodyPr lIns="0" tIns="0" rIns="0" bIns="0"/>
          <a:lstStyle>
            <a:lvl1pPr marL="0" indent="0" algn="l">
              <a:buNone/>
              <a:defRPr kumimoji="0" lang="en-US" sz="3600" b="0" i="0" u="none" strike="noStrike" kern="1200" cap="none" spc="-50" normalizeH="0" baseline="0" dirty="0" smtClean="0">
                <a:ln w="3175">
                  <a:noFill/>
                </a:ln>
                <a:solidFill>
                  <a:schemeClr val="bg1"/>
                </a:solidFill>
                <a:effectLst/>
                <a:uLnTx/>
                <a:uFillTx/>
                <a:latin typeface="+mj-lt"/>
                <a:ea typeface="+mn-ea"/>
                <a:cs typeface="Segoe UI" pitchFamily="34" charset="0"/>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31" name="Rectangle: Top Corners Rounded 30">
            <a:extLst>
              <a:ext uri="{FF2B5EF4-FFF2-40B4-BE49-F238E27FC236}">
                <a16:creationId xmlns:a16="http://schemas.microsoft.com/office/drawing/2014/main" id="{5A5F39E0-4EFE-7DD8-B301-AE16C8EDEE4C}"/>
              </a:ext>
              <a:ext uri="{C183D7F6-B498-43B3-948B-1728B52AA6E4}">
                <adec:decorative xmlns:adec="http://schemas.microsoft.com/office/drawing/2017/decorative" val="1"/>
              </a:ext>
            </a:extLst>
          </p:cNvPr>
          <p:cNvSpPr>
            <a:spLocks/>
          </p:cNvSpPr>
          <p:nvPr userDrawn="1"/>
        </p:nvSpPr>
        <p:spPr bwMode="auto">
          <a:xfrm rot="5400000">
            <a:off x="318030" y="-24710"/>
            <a:ext cx="1798914" cy="2434978"/>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Text Placeholder 40">
            <a:extLst>
              <a:ext uri="{FF2B5EF4-FFF2-40B4-BE49-F238E27FC236}">
                <a16:creationId xmlns:a16="http://schemas.microsoft.com/office/drawing/2014/main" id="{36FE8546-F3B4-1B3D-9FAE-5E78E83C1D97}"/>
              </a:ext>
            </a:extLst>
          </p:cNvPr>
          <p:cNvSpPr>
            <a:spLocks noGrp="1"/>
          </p:cNvSpPr>
          <p:nvPr>
            <p:ph type="body" sz="quarter" idx="24" hasCustomPrompt="1"/>
          </p:nvPr>
        </p:nvSpPr>
        <p:spPr>
          <a:xfrm>
            <a:off x="588263" y="5887062"/>
            <a:ext cx="4130023" cy="161583"/>
          </a:xfrm>
          <a:prstGeom prst="rect">
            <a:avLst/>
          </a:prstGeom>
        </p:spPr>
        <p:txBody>
          <a:bodyPr lIns="0" tIns="0" rIns="0" bIns="0" anchor="b">
            <a:spAutoFit/>
          </a:bodyPr>
          <a:lstStyle>
            <a:lvl1pPr marL="0" indent="0">
              <a:buNone/>
              <a:defRPr sz="1050"/>
            </a:lvl1pPr>
          </a:lstStyle>
          <a:p>
            <a:pPr marL="228600" marR="0" lvl="0" indent="-228600" algn="l" defTabSz="914400" rtl="0" eaLnBrk="1" fontAlgn="ctr" latinLnBrk="0" hangingPunct="1">
              <a:lnSpc>
                <a:spcPct val="100000"/>
              </a:lnSpc>
              <a:spcBef>
                <a:spcPts val="0"/>
              </a:spcBef>
              <a:spcAft>
                <a:spcPts val="200"/>
              </a:spcAft>
              <a:buClr>
                <a:srgbClr val="000000"/>
              </a:buClr>
              <a:buSzPct val="100000"/>
              <a:tabLst/>
              <a:defRPr/>
            </a:pPr>
            <a:r>
              <a:rPr lang="en-IN"/>
              <a:t>Source</a:t>
            </a:r>
            <a:endParaRPr lang="en-US"/>
          </a:p>
        </p:txBody>
      </p:sp>
      <p:sp>
        <p:nvSpPr>
          <p:cNvPr id="44" name="Text Placeholder 42">
            <a:extLst>
              <a:ext uri="{FF2B5EF4-FFF2-40B4-BE49-F238E27FC236}">
                <a16:creationId xmlns:a16="http://schemas.microsoft.com/office/drawing/2014/main" id="{5B373B28-7F53-7A58-4265-937636C6EC69}"/>
              </a:ext>
            </a:extLst>
          </p:cNvPr>
          <p:cNvSpPr>
            <a:spLocks noGrp="1"/>
          </p:cNvSpPr>
          <p:nvPr>
            <p:ph type="body" sz="quarter" idx="26" hasCustomPrompt="1"/>
          </p:nvPr>
        </p:nvSpPr>
        <p:spPr>
          <a:xfrm>
            <a:off x="7767270" y="1185437"/>
            <a:ext cx="3849374"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5" name="Text Placeholder 42">
            <a:extLst>
              <a:ext uri="{FF2B5EF4-FFF2-40B4-BE49-F238E27FC236}">
                <a16:creationId xmlns:a16="http://schemas.microsoft.com/office/drawing/2014/main" id="{EE81E199-4654-9AFD-B9D4-DEF5DD9548BA}"/>
              </a:ext>
            </a:extLst>
          </p:cNvPr>
          <p:cNvSpPr>
            <a:spLocks noGrp="1"/>
          </p:cNvSpPr>
          <p:nvPr>
            <p:ph type="body" sz="quarter" idx="27" hasCustomPrompt="1"/>
          </p:nvPr>
        </p:nvSpPr>
        <p:spPr>
          <a:xfrm>
            <a:off x="7461437" y="2530943"/>
            <a:ext cx="4155207"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6" name="Text Placeholder 42">
            <a:extLst>
              <a:ext uri="{FF2B5EF4-FFF2-40B4-BE49-F238E27FC236}">
                <a16:creationId xmlns:a16="http://schemas.microsoft.com/office/drawing/2014/main" id="{440AE09C-DB41-F7D6-AC0E-49B96428A048}"/>
              </a:ext>
            </a:extLst>
          </p:cNvPr>
          <p:cNvSpPr>
            <a:spLocks noGrp="1"/>
          </p:cNvSpPr>
          <p:nvPr>
            <p:ph type="body" sz="quarter" idx="28" hasCustomPrompt="1"/>
          </p:nvPr>
        </p:nvSpPr>
        <p:spPr>
          <a:xfrm>
            <a:off x="7155603" y="3876447"/>
            <a:ext cx="4461041"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7" name="Text Placeholder 42">
            <a:extLst>
              <a:ext uri="{FF2B5EF4-FFF2-40B4-BE49-F238E27FC236}">
                <a16:creationId xmlns:a16="http://schemas.microsoft.com/office/drawing/2014/main" id="{0727EA48-60C4-45DC-C794-7B02329F2C05}"/>
              </a:ext>
            </a:extLst>
          </p:cNvPr>
          <p:cNvSpPr>
            <a:spLocks noGrp="1"/>
          </p:cNvSpPr>
          <p:nvPr>
            <p:ph type="body" sz="quarter" idx="29" hasCustomPrompt="1"/>
          </p:nvPr>
        </p:nvSpPr>
        <p:spPr>
          <a:xfrm>
            <a:off x="6849769" y="5221951"/>
            <a:ext cx="4766874" cy="276999"/>
          </a:xfrm>
          <a:prstGeom prst="rect">
            <a:avLst/>
          </a:prstGeom>
        </p:spPr>
        <p:txBody>
          <a:bodyPr wrap="square"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2" name="Text Placeholder 5">
            <a:extLst>
              <a:ext uri="{FF2B5EF4-FFF2-40B4-BE49-F238E27FC236}">
                <a16:creationId xmlns:a16="http://schemas.microsoft.com/office/drawing/2014/main" id="{D4EF88EC-EB8C-118A-DF95-081CDCB5AEDE}"/>
              </a:ext>
            </a:extLst>
          </p:cNvPr>
          <p:cNvSpPr>
            <a:spLocks noGrp="1"/>
          </p:cNvSpPr>
          <p:nvPr>
            <p:ph type="body" sz="quarter" idx="30" hasCustomPrompt="1"/>
          </p:nvPr>
        </p:nvSpPr>
        <p:spPr>
          <a:xfrm>
            <a:off x="588264" y="4046355"/>
            <a:ext cx="4130023" cy="1661993"/>
          </a:xfrm>
          <a:prstGeom prst="rect">
            <a:avLst/>
          </a:prstGeom>
        </p:spPr>
        <p:txBody>
          <a:bodyPr lIns="0" tIns="0" rIns="0" bIns="0"/>
          <a:lstStyle>
            <a:lvl1pPr marL="0" indent="0">
              <a:buNone/>
              <a:defRPr sz="1800"/>
            </a:lvl1pPr>
          </a:lstStyle>
          <a:p>
            <a:pPr lvl="0"/>
            <a:r>
              <a:rPr lang="en-US"/>
              <a:t>Lorem ipsum dolor sit </a:t>
            </a:r>
            <a:r>
              <a:rPr lang="en-US" err="1"/>
              <a:t>amet</a:t>
            </a:r>
            <a:endParaRPr lang="en-US"/>
          </a:p>
        </p:txBody>
      </p:sp>
      <p:sp>
        <p:nvSpPr>
          <p:cNvPr id="6" name="Footer Placeholder 5">
            <a:extLst>
              <a:ext uri="{FF2B5EF4-FFF2-40B4-BE49-F238E27FC236}">
                <a16:creationId xmlns:a16="http://schemas.microsoft.com/office/drawing/2014/main" id="{6641B68C-B04A-422E-5BC6-75803D02B400}"/>
              </a:ext>
            </a:extLst>
          </p:cNvPr>
          <p:cNvSpPr>
            <a:spLocks noGrp="1"/>
          </p:cNvSpPr>
          <p:nvPr>
            <p:ph type="ftr" sz="quarter" idx="31"/>
          </p:nvPr>
        </p:nvSpPr>
        <p:spPr/>
        <p:txBody>
          <a:bodyPr/>
          <a:lstStyle/>
          <a:p>
            <a:r>
              <a:rPr lang="en-US"/>
              <a:t>Microsoft Confidential</a:t>
            </a:r>
          </a:p>
        </p:txBody>
      </p:sp>
    </p:spTree>
    <p:extLst>
      <p:ext uri="{BB962C8B-B14F-4D97-AF65-F5344CB8AC3E}">
        <p14:creationId xmlns:p14="http://schemas.microsoft.com/office/powerpoint/2010/main" val="12938887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2 5 rows">
    <p:spTree>
      <p:nvGrpSpPr>
        <p:cNvPr id="1" name=""/>
        <p:cNvGrpSpPr/>
        <p:nvPr/>
      </p:nvGrpSpPr>
      <p:grpSpPr>
        <a:xfrm>
          <a:off x="0" y="0"/>
          <a:ext cx="0" cy="0"/>
          <a:chOff x="0" y="0"/>
          <a:chExt cx="0" cy="0"/>
        </a:xfrm>
      </p:grpSpPr>
      <p:sp>
        <p:nvSpPr>
          <p:cNvPr id="33" name="Rectangle: Single Corner Rounded 32">
            <a:extLst>
              <a:ext uri="{FF2B5EF4-FFF2-40B4-BE49-F238E27FC236}">
                <a16:creationId xmlns:a16="http://schemas.microsoft.com/office/drawing/2014/main" id="{1230C38F-54D2-C577-3AA3-D18B2C9CDBE5}"/>
              </a:ext>
              <a:ext uri="{C183D7F6-B498-43B3-948B-1728B52AA6E4}">
                <adec:decorative xmlns:adec="http://schemas.microsoft.com/office/drawing/2017/decorative" val="1"/>
              </a:ext>
            </a:extLst>
          </p:cNvPr>
          <p:cNvSpPr>
            <a:spLocks/>
          </p:cNvSpPr>
          <p:nvPr userDrawn="1"/>
        </p:nvSpPr>
        <p:spPr bwMode="auto">
          <a:xfrm flipV="1">
            <a:off x="0" y="0"/>
            <a:ext cx="5069014" cy="6476998"/>
          </a:xfrm>
          <a:prstGeom prst="round1Rect">
            <a:avLst>
              <a:gd name="adj" fmla="val 330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3" name="Straight Connector 2">
            <a:extLst>
              <a:ext uri="{FF2B5EF4-FFF2-40B4-BE49-F238E27FC236}">
                <a16:creationId xmlns:a16="http://schemas.microsoft.com/office/drawing/2014/main" id="{5E23F4C9-DC6F-E4B9-28AD-F85759AFB78D}"/>
              </a:ext>
            </a:extLst>
          </p:cNvPr>
          <p:cNvCxnSpPr>
            <a:cxnSpLocks/>
          </p:cNvCxnSpPr>
          <p:nvPr userDrawn="1"/>
        </p:nvCxnSpPr>
        <p:spPr>
          <a:xfrm rot="5400000" flipH="1">
            <a:off x="2673286" y="2548128"/>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CADC0B46-114E-09DB-31F1-0CB61C613569}"/>
              </a:ext>
            </a:extLst>
          </p:cNvPr>
          <p:cNvCxnSpPr>
            <a:cxnSpLocks/>
          </p:cNvCxnSpPr>
          <p:nvPr userDrawn="1"/>
        </p:nvCxnSpPr>
        <p:spPr>
          <a:xfrm flipH="1">
            <a:off x="7391083" y="4915970"/>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E0717EE-9170-8B81-02D6-D8BF3D076864}"/>
              </a:ext>
            </a:extLst>
          </p:cNvPr>
          <p:cNvCxnSpPr>
            <a:cxnSpLocks/>
          </p:cNvCxnSpPr>
          <p:nvPr userDrawn="1"/>
        </p:nvCxnSpPr>
        <p:spPr>
          <a:xfrm flipH="1">
            <a:off x="6294818" y="6071726"/>
            <a:ext cx="433956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Rectangle: Top Corners Rounded 8">
            <a:extLst>
              <a:ext uri="{FF2B5EF4-FFF2-40B4-BE49-F238E27FC236}">
                <a16:creationId xmlns:a16="http://schemas.microsoft.com/office/drawing/2014/main" id="{EF9ABA44-FC9B-E447-01E7-EEBB7F88633F}"/>
              </a:ext>
              <a:ext uri="{C183D7F6-B498-43B3-948B-1728B52AA6E4}">
                <adec:decorative xmlns:adec="http://schemas.microsoft.com/office/drawing/2017/decorative" val="1"/>
              </a:ext>
            </a:extLst>
          </p:cNvPr>
          <p:cNvSpPr>
            <a:spLocks/>
          </p:cNvSpPr>
          <p:nvPr userDrawn="1"/>
        </p:nvSpPr>
        <p:spPr bwMode="auto">
          <a:xfrm rot="16200000">
            <a:off x="9115328" y="-1627971"/>
            <a:ext cx="939825" cy="5213521"/>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59CE9D3D-1A10-B5A6-B75A-09CAAE74215A}"/>
              </a:ext>
              <a:ext uri="{C183D7F6-B498-43B3-948B-1728B52AA6E4}">
                <adec:decorative xmlns:adec="http://schemas.microsoft.com/office/drawing/2017/decorative" val="1"/>
              </a:ext>
            </a:extLst>
          </p:cNvPr>
          <p:cNvSpPr/>
          <p:nvPr userDrawn="1"/>
        </p:nvSpPr>
        <p:spPr bwMode="auto">
          <a:xfrm>
            <a:off x="7055289" y="599094"/>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Rectangle: Top Corners Rounded 10">
            <a:extLst>
              <a:ext uri="{FF2B5EF4-FFF2-40B4-BE49-F238E27FC236}">
                <a16:creationId xmlns:a16="http://schemas.microsoft.com/office/drawing/2014/main" id="{06EEF984-9896-4DBB-50C1-4C75ED2C2ADF}"/>
              </a:ext>
              <a:ext uri="{C183D7F6-B498-43B3-948B-1728B52AA6E4}">
                <adec:decorative xmlns:adec="http://schemas.microsoft.com/office/drawing/2017/decorative" val="1"/>
              </a:ext>
            </a:extLst>
          </p:cNvPr>
          <p:cNvSpPr>
            <a:spLocks/>
          </p:cNvSpPr>
          <p:nvPr userDrawn="1"/>
        </p:nvSpPr>
        <p:spPr bwMode="auto">
          <a:xfrm rot="16200000">
            <a:off x="8962181" y="-625360"/>
            <a:ext cx="939825" cy="551981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30A8A1E9-A2D9-C155-4907-FFC7F14B3CC3}"/>
              </a:ext>
              <a:ext uri="{C183D7F6-B498-43B3-948B-1728B52AA6E4}">
                <adec:decorative xmlns:adec="http://schemas.microsoft.com/office/drawing/2017/decorative" val="1"/>
              </a:ext>
            </a:extLst>
          </p:cNvPr>
          <p:cNvSpPr/>
          <p:nvPr userDrawn="1"/>
        </p:nvSpPr>
        <p:spPr bwMode="auto">
          <a:xfrm>
            <a:off x="6748996" y="1754850"/>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Rectangle: Top Corners Rounded 12">
            <a:extLst>
              <a:ext uri="{FF2B5EF4-FFF2-40B4-BE49-F238E27FC236}">
                <a16:creationId xmlns:a16="http://schemas.microsoft.com/office/drawing/2014/main" id="{040AE92B-0896-AEE2-46BE-D03FF041DA2A}"/>
              </a:ext>
              <a:ext uri="{C183D7F6-B498-43B3-948B-1728B52AA6E4}">
                <adec:decorative xmlns:adec="http://schemas.microsoft.com/office/drawing/2017/decorative" val="1"/>
              </a:ext>
            </a:extLst>
          </p:cNvPr>
          <p:cNvSpPr>
            <a:spLocks/>
          </p:cNvSpPr>
          <p:nvPr userDrawn="1"/>
        </p:nvSpPr>
        <p:spPr bwMode="auto">
          <a:xfrm rot="16200000">
            <a:off x="8809034" y="377249"/>
            <a:ext cx="939825" cy="5826106"/>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1477CAEB-35FA-1FC6-A834-73D5A24D5BDD}"/>
              </a:ext>
              <a:ext uri="{C183D7F6-B498-43B3-948B-1728B52AA6E4}">
                <adec:decorative xmlns:adec="http://schemas.microsoft.com/office/drawing/2017/decorative" val="1"/>
              </a:ext>
            </a:extLst>
          </p:cNvPr>
          <p:cNvSpPr/>
          <p:nvPr userDrawn="1"/>
        </p:nvSpPr>
        <p:spPr bwMode="auto">
          <a:xfrm>
            <a:off x="6442702" y="2910606"/>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Top Corners Rounded 14">
            <a:extLst>
              <a:ext uri="{FF2B5EF4-FFF2-40B4-BE49-F238E27FC236}">
                <a16:creationId xmlns:a16="http://schemas.microsoft.com/office/drawing/2014/main" id="{69087FA3-966F-951D-1B55-376654C04926}"/>
              </a:ext>
              <a:ext uri="{C183D7F6-B498-43B3-948B-1728B52AA6E4}">
                <adec:decorative xmlns:adec="http://schemas.microsoft.com/office/drawing/2017/decorative" val="1"/>
              </a:ext>
            </a:extLst>
          </p:cNvPr>
          <p:cNvSpPr>
            <a:spLocks/>
          </p:cNvSpPr>
          <p:nvPr userDrawn="1"/>
        </p:nvSpPr>
        <p:spPr bwMode="auto">
          <a:xfrm rot="16200000">
            <a:off x="8655888" y="1379857"/>
            <a:ext cx="939825" cy="613240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6" name="Oval 15">
            <a:extLst>
              <a:ext uri="{FF2B5EF4-FFF2-40B4-BE49-F238E27FC236}">
                <a16:creationId xmlns:a16="http://schemas.microsoft.com/office/drawing/2014/main" id="{6F9B18FF-5A03-C31A-2EDF-A5BDBD04478A}"/>
              </a:ext>
              <a:ext uri="{C183D7F6-B498-43B3-948B-1728B52AA6E4}">
                <adec:decorative xmlns:adec="http://schemas.microsoft.com/office/drawing/2017/decorative" val="1"/>
              </a:ext>
            </a:extLst>
          </p:cNvPr>
          <p:cNvSpPr/>
          <p:nvPr userDrawn="1"/>
        </p:nvSpPr>
        <p:spPr bwMode="auto">
          <a:xfrm>
            <a:off x="6136408" y="4066362"/>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 name="Rectangle: Top Corners Rounded 16">
            <a:extLst>
              <a:ext uri="{FF2B5EF4-FFF2-40B4-BE49-F238E27FC236}">
                <a16:creationId xmlns:a16="http://schemas.microsoft.com/office/drawing/2014/main" id="{3CEAB6D3-4A01-DF03-052D-5649683A474F}"/>
              </a:ext>
              <a:ext uri="{C183D7F6-B498-43B3-948B-1728B52AA6E4}">
                <adec:decorative xmlns:adec="http://schemas.microsoft.com/office/drawing/2017/decorative" val="1"/>
              </a:ext>
            </a:extLst>
          </p:cNvPr>
          <p:cNvSpPr>
            <a:spLocks/>
          </p:cNvSpPr>
          <p:nvPr userDrawn="1"/>
        </p:nvSpPr>
        <p:spPr bwMode="auto">
          <a:xfrm rot="16200000">
            <a:off x="8502740" y="2382467"/>
            <a:ext cx="939825" cy="6438694"/>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no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 name="Oval 17">
            <a:extLst>
              <a:ext uri="{FF2B5EF4-FFF2-40B4-BE49-F238E27FC236}">
                <a16:creationId xmlns:a16="http://schemas.microsoft.com/office/drawing/2014/main" id="{0D375BEB-03C3-690A-F66B-116F6524F74E}"/>
              </a:ext>
              <a:ext uri="{C183D7F6-B498-43B3-948B-1728B52AA6E4}">
                <adec:decorative xmlns:adec="http://schemas.microsoft.com/office/drawing/2017/decorative" val="1"/>
              </a:ext>
            </a:extLst>
          </p:cNvPr>
          <p:cNvSpPr/>
          <p:nvPr userDrawn="1"/>
        </p:nvSpPr>
        <p:spPr bwMode="auto">
          <a:xfrm>
            <a:off x="5830114" y="5222118"/>
            <a:ext cx="757969" cy="759395"/>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6" name="Text Placeholder 35">
            <a:extLst>
              <a:ext uri="{FF2B5EF4-FFF2-40B4-BE49-F238E27FC236}">
                <a16:creationId xmlns:a16="http://schemas.microsoft.com/office/drawing/2014/main" id="{DBFF266A-F348-450A-C6D3-3870613A250D}"/>
              </a:ext>
            </a:extLst>
          </p:cNvPr>
          <p:cNvSpPr>
            <a:spLocks noGrp="1"/>
          </p:cNvSpPr>
          <p:nvPr>
            <p:ph type="body" sz="quarter" idx="10" hasCustomPrompt="1"/>
          </p:nvPr>
        </p:nvSpPr>
        <p:spPr>
          <a:xfrm>
            <a:off x="588263" y="2220393"/>
            <a:ext cx="4130023" cy="1661993"/>
          </a:xfrm>
          <a:prstGeom prst="rect">
            <a:avLst/>
          </a:prstGeom>
        </p:spPr>
        <p:txBody>
          <a:bodyPr lIns="0" tIns="0" rIns="0" bIns="0"/>
          <a:lstStyle>
            <a:lvl1pPr marL="0" indent="0" algn="l">
              <a:buNone/>
              <a:defRPr kumimoji="0" lang="en-US" sz="3600" b="0" i="0" u="none" strike="noStrike" kern="1200" cap="none" spc="-50" normalizeH="0" baseline="0" dirty="0" smtClean="0">
                <a:ln w="3175">
                  <a:noFill/>
                </a:ln>
                <a:solidFill>
                  <a:schemeClr val="bg1"/>
                </a:solidFill>
                <a:effectLst/>
                <a:uLnTx/>
                <a:uFillTx/>
                <a:latin typeface="+mj-lt"/>
                <a:ea typeface="+mn-ea"/>
                <a:cs typeface="Segoe UI" pitchFamily="34" charset="0"/>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31" name="Rectangle: Top Corners Rounded 30">
            <a:extLst>
              <a:ext uri="{FF2B5EF4-FFF2-40B4-BE49-F238E27FC236}">
                <a16:creationId xmlns:a16="http://schemas.microsoft.com/office/drawing/2014/main" id="{5A5F39E0-4EFE-7DD8-B301-AE16C8EDEE4C}"/>
              </a:ext>
              <a:ext uri="{C183D7F6-B498-43B3-948B-1728B52AA6E4}">
                <adec:decorative xmlns:adec="http://schemas.microsoft.com/office/drawing/2017/decorative" val="1"/>
              </a:ext>
            </a:extLst>
          </p:cNvPr>
          <p:cNvSpPr>
            <a:spLocks/>
          </p:cNvSpPr>
          <p:nvPr userDrawn="1"/>
        </p:nvSpPr>
        <p:spPr bwMode="auto">
          <a:xfrm rot="5400000">
            <a:off x="318030" y="-24710"/>
            <a:ext cx="1798914" cy="2434978"/>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1" name="Text Placeholder 40">
            <a:extLst>
              <a:ext uri="{FF2B5EF4-FFF2-40B4-BE49-F238E27FC236}">
                <a16:creationId xmlns:a16="http://schemas.microsoft.com/office/drawing/2014/main" id="{36FE8546-F3B4-1B3D-9FAE-5E78E83C1D97}"/>
              </a:ext>
            </a:extLst>
          </p:cNvPr>
          <p:cNvSpPr>
            <a:spLocks noGrp="1"/>
          </p:cNvSpPr>
          <p:nvPr>
            <p:ph type="body" sz="quarter" idx="24" hasCustomPrompt="1"/>
          </p:nvPr>
        </p:nvSpPr>
        <p:spPr>
          <a:xfrm>
            <a:off x="588263" y="5887062"/>
            <a:ext cx="4130023" cy="161583"/>
          </a:xfrm>
          <a:prstGeom prst="rect">
            <a:avLst/>
          </a:prstGeom>
        </p:spPr>
        <p:txBody>
          <a:bodyPr lIns="0" tIns="0" rIns="0" bIns="0" anchor="b">
            <a:spAutoFit/>
          </a:bodyPr>
          <a:lstStyle>
            <a:lvl1pPr marL="0" indent="0">
              <a:buNone/>
              <a:defRPr sz="1050"/>
            </a:lvl1pPr>
          </a:lstStyle>
          <a:p>
            <a:pPr marL="228600" marR="0" lvl="0" indent="-228600" algn="l" defTabSz="914400" rtl="0" eaLnBrk="1" fontAlgn="ctr" latinLnBrk="0" hangingPunct="1">
              <a:lnSpc>
                <a:spcPct val="100000"/>
              </a:lnSpc>
              <a:spcBef>
                <a:spcPts val="0"/>
              </a:spcBef>
              <a:spcAft>
                <a:spcPts val="200"/>
              </a:spcAft>
              <a:buClr>
                <a:srgbClr val="000000"/>
              </a:buClr>
              <a:buSzPct val="100000"/>
              <a:tabLst/>
              <a:defRPr/>
            </a:pPr>
            <a:r>
              <a:rPr lang="en-IN"/>
              <a:t>Source</a:t>
            </a:r>
            <a:endParaRPr lang="en-US"/>
          </a:p>
        </p:txBody>
      </p:sp>
      <p:sp>
        <p:nvSpPr>
          <p:cNvPr id="43" name="Text Placeholder 42">
            <a:extLst>
              <a:ext uri="{FF2B5EF4-FFF2-40B4-BE49-F238E27FC236}">
                <a16:creationId xmlns:a16="http://schemas.microsoft.com/office/drawing/2014/main" id="{50A5BB22-DABE-AE18-6466-34F9F833A149}"/>
              </a:ext>
            </a:extLst>
          </p:cNvPr>
          <p:cNvSpPr>
            <a:spLocks noGrp="1"/>
          </p:cNvSpPr>
          <p:nvPr>
            <p:ph type="body" sz="quarter" idx="25" hasCustomPrompt="1"/>
          </p:nvPr>
        </p:nvSpPr>
        <p:spPr>
          <a:xfrm>
            <a:off x="7972330" y="840677"/>
            <a:ext cx="3637058" cy="276999"/>
          </a:xfrm>
          <a:prstGeom prst="rect">
            <a:avLst/>
          </a:prstGeom>
        </p:spPr>
        <p:txBody>
          <a:bodyPr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4" name="Text Placeholder 42">
            <a:extLst>
              <a:ext uri="{FF2B5EF4-FFF2-40B4-BE49-F238E27FC236}">
                <a16:creationId xmlns:a16="http://schemas.microsoft.com/office/drawing/2014/main" id="{5B373B28-7F53-7A58-4265-937636C6EC69}"/>
              </a:ext>
            </a:extLst>
          </p:cNvPr>
          <p:cNvSpPr>
            <a:spLocks noGrp="1"/>
          </p:cNvSpPr>
          <p:nvPr>
            <p:ph type="body" sz="quarter" idx="26" hasCustomPrompt="1"/>
          </p:nvPr>
        </p:nvSpPr>
        <p:spPr>
          <a:xfrm>
            <a:off x="7666495" y="1996047"/>
            <a:ext cx="3942893" cy="276999"/>
          </a:xfrm>
          <a:prstGeom prst="rect">
            <a:avLst/>
          </a:prstGeom>
        </p:spPr>
        <p:txBody>
          <a:bodyPr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5" name="Text Placeholder 42">
            <a:extLst>
              <a:ext uri="{FF2B5EF4-FFF2-40B4-BE49-F238E27FC236}">
                <a16:creationId xmlns:a16="http://schemas.microsoft.com/office/drawing/2014/main" id="{EE81E199-4654-9AFD-B9D4-DEF5DD9548BA}"/>
              </a:ext>
            </a:extLst>
          </p:cNvPr>
          <p:cNvSpPr>
            <a:spLocks noGrp="1"/>
          </p:cNvSpPr>
          <p:nvPr>
            <p:ph type="body" sz="quarter" idx="27" hasCustomPrompt="1"/>
          </p:nvPr>
        </p:nvSpPr>
        <p:spPr>
          <a:xfrm>
            <a:off x="7360662" y="3151802"/>
            <a:ext cx="4248725" cy="276999"/>
          </a:xfrm>
          <a:prstGeom prst="rect">
            <a:avLst/>
          </a:prstGeom>
        </p:spPr>
        <p:txBody>
          <a:bodyPr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6" name="Text Placeholder 42">
            <a:extLst>
              <a:ext uri="{FF2B5EF4-FFF2-40B4-BE49-F238E27FC236}">
                <a16:creationId xmlns:a16="http://schemas.microsoft.com/office/drawing/2014/main" id="{440AE09C-DB41-F7D6-AC0E-49B96428A048}"/>
              </a:ext>
            </a:extLst>
          </p:cNvPr>
          <p:cNvSpPr>
            <a:spLocks noGrp="1"/>
          </p:cNvSpPr>
          <p:nvPr>
            <p:ph type="body" sz="quarter" idx="28" hasCustomPrompt="1"/>
          </p:nvPr>
        </p:nvSpPr>
        <p:spPr>
          <a:xfrm>
            <a:off x="7054829" y="4307558"/>
            <a:ext cx="4554558" cy="276999"/>
          </a:xfrm>
          <a:prstGeom prst="rect">
            <a:avLst/>
          </a:prstGeom>
        </p:spPr>
        <p:txBody>
          <a:bodyPr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47" name="Text Placeholder 42">
            <a:extLst>
              <a:ext uri="{FF2B5EF4-FFF2-40B4-BE49-F238E27FC236}">
                <a16:creationId xmlns:a16="http://schemas.microsoft.com/office/drawing/2014/main" id="{0727EA48-60C4-45DC-C794-7B02329F2C05}"/>
              </a:ext>
            </a:extLst>
          </p:cNvPr>
          <p:cNvSpPr>
            <a:spLocks noGrp="1"/>
          </p:cNvSpPr>
          <p:nvPr>
            <p:ph type="body" sz="quarter" idx="29" hasCustomPrompt="1"/>
          </p:nvPr>
        </p:nvSpPr>
        <p:spPr>
          <a:xfrm>
            <a:off x="6748996" y="5463314"/>
            <a:ext cx="4860392" cy="276999"/>
          </a:xfrm>
          <a:prstGeom prst="rect">
            <a:avLst/>
          </a:prstGeom>
        </p:spPr>
        <p:txBody>
          <a:bodyPr lIns="0" tIns="0" rIns="0" bIns="0" anchor="ctr">
            <a:spAutoFit/>
          </a:bodyPr>
          <a:lstStyle>
            <a:lvl1pPr marL="0" indent="0">
              <a:buNone/>
              <a:defRPr sz="1800">
                <a:latin typeface="+mj-lt"/>
              </a:defRPr>
            </a:lvl1pPr>
          </a:lstStyle>
          <a:p>
            <a:pPr marL="228600" marR="0" lvl="0" indent="-228600" algn="l" defTabSz="932742" rtl="0" eaLnBrk="1" fontAlgn="auto" latinLnBrk="0" hangingPunct="1">
              <a:lnSpc>
                <a:spcPct val="100000"/>
              </a:lnSpc>
              <a:spcBef>
                <a:spcPct val="0"/>
              </a:spcBef>
              <a:spcAft>
                <a:spcPts val="0"/>
              </a:spcAft>
              <a:buClrTx/>
              <a:buSzTx/>
              <a:tabLst/>
              <a:defRPr/>
            </a:pPr>
            <a:r>
              <a:rPr lang="en-IN"/>
              <a:t>Lorem Ipsum</a:t>
            </a:r>
            <a:endParaRPr lang="en-US"/>
          </a:p>
        </p:txBody>
      </p:sp>
      <p:sp>
        <p:nvSpPr>
          <p:cNvPr id="7" name="Text Placeholder 6">
            <a:extLst>
              <a:ext uri="{FF2B5EF4-FFF2-40B4-BE49-F238E27FC236}">
                <a16:creationId xmlns:a16="http://schemas.microsoft.com/office/drawing/2014/main" id="{1C720BCB-A569-8760-706B-FEA7594C730C}"/>
              </a:ext>
            </a:extLst>
          </p:cNvPr>
          <p:cNvSpPr>
            <a:spLocks noGrp="1"/>
          </p:cNvSpPr>
          <p:nvPr>
            <p:ph type="body" sz="quarter" idx="31" hasCustomPrompt="1"/>
          </p:nvPr>
        </p:nvSpPr>
        <p:spPr>
          <a:xfrm>
            <a:off x="588265" y="4046356"/>
            <a:ext cx="4130023" cy="1661993"/>
          </a:xfrm>
          <a:prstGeom prst="rect">
            <a:avLst/>
          </a:prstGeom>
        </p:spPr>
        <p:txBody>
          <a:bodyPr lIns="0" tIns="0" rIns="0" bIns="0"/>
          <a:lstStyle>
            <a:lvl1pPr marL="0" indent="0">
              <a:buFont typeface="Arial" panose="020B0604020202020204" pitchFamily="34" charset="0"/>
              <a:buNone/>
              <a:defRPr sz="1800"/>
            </a:lvl1pPr>
          </a:lstStyle>
          <a:p>
            <a:pPr lvl="0"/>
            <a:r>
              <a:rPr lang="en-US"/>
              <a:t>Lorem ipsum dolor sit </a:t>
            </a:r>
            <a:r>
              <a:rPr lang="en-US" err="1"/>
              <a:t>amet</a:t>
            </a:r>
            <a:endParaRPr lang="en-US"/>
          </a:p>
        </p:txBody>
      </p:sp>
      <p:sp>
        <p:nvSpPr>
          <p:cNvPr id="2" name="Footer Placeholder 1">
            <a:extLst>
              <a:ext uri="{FF2B5EF4-FFF2-40B4-BE49-F238E27FC236}">
                <a16:creationId xmlns:a16="http://schemas.microsoft.com/office/drawing/2014/main" id="{E1E683E9-BFA1-DB77-C269-A862C27EE54F}"/>
              </a:ext>
            </a:extLst>
          </p:cNvPr>
          <p:cNvSpPr>
            <a:spLocks noGrp="1"/>
          </p:cNvSpPr>
          <p:nvPr>
            <p:ph type="ftr" sz="quarter" idx="32"/>
          </p:nvPr>
        </p:nvSpPr>
        <p:spPr/>
        <p:txBody>
          <a:bodyPr/>
          <a:lstStyle/>
          <a:p>
            <a:r>
              <a:rPr lang="en-US"/>
              <a:t>Microsoft Confidential</a:t>
            </a:r>
          </a:p>
        </p:txBody>
      </p:sp>
    </p:spTree>
    <p:extLst>
      <p:ext uri="{BB962C8B-B14F-4D97-AF65-F5344CB8AC3E}">
        <p14:creationId xmlns:p14="http://schemas.microsoft.com/office/powerpoint/2010/main" val="22651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3780C054-A769-848E-8E6B-744605588B10}"/>
              </a:ext>
            </a:extLst>
          </p:cNvPr>
          <p:cNvCxnSpPr>
            <a:cxnSpLocks/>
          </p:cNvCxnSpPr>
          <p:nvPr userDrawn="1"/>
        </p:nvCxnSpPr>
        <p:spPr>
          <a:xfrm flipH="1">
            <a:off x="3700272" y="6023429"/>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6FC3DFCC-8140-5502-D91D-FEA980DA1F13}"/>
              </a:ext>
              <a:ext uri="{C183D7F6-B498-43B3-948B-1728B52AA6E4}">
                <adec:decorative xmlns:adec="http://schemas.microsoft.com/office/drawing/2017/decorative" val="1"/>
              </a:ext>
            </a:extLst>
          </p:cNvPr>
          <p:cNvSpPr>
            <a:spLocks/>
          </p:cNvSpPr>
          <p:nvPr userDrawn="1"/>
        </p:nvSpPr>
        <p:spPr bwMode="auto">
          <a:xfrm>
            <a:off x="0" y="2670054"/>
            <a:ext cx="12188952" cy="3353375"/>
          </a:xfrm>
          <a:prstGeom prst="roundRect">
            <a:avLst>
              <a:gd name="adj"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Text Placeholder 19">
            <a:extLst>
              <a:ext uri="{FF2B5EF4-FFF2-40B4-BE49-F238E27FC236}">
                <a16:creationId xmlns:a16="http://schemas.microsoft.com/office/drawing/2014/main" id="{350D5391-CB35-88B0-0AF4-F516F365E4E3}"/>
              </a:ext>
            </a:extLst>
          </p:cNvPr>
          <p:cNvSpPr>
            <a:spLocks noGrp="1"/>
          </p:cNvSpPr>
          <p:nvPr>
            <p:ph type="body" sz="quarter" idx="10" hasCustomPrompt="1"/>
          </p:nvPr>
        </p:nvSpPr>
        <p:spPr>
          <a:xfrm>
            <a:off x="703044" y="3390279"/>
            <a:ext cx="3136781" cy="536422"/>
          </a:xfrm>
          <a:prstGeom prst="rect">
            <a:avLst/>
          </a:prstGeom>
        </p:spPr>
        <p:txBody>
          <a:bodyPr lIns="0" tIns="0" rIns="0" bIns="0"/>
          <a:lstStyle>
            <a:lvl1pPr marL="0" indent="0" algn="ctr">
              <a:buNone/>
              <a:defRPr lang="en-US" sz="1800" kern="1200" spc="0" baseline="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lnSpc>
                <a:spcPct val="100000"/>
              </a:lnSpc>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9" name="Rectangle: Rounded Corners 8">
            <a:extLst>
              <a:ext uri="{FF2B5EF4-FFF2-40B4-BE49-F238E27FC236}">
                <a16:creationId xmlns:a16="http://schemas.microsoft.com/office/drawing/2014/main" id="{D1A1CF48-FDB4-2453-DEA3-DAEEEF8272D1}"/>
              </a:ext>
            </a:extLst>
          </p:cNvPr>
          <p:cNvSpPr/>
          <p:nvPr userDrawn="1"/>
        </p:nvSpPr>
        <p:spPr bwMode="auto">
          <a:xfrm>
            <a:off x="1642158"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9B52C5C2-23EF-C173-9461-D6238C0F1FDC}"/>
              </a:ext>
            </a:extLst>
          </p:cNvPr>
          <p:cNvSpPr/>
          <p:nvPr userDrawn="1"/>
        </p:nvSpPr>
        <p:spPr bwMode="auto">
          <a:xfrm>
            <a:off x="9602446"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89EDF4B8-AC2E-81D5-0A9A-C796FF896F51}"/>
              </a:ext>
            </a:extLst>
          </p:cNvPr>
          <p:cNvSpPr/>
          <p:nvPr userDrawn="1"/>
        </p:nvSpPr>
        <p:spPr bwMode="auto">
          <a:xfrm>
            <a:off x="5622301"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Text Placeholder 19">
            <a:extLst>
              <a:ext uri="{FF2B5EF4-FFF2-40B4-BE49-F238E27FC236}">
                <a16:creationId xmlns:a16="http://schemas.microsoft.com/office/drawing/2014/main" id="{5635F81D-3491-144A-2C59-3A4F6C232AB3}"/>
              </a:ext>
            </a:extLst>
          </p:cNvPr>
          <p:cNvSpPr>
            <a:spLocks noGrp="1"/>
          </p:cNvSpPr>
          <p:nvPr>
            <p:ph type="body" sz="quarter" idx="11" hasCustomPrompt="1"/>
          </p:nvPr>
        </p:nvSpPr>
        <p:spPr>
          <a:xfrm>
            <a:off x="4529132" y="3390279"/>
            <a:ext cx="3136781"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5" name="Text Placeholder 19">
            <a:extLst>
              <a:ext uri="{FF2B5EF4-FFF2-40B4-BE49-F238E27FC236}">
                <a16:creationId xmlns:a16="http://schemas.microsoft.com/office/drawing/2014/main" id="{3C02A192-6C59-A0C7-4302-7B0DD8541B8E}"/>
              </a:ext>
            </a:extLst>
          </p:cNvPr>
          <p:cNvSpPr>
            <a:spLocks noGrp="1"/>
          </p:cNvSpPr>
          <p:nvPr>
            <p:ph type="body" sz="quarter" idx="12" hasCustomPrompt="1"/>
          </p:nvPr>
        </p:nvSpPr>
        <p:spPr>
          <a:xfrm>
            <a:off x="8352175" y="3390279"/>
            <a:ext cx="3136781"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7" name="Text Placeholder 19">
            <a:extLst>
              <a:ext uri="{FF2B5EF4-FFF2-40B4-BE49-F238E27FC236}">
                <a16:creationId xmlns:a16="http://schemas.microsoft.com/office/drawing/2014/main" id="{38C7F1F9-41A0-3F38-6900-C40F82B4D3B0}"/>
              </a:ext>
            </a:extLst>
          </p:cNvPr>
          <p:cNvSpPr>
            <a:spLocks noGrp="1"/>
          </p:cNvSpPr>
          <p:nvPr>
            <p:ph type="body" sz="quarter" idx="14" hasCustomPrompt="1"/>
          </p:nvPr>
        </p:nvSpPr>
        <p:spPr>
          <a:xfrm>
            <a:off x="703044" y="4737206"/>
            <a:ext cx="3136781"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8" name="Text Placeholder 19">
            <a:extLst>
              <a:ext uri="{FF2B5EF4-FFF2-40B4-BE49-F238E27FC236}">
                <a16:creationId xmlns:a16="http://schemas.microsoft.com/office/drawing/2014/main" id="{3DC3240E-E79E-D32C-2E22-CFE47470E328}"/>
              </a:ext>
            </a:extLst>
          </p:cNvPr>
          <p:cNvSpPr>
            <a:spLocks noGrp="1"/>
          </p:cNvSpPr>
          <p:nvPr>
            <p:ph type="body" sz="quarter" idx="15" hasCustomPrompt="1"/>
          </p:nvPr>
        </p:nvSpPr>
        <p:spPr>
          <a:xfrm>
            <a:off x="4529132" y="4737206"/>
            <a:ext cx="3136781"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9" name="Text Placeholder 19">
            <a:extLst>
              <a:ext uri="{FF2B5EF4-FFF2-40B4-BE49-F238E27FC236}">
                <a16:creationId xmlns:a16="http://schemas.microsoft.com/office/drawing/2014/main" id="{CF99506B-EA7C-DEAE-E6FC-7D430A71D41F}"/>
              </a:ext>
            </a:extLst>
          </p:cNvPr>
          <p:cNvSpPr>
            <a:spLocks noGrp="1"/>
          </p:cNvSpPr>
          <p:nvPr>
            <p:ph type="body" sz="quarter" idx="16" hasCustomPrompt="1"/>
          </p:nvPr>
        </p:nvSpPr>
        <p:spPr>
          <a:xfrm>
            <a:off x="8352175" y="4737206"/>
            <a:ext cx="3136781"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11" name="Text Placeholder 10">
            <a:extLst>
              <a:ext uri="{FF2B5EF4-FFF2-40B4-BE49-F238E27FC236}">
                <a16:creationId xmlns:a16="http://schemas.microsoft.com/office/drawing/2014/main" id="{E0D94D97-8786-43F7-99E5-B9FE99EBB98B}"/>
              </a:ext>
            </a:extLst>
          </p:cNvPr>
          <p:cNvSpPr>
            <a:spLocks noGrp="1"/>
          </p:cNvSpPr>
          <p:nvPr>
            <p:ph type="body" sz="quarter" idx="17" hasCustomPrompt="1"/>
          </p:nvPr>
        </p:nvSpPr>
        <p:spPr>
          <a:xfrm>
            <a:off x="703044" y="4085732"/>
            <a:ext cx="3136781"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3" name="Text Placeholder 10">
            <a:extLst>
              <a:ext uri="{FF2B5EF4-FFF2-40B4-BE49-F238E27FC236}">
                <a16:creationId xmlns:a16="http://schemas.microsoft.com/office/drawing/2014/main" id="{1BB143A8-13DC-EFF6-791A-FE6AFCAD77C5}"/>
              </a:ext>
            </a:extLst>
          </p:cNvPr>
          <p:cNvSpPr>
            <a:spLocks noGrp="1"/>
          </p:cNvSpPr>
          <p:nvPr>
            <p:ph type="body" sz="quarter" idx="18" hasCustomPrompt="1"/>
          </p:nvPr>
        </p:nvSpPr>
        <p:spPr>
          <a:xfrm>
            <a:off x="4526085" y="4085732"/>
            <a:ext cx="3136781"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4" name="Text Placeholder 10">
            <a:extLst>
              <a:ext uri="{FF2B5EF4-FFF2-40B4-BE49-F238E27FC236}">
                <a16:creationId xmlns:a16="http://schemas.microsoft.com/office/drawing/2014/main" id="{975DEA79-E150-0CCD-EB6B-3C3AE08C51B5}"/>
              </a:ext>
            </a:extLst>
          </p:cNvPr>
          <p:cNvSpPr>
            <a:spLocks noGrp="1"/>
          </p:cNvSpPr>
          <p:nvPr>
            <p:ph type="body" sz="quarter" idx="19" hasCustomPrompt="1"/>
          </p:nvPr>
        </p:nvSpPr>
        <p:spPr>
          <a:xfrm>
            <a:off x="8352175" y="4085732"/>
            <a:ext cx="3136781"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5" name="Text Placeholder 18">
            <a:extLst>
              <a:ext uri="{FF2B5EF4-FFF2-40B4-BE49-F238E27FC236}">
                <a16:creationId xmlns:a16="http://schemas.microsoft.com/office/drawing/2014/main" id="{746A97FF-C98B-D62A-0440-AEB1A373CC07}"/>
              </a:ext>
            </a:extLst>
          </p:cNvPr>
          <p:cNvSpPr>
            <a:spLocks noGrp="1"/>
          </p:cNvSpPr>
          <p:nvPr>
            <p:ph type="body" sz="quarter" idx="23"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
        <p:nvSpPr>
          <p:cNvPr id="6" name="Footer Placeholder 5">
            <a:extLst>
              <a:ext uri="{FF2B5EF4-FFF2-40B4-BE49-F238E27FC236}">
                <a16:creationId xmlns:a16="http://schemas.microsoft.com/office/drawing/2014/main" id="{0F6B51FF-DF12-046D-1EB3-6BD80E64B71D}"/>
              </a:ext>
            </a:extLst>
          </p:cNvPr>
          <p:cNvSpPr>
            <a:spLocks noGrp="1"/>
          </p:cNvSpPr>
          <p:nvPr>
            <p:ph type="ftr" sz="quarter" idx="24"/>
          </p:nvPr>
        </p:nvSpPr>
        <p:spPr/>
        <p:txBody>
          <a:bodyPr/>
          <a:lstStyle/>
          <a:p>
            <a:r>
              <a:rPr lang="en-US"/>
              <a:t>Microsoft Confidential</a:t>
            </a:r>
          </a:p>
        </p:txBody>
      </p:sp>
    </p:spTree>
    <p:extLst>
      <p:ext uri="{BB962C8B-B14F-4D97-AF65-F5344CB8AC3E}">
        <p14:creationId xmlns:p14="http://schemas.microsoft.com/office/powerpoint/2010/main" val="3757146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576076"/>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3780C054-A769-848E-8E6B-744605588B10}"/>
              </a:ext>
            </a:extLst>
          </p:cNvPr>
          <p:cNvCxnSpPr>
            <a:cxnSpLocks/>
          </p:cNvCxnSpPr>
          <p:nvPr userDrawn="1"/>
        </p:nvCxnSpPr>
        <p:spPr>
          <a:xfrm flipH="1">
            <a:off x="3700272" y="6023429"/>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6FC3DFCC-8140-5502-D91D-FEA980DA1F13}"/>
              </a:ext>
              <a:ext uri="{C183D7F6-B498-43B3-948B-1728B52AA6E4}">
                <adec:decorative xmlns:adec="http://schemas.microsoft.com/office/drawing/2017/decorative" val="1"/>
              </a:ext>
            </a:extLst>
          </p:cNvPr>
          <p:cNvSpPr>
            <a:spLocks/>
          </p:cNvSpPr>
          <p:nvPr userDrawn="1"/>
        </p:nvSpPr>
        <p:spPr bwMode="auto">
          <a:xfrm>
            <a:off x="0" y="2670054"/>
            <a:ext cx="12188952" cy="3353375"/>
          </a:xfrm>
          <a:prstGeom prst="roundRect">
            <a:avLst>
              <a:gd name="adj"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Text Placeholder 19">
            <a:extLst>
              <a:ext uri="{FF2B5EF4-FFF2-40B4-BE49-F238E27FC236}">
                <a16:creationId xmlns:a16="http://schemas.microsoft.com/office/drawing/2014/main" id="{350D5391-CB35-88B0-0AF4-F516F365E4E3}"/>
              </a:ext>
            </a:extLst>
          </p:cNvPr>
          <p:cNvSpPr>
            <a:spLocks noGrp="1"/>
          </p:cNvSpPr>
          <p:nvPr>
            <p:ph type="body" sz="quarter" idx="10" hasCustomPrompt="1"/>
          </p:nvPr>
        </p:nvSpPr>
        <p:spPr>
          <a:xfrm>
            <a:off x="703044" y="3390279"/>
            <a:ext cx="2197669" cy="536422"/>
          </a:xfrm>
          <a:prstGeom prst="rect">
            <a:avLst/>
          </a:prstGeom>
        </p:spPr>
        <p:txBody>
          <a:bodyPr lIns="0" tIns="0" rIns="0" bIns="0"/>
          <a:lstStyle>
            <a:lvl1pPr marL="0" indent="0" algn="ctr">
              <a:buNone/>
              <a:defRPr lang="en-US" sz="1800" kern="1200" spc="0" baseline="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lnSpc>
                <a:spcPct val="100000"/>
              </a:lnSpc>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9" name="Rectangle: Rounded Corners 8">
            <a:extLst>
              <a:ext uri="{FF2B5EF4-FFF2-40B4-BE49-F238E27FC236}">
                <a16:creationId xmlns:a16="http://schemas.microsoft.com/office/drawing/2014/main" id="{D1A1CF48-FDB4-2453-DEA3-DAEEEF8272D1}"/>
              </a:ext>
            </a:extLst>
          </p:cNvPr>
          <p:cNvSpPr/>
          <p:nvPr userDrawn="1"/>
        </p:nvSpPr>
        <p:spPr bwMode="auto">
          <a:xfrm>
            <a:off x="1328179"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9B52C5C2-23EF-C173-9461-D6238C0F1FDC}"/>
              </a:ext>
            </a:extLst>
          </p:cNvPr>
          <p:cNvSpPr/>
          <p:nvPr userDrawn="1"/>
        </p:nvSpPr>
        <p:spPr bwMode="auto">
          <a:xfrm>
            <a:off x="7053675"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89EDF4B8-AC2E-81D5-0A9A-C796FF896F51}"/>
              </a:ext>
            </a:extLst>
          </p:cNvPr>
          <p:cNvSpPr/>
          <p:nvPr userDrawn="1"/>
        </p:nvSpPr>
        <p:spPr bwMode="auto">
          <a:xfrm>
            <a:off x="4190927"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Text Placeholder 19">
            <a:extLst>
              <a:ext uri="{FF2B5EF4-FFF2-40B4-BE49-F238E27FC236}">
                <a16:creationId xmlns:a16="http://schemas.microsoft.com/office/drawing/2014/main" id="{5635F81D-3491-144A-2C59-3A4F6C232AB3}"/>
              </a:ext>
            </a:extLst>
          </p:cNvPr>
          <p:cNvSpPr>
            <a:spLocks noGrp="1"/>
          </p:cNvSpPr>
          <p:nvPr>
            <p:ph type="body" sz="quarter" idx="11" hasCustomPrompt="1"/>
          </p:nvPr>
        </p:nvSpPr>
        <p:spPr>
          <a:xfrm>
            <a:off x="3565792" y="3390279"/>
            <a:ext cx="2197669"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5" name="Text Placeholder 19">
            <a:extLst>
              <a:ext uri="{FF2B5EF4-FFF2-40B4-BE49-F238E27FC236}">
                <a16:creationId xmlns:a16="http://schemas.microsoft.com/office/drawing/2014/main" id="{3C02A192-6C59-A0C7-4302-7B0DD8541B8E}"/>
              </a:ext>
            </a:extLst>
          </p:cNvPr>
          <p:cNvSpPr>
            <a:spLocks noGrp="1"/>
          </p:cNvSpPr>
          <p:nvPr>
            <p:ph type="body" sz="quarter" idx="12" hasCustomPrompt="1"/>
          </p:nvPr>
        </p:nvSpPr>
        <p:spPr>
          <a:xfrm>
            <a:off x="6428540" y="3390279"/>
            <a:ext cx="2197669"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7" name="Text Placeholder 19">
            <a:extLst>
              <a:ext uri="{FF2B5EF4-FFF2-40B4-BE49-F238E27FC236}">
                <a16:creationId xmlns:a16="http://schemas.microsoft.com/office/drawing/2014/main" id="{38C7F1F9-41A0-3F38-6900-C40F82B4D3B0}"/>
              </a:ext>
            </a:extLst>
          </p:cNvPr>
          <p:cNvSpPr>
            <a:spLocks noGrp="1"/>
          </p:cNvSpPr>
          <p:nvPr>
            <p:ph type="body" sz="quarter" idx="14" hasCustomPrompt="1"/>
          </p:nvPr>
        </p:nvSpPr>
        <p:spPr>
          <a:xfrm>
            <a:off x="703044"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8" name="Text Placeholder 19">
            <a:extLst>
              <a:ext uri="{FF2B5EF4-FFF2-40B4-BE49-F238E27FC236}">
                <a16:creationId xmlns:a16="http://schemas.microsoft.com/office/drawing/2014/main" id="{3DC3240E-E79E-D32C-2E22-CFE47470E328}"/>
              </a:ext>
            </a:extLst>
          </p:cNvPr>
          <p:cNvSpPr>
            <a:spLocks noGrp="1"/>
          </p:cNvSpPr>
          <p:nvPr>
            <p:ph type="body" sz="quarter" idx="15" hasCustomPrompt="1"/>
          </p:nvPr>
        </p:nvSpPr>
        <p:spPr>
          <a:xfrm>
            <a:off x="3565792"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9" name="Text Placeholder 19">
            <a:extLst>
              <a:ext uri="{FF2B5EF4-FFF2-40B4-BE49-F238E27FC236}">
                <a16:creationId xmlns:a16="http://schemas.microsoft.com/office/drawing/2014/main" id="{CF99506B-EA7C-DEAE-E6FC-7D430A71D41F}"/>
              </a:ext>
            </a:extLst>
          </p:cNvPr>
          <p:cNvSpPr>
            <a:spLocks noGrp="1"/>
          </p:cNvSpPr>
          <p:nvPr>
            <p:ph type="body" sz="quarter" idx="16" hasCustomPrompt="1"/>
          </p:nvPr>
        </p:nvSpPr>
        <p:spPr>
          <a:xfrm>
            <a:off x="6428540"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5" name="Text Placeholder 19">
            <a:extLst>
              <a:ext uri="{FF2B5EF4-FFF2-40B4-BE49-F238E27FC236}">
                <a16:creationId xmlns:a16="http://schemas.microsoft.com/office/drawing/2014/main" id="{E70B5F84-DA50-B975-3545-F56E061427C3}"/>
              </a:ext>
            </a:extLst>
          </p:cNvPr>
          <p:cNvSpPr>
            <a:spLocks noGrp="1"/>
          </p:cNvSpPr>
          <p:nvPr>
            <p:ph type="body" sz="quarter" idx="17" hasCustomPrompt="1"/>
          </p:nvPr>
        </p:nvSpPr>
        <p:spPr>
          <a:xfrm>
            <a:off x="9291287" y="3390279"/>
            <a:ext cx="2197669"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6" name="Text Placeholder 19">
            <a:extLst>
              <a:ext uri="{FF2B5EF4-FFF2-40B4-BE49-F238E27FC236}">
                <a16:creationId xmlns:a16="http://schemas.microsoft.com/office/drawing/2014/main" id="{7BF2D831-7832-24DC-0645-8A050ED5DEDE}"/>
              </a:ext>
            </a:extLst>
          </p:cNvPr>
          <p:cNvSpPr>
            <a:spLocks noGrp="1"/>
          </p:cNvSpPr>
          <p:nvPr>
            <p:ph type="body" sz="quarter" idx="18" hasCustomPrompt="1"/>
          </p:nvPr>
        </p:nvSpPr>
        <p:spPr>
          <a:xfrm>
            <a:off x="9291287"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7" name="Rectangle: Rounded Corners 6">
            <a:extLst>
              <a:ext uri="{FF2B5EF4-FFF2-40B4-BE49-F238E27FC236}">
                <a16:creationId xmlns:a16="http://schemas.microsoft.com/office/drawing/2014/main" id="{495941A9-8720-748E-4C3B-59437BDF7D3B}"/>
              </a:ext>
            </a:extLst>
          </p:cNvPr>
          <p:cNvSpPr/>
          <p:nvPr userDrawn="1"/>
        </p:nvSpPr>
        <p:spPr bwMode="auto">
          <a:xfrm>
            <a:off x="9916423"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1" name="Text Placeholder 10">
            <a:extLst>
              <a:ext uri="{FF2B5EF4-FFF2-40B4-BE49-F238E27FC236}">
                <a16:creationId xmlns:a16="http://schemas.microsoft.com/office/drawing/2014/main" id="{3B67E975-8DC0-20E7-626F-D802C98103A6}"/>
              </a:ext>
            </a:extLst>
          </p:cNvPr>
          <p:cNvSpPr>
            <a:spLocks noGrp="1"/>
          </p:cNvSpPr>
          <p:nvPr>
            <p:ph type="body" sz="quarter" idx="19" hasCustomPrompt="1"/>
          </p:nvPr>
        </p:nvSpPr>
        <p:spPr>
          <a:xfrm>
            <a:off x="703044"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3" name="Text Placeholder 10">
            <a:extLst>
              <a:ext uri="{FF2B5EF4-FFF2-40B4-BE49-F238E27FC236}">
                <a16:creationId xmlns:a16="http://schemas.microsoft.com/office/drawing/2014/main" id="{C97ADC73-21EC-F159-BA97-87FE6C73945A}"/>
              </a:ext>
            </a:extLst>
          </p:cNvPr>
          <p:cNvSpPr>
            <a:spLocks noGrp="1"/>
          </p:cNvSpPr>
          <p:nvPr>
            <p:ph type="body" sz="quarter" idx="20" hasCustomPrompt="1"/>
          </p:nvPr>
        </p:nvSpPr>
        <p:spPr>
          <a:xfrm>
            <a:off x="3565791"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4" name="Text Placeholder 10">
            <a:extLst>
              <a:ext uri="{FF2B5EF4-FFF2-40B4-BE49-F238E27FC236}">
                <a16:creationId xmlns:a16="http://schemas.microsoft.com/office/drawing/2014/main" id="{D1E787BF-A707-655D-D30A-11044B418E8F}"/>
              </a:ext>
            </a:extLst>
          </p:cNvPr>
          <p:cNvSpPr>
            <a:spLocks noGrp="1"/>
          </p:cNvSpPr>
          <p:nvPr>
            <p:ph type="body" sz="quarter" idx="21" hasCustomPrompt="1"/>
          </p:nvPr>
        </p:nvSpPr>
        <p:spPr>
          <a:xfrm>
            <a:off x="6428538"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5" name="Text Placeholder 10">
            <a:extLst>
              <a:ext uri="{FF2B5EF4-FFF2-40B4-BE49-F238E27FC236}">
                <a16:creationId xmlns:a16="http://schemas.microsoft.com/office/drawing/2014/main" id="{22BAE3DD-F35A-114D-4C89-FBD0F67EE6C5}"/>
              </a:ext>
            </a:extLst>
          </p:cNvPr>
          <p:cNvSpPr>
            <a:spLocks noGrp="1"/>
          </p:cNvSpPr>
          <p:nvPr>
            <p:ph type="body" sz="quarter" idx="22" hasCustomPrompt="1"/>
          </p:nvPr>
        </p:nvSpPr>
        <p:spPr>
          <a:xfrm>
            <a:off x="9291285"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9" name="Text Placeholder 18">
            <a:extLst>
              <a:ext uri="{FF2B5EF4-FFF2-40B4-BE49-F238E27FC236}">
                <a16:creationId xmlns:a16="http://schemas.microsoft.com/office/drawing/2014/main" id="{BA5C2B2A-C041-18D8-99E2-B4B2FEFFAAB9}"/>
              </a:ext>
            </a:extLst>
          </p:cNvPr>
          <p:cNvSpPr>
            <a:spLocks noGrp="1"/>
          </p:cNvSpPr>
          <p:nvPr>
            <p:ph type="body" sz="quarter" idx="23"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Tree>
    <p:extLst>
      <p:ext uri="{BB962C8B-B14F-4D97-AF65-F5344CB8AC3E}">
        <p14:creationId xmlns:p14="http://schemas.microsoft.com/office/powerpoint/2010/main" val="9305664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5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3780C054-A769-848E-8E6B-744605588B10}"/>
              </a:ext>
            </a:extLst>
          </p:cNvPr>
          <p:cNvCxnSpPr>
            <a:cxnSpLocks/>
          </p:cNvCxnSpPr>
          <p:nvPr userDrawn="1"/>
        </p:nvCxnSpPr>
        <p:spPr>
          <a:xfrm flipH="1">
            <a:off x="3700272" y="6023429"/>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6FC3DFCC-8140-5502-D91D-FEA980DA1F13}"/>
              </a:ext>
              <a:ext uri="{C183D7F6-B498-43B3-948B-1728B52AA6E4}">
                <adec:decorative xmlns:adec="http://schemas.microsoft.com/office/drawing/2017/decorative" val="1"/>
              </a:ext>
            </a:extLst>
          </p:cNvPr>
          <p:cNvSpPr>
            <a:spLocks/>
          </p:cNvSpPr>
          <p:nvPr userDrawn="1"/>
        </p:nvSpPr>
        <p:spPr bwMode="auto">
          <a:xfrm>
            <a:off x="0" y="2670054"/>
            <a:ext cx="12188952" cy="3353375"/>
          </a:xfrm>
          <a:prstGeom prst="roundRect">
            <a:avLst>
              <a:gd name="adj"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Text Placeholder 19">
            <a:extLst>
              <a:ext uri="{FF2B5EF4-FFF2-40B4-BE49-F238E27FC236}">
                <a16:creationId xmlns:a16="http://schemas.microsoft.com/office/drawing/2014/main" id="{350D5391-CB35-88B0-0AF4-F516F365E4E3}"/>
              </a:ext>
            </a:extLst>
          </p:cNvPr>
          <p:cNvSpPr>
            <a:spLocks noGrp="1"/>
          </p:cNvSpPr>
          <p:nvPr>
            <p:ph type="body" sz="quarter" idx="10" hasCustomPrompt="1"/>
          </p:nvPr>
        </p:nvSpPr>
        <p:spPr>
          <a:xfrm>
            <a:off x="703044" y="3390279"/>
            <a:ext cx="1903413" cy="536422"/>
          </a:xfrm>
          <a:prstGeom prst="rect">
            <a:avLst/>
          </a:prstGeom>
        </p:spPr>
        <p:txBody>
          <a:bodyPr lIns="0" tIns="0" rIns="0" bIns="0"/>
          <a:lstStyle>
            <a:lvl1pPr marL="0" indent="0" algn="ctr">
              <a:buNone/>
              <a:defRPr lang="en-US" sz="1800" kern="1200" spc="0" baseline="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lnSpc>
                <a:spcPct val="100000"/>
              </a:lnSpc>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9" name="Rectangle: Rounded Corners 8">
            <a:extLst>
              <a:ext uri="{FF2B5EF4-FFF2-40B4-BE49-F238E27FC236}">
                <a16:creationId xmlns:a16="http://schemas.microsoft.com/office/drawing/2014/main" id="{D1A1CF48-FDB4-2453-DEA3-DAEEEF8272D1}"/>
              </a:ext>
            </a:extLst>
          </p:cNvPr>
          <p:cNvSpPr/>
          <p:nvPr userDrawn="1"/>
        </p:nvSpPr>
        <p:spPr bwMode="auto">
          <a:xfrm>
            <a:off x="1181052"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9B52C5C2-23EF-C173-9461-D6238C0F1FDC}"/>
              </a:ext>
            </a:extLst>
          </p:cNvPr>
          <p:cNvSpPr/>
          <p:nvPr userDrawn="1"/>
        </p:nvSpPr>
        <p:spPr bwMode="auto">
          <a:xfrm>
            <a:off x="10063550"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89EDF4B8-AC2E-81D5-0A9A-C796FF896F51}"/>
              </a:ext>
            </a:extLst>
          </p:cNvPr>
          <p:cNvSpPr/>
          <p:nvPr userDrawn="1"/>
        </p:nvSpPr>
        <p:spPr bwMode="auto">
          <a:xfrm>
            <a:off x="5622300"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4" name="Text Placeholder 19">
            <a:extLst>
              <a:ext uri="{FF2B5EF4-FFF2-40B4-BE49-F238E27FC236}">
                <a16:creationId xmlns:a16="http://schemas.microsoft.com/office/drawing/2014/main" id="{5635F81D-3491-144A-2C59-3A4F6C232AB3}"/>
              </a:ext>
            </a:extLst>
          </p:cNvPr>
          <p:cNvSpPr>
            <a:spLocks noGrp="1"/>
          </p:cNvSpPr>
          <p:nvPr>
            <p:ph type="body" sz="quarter" idx="11" hasCustomPrompt="1"/>
          </p:nvPr>
        </p:nvSpPr>
        <p:spPr>
          <a:xfrm>
            <a:off x="2923669" y="3390279"/>
            <a:ext cx="1903413"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5" name="Text Placeholder 19">
            <a:extLst>
              <a:ext uri="{FF2B5EF4-FFF2-40B4-BE49-F238E27FC236}">
                <a16:creationId xmlns:a16="http://schemas.microsoft.com/office/drawing/2014/main" id="{3C02A192-6C59-A0C7-4302-7B0DD8541B8E}"/>
              </a:ext>
            </a:extLst>
          </p:cNvPr>
          <p:cNvSpPr>
            <a:spLocks noGrp="1"/>
          </p:cNvSpPr>
          <p:nvPr>
            <p:ph type="body" sz="quarter" idx="12" hasCustomPrompt="1"/>
          </p:nvPr>
        </p:nvSpPr>
        <p:spPr>
          <a:xfrm>
            <a:off x="5144294" y="3390279"/>
            <a:ext cx="1903413"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7" name="Text Placeholder 19">
            <a:extLst>
              <a:ext uri="{FF2B5EF4-FFF2-40B4-BE49-F238E27FC236}">
                <a16:creationId xmlns:a16="http://schemas.microsoft.com/office/drawing/2014/main" id="{38C7F1F9-41A0-3F38-6900-C40F82B4D3B0}"/>
              </a:ext>
            </a:extLst>
          </p:cNvPr>
          <p:cNvSpPr>
            <a:spLocks noGrp="1"/>
          </p:cNvSpPr>
          <p:nvPr>
            <p:ph type="body" sz="quarter" idx="14" hasCustomPrompt="1"/>
          </p:nvPr>
        </p:nvSpPr>
        <p:spPr>
          <a:xfrm>
            <a:off x="703044" y="4737206"/>
            <a:ext cx="1903413"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8" name="Text Placeholder 19">
            <a:extLst>
              <a:ext uri="{FF2B5EF4-FFF2-40B4-BE49-F238E27FC236}">
                <a16:creationId xmlns:a16="http://schemas.microsoft.com/office/drawing/2014/main" id="{3DC3240E-E79E-D32C-2E22-CFE47470E328}"/>
              </a:ext>
            </a:extLst>
          </p:cNvPr>
          <p:cNvSpPr>
            <a:spLocks noGrp="1"/>
          </p:cNvSpPr>
          <p:nvPr>
            <p:ph type="body" sz="quarter" idx="15" hasCustomPrompt="1"/>
          </p:nvPr>
        </p:nvSpPr>
        <p:spPr>
          <a:xfrm>
            <a:off x="2923669" y="4737206"/>
            <a:ext cx="1903413"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9" name="Text Placeholder 19">
            <a:extLst>
              <a:ext uri="{FF2B5EF4-FFF2-40B4-BE49-F238E27FC236}">
                <a16:creationId xmlns:a16="http://schemas.microsoft.com/office/drawing/2014/main" id="{CF99506B-EA7C-DEAE-E6FC-7D430A71D41F}"/>
              </a:ext>
            </a:extLst>
          </p:cNvPr>
          <p:cNvSpPr>
            <a:spLocks noGrp="1"/>
          </p:cNvSpPr>
          <p:nvPr>
            <p:ph type="body" sz="quarter" idx="16" hasCustomPrompt="1"/>
          </p:nvPr>
        </p:nvSpPr>
        <p:spPr>
          <a:xfrm>
            <a:off x="5144294" y="4737206"/>
            <a:ext cx="1903413"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32" name="Text Placeholder 19">
            <a:extLst>
              <a:ext uri="{FF2B5EF4-FFF2-40B4-BE49-F238E27FC236}">
                <a16:creationId xmlns:a16="http://schemas.microsoft.com/office/drawing/2014/main" id="{BDA8EA25-6261-214C-A5BB-6D5182AFEFEF}"/>
              </a:ext>
            </a:extLst>
          </p:cNvPr>
          <p:cNvSpPr>
            <a:spLocks noGrp="1"/>
          </p:cNvSpPr>
          <p:nvPr>
            <p:ph type="body" sz="quarter" idx="17" hasCustomPrompt="1"/>
          </p:nvPr>
        </p:nvSpPr>
        <p:spPr>
          <a:xfrm>
            <a:off x="7364919" y="3390279"/>
            <a:ext cx="1903413"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33" name="Text Placeholder 19">
            <a:extLst>
              <a:ext uri="{FF2B5EF4-FFF2-40B4-BE49-F238E27FC236}">
                <a16:creationId xmlns:a16="http://schemas.microsoft.com/office/drawing/2014/main" id="{30995997-D5FC-69B9-A6D0-83729B552532}"/>
              </a:ext>
            </a:extLst>
          </p:cNvPr>
          <p:cNvSpPr>
            <a:spLocks noGrp="1"/>
          </p:cNvSpPr>
          <p:nvPr>
            <p:ph type="body" sz="quarter" idx="18" hasCustomPrompt="1"/>
          </p:nvPr>
        </p:nvSpPr>
        <p:spPr>
          <a:xfrm>
            <a:off x="7364919" y="4737206"/>
            <a:ext cx="1903413"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34" name="Text Placeholder 19">
            <a:extLst>
              <a:ext uri="{FF2B5EF4-FFF2-40B4-BE49-F238E27FC236}">
                <a16:creationId xmlns:a16="http://schemas.microsoft.com/office/drawing/2014/main" id="{015BE095-76E2-BDB3-4B40-8C79022DA5EB}"/>
              </a:ext>
            </a:extLst>
          </p:cNvPr>
          <p:cNvSpPr>
            <a:spLocks noGrp="1"/>
          </p:cNvSpPr>
          <p:nvPr>
            <p:ph type="body" sz="quarter" idx="19" hasCustomPrompt="1"/>
          </p:nvPr>
        </p:nvSpPr>
        <p:spPr>
          <a:xfrm>
            <a:off x="9585543" y="3390279"/>
            <a:ext cx="1903413" cy="536422"/>
          </a:xfrm>
          <a:prstGeom prst="rect">
            <a:avLst/>
          </a:prstGeom>
        </p:spPr>
        <p:txBody>
          <a:bodyPr lIns="0" tIns="0" rIns="0" bIns="0"/>
          <a:lstStyle>
            <a:lvl1pPr marL="0" indent="0" algn="ctr">
              <a:buNone/>
              <a:defRPr lang="en-US" sz="1800" kern="1200" dirty="0">
                <a:solidFill>
                  <a:schemeClr val="accent1">
                    <a:lumMod val="20000"/>
                    <a:lumOff val="80000"/>
                  </a:schemeClr>
                </a:solidFill>
                <a:latin typeface="+mj-lt"/>
                <a:ea typeface="+mn-ea"/>
                <a:cs typeface="Segoe UI Semibold" panose="020B0702040204020203" pitchFamily="34" charset="0"/>
              </a:defRPr>
            </a:lvl1pPr>
          </a:lstStyle>
          <a:p>
            <a:pPr marL="228600" marR="0" lvl="0" indent="-228600" algn="ctr" defTabSz="914400" rtl="0" eaLnBrk="1" fontAlgn="auto" latinLnBrk="0" hangingPunct="1">
              <a:spcBef>
                <a:spcPts val="600"/>
              </a:spcBef>
              <a:spcAft>
                <a:spcPts val="120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35" name="Text Placeholder 19">
            <a:extLst>
              <a:ext uri="{FF2B5EF4-FFF2-40B4-BE49-F238E27FC236}">
                <a16:creationId xmlns:a16="http://schemas.microsoft.com/office/drawing/2014/main" id="{3BBB29C1-2B41-5214-52D6-852A37CB38C3}"/>
              </a:ext>
            </a:extLst>
          </p:cNvPr>
          <p:cNvSpPr>
            <a:spLocks noGrp="1"/>
          </p:cNvSpPr>
          <p:nvPr>
            <p:ph type="body" sz="quarter" idx="20" hasCustomPrompt="1"/>
          </p:nvPr>
        </p:nvSpPr>
        <p:spPr>
          <a:xfrm>
            <a:off x="9585543" y="4737206"/>
            <a:ext cx="1903413"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36" name="Rectangle: Rounded Corners 35">
            <a:extLst>
              <a:ext uri="{FF2B5EF4-FFF2-40B4-BE49-F238E27FC236}">
                <a16:creationId xmlns:a16="http://schemas.microsoft.com/office/drawing/2014/main" id="{E5139A14-5A68-878B-8DB1-CA98EC7916BD}"/>
              </a:ext>
            </a:extLst>
          </p:cNvPr>
          <p:cNvSpPr/>
          <p:nvPr userDrawn="1"/>
        </p:nvSpPr>
        <p:spPr bwMode="auto">
          <a:xfrm>
            <a:off x="3401676"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37" name="Rectangle: Rounded Corners 36">
            <a:extLst>
              <a:ext uri="{FF2B5EF4-FFF2-40B4-BE49-F238E27FC236}">
                <a16:creationId xmlns:a16="http://schemas.microsoft.com/office/drawing/2014/main" id="{1E8386BA-94E7-AF55-C49B-1C0E84AD98AD}"/>
              </a:ext>
            </a:extLst>
          </p:cNvPr>
          <p:cNvSpPr/>
          <p:nvPr userDrawn="1"/>
        </p:nvSpPr>
        <p:spPr bwMode="auto">
          <a:xfrm>
            <a:off x="7842924"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40" name="Text Placeholder 10">
            <a:extLst>
              <a:ext uri="{FF2B5EF4-FFF2-40B4-BE49-F238E27FC236}">
                <a16:creationId xmlns:a16="http://schemas.microsoft.com/office/drawing/2014/main" id="{E52BDD8C-A0D3-099B-2FDE-5C1BA32B3972}"/>
              </a:ext>
            </a:extLst>
          </p:cNvPr>
          <p:cNvSpPr>
            <a:spLocks noGrp="1"/>
          </p:cNvSpPr>
          <p:nvPr>
            <p:ph type="body" sz="quarter" idx="23" hasCustomPrompt="1"/>
          </p:nvPr>
        </p:nvSpPr>
        <p:spPr>
          <a:xfrm>
            <a:off x="703044" y="4085732"/>
            <a:ext cx="1903413"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41" name="Text Placeholder 10">
            <a:extLst>
              <a:ext uri="{FF2B5EF4-FFF2-40B4-BE49-F238E27FC236}">
                <a16:creationId xmlns:a16="http://schemas.microsoft.com/office/drawing/2014/main" id="{D6BC0E6A-171C-A081-A271-48AD25EF38E4}"/>
              </a:ext>
            </a:extLst>
          </p:cNvPr>
          <p:cNvSpPr>
            <a:spLocks noGrp="1"/>
          </p:cNvSpPr>
          <p:nvPr>
            <p:ph type="body" sz="quarter" idx="24" hasCustomPrompt="1"/>
          </p:nvPr>
        </p:nvSpPr>
        <p:spPr>
          <a:xfrm>
            <a:off x="2923669" y="4085732"/>
            <a:ext cx="1903413"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42" name="Text Placeholder 10">
            <a:extLst>
              <a:ext uri="{FF2B5EF4-FFF2-40B4-BE49-F238E27FC236}">
                <a16:creationId xmlns:a16="http://schemas.microsoft.com/office/drawing/2014/main" id="{960D7E7A-CB79-ECC1-AB62-F17BEF4B6F32}"/>
              </a:ext>
            </a:extLst>
          </p:cNvPr>
          <p:cNvSpPr>
            <a:spLocks noGrp="1"/>
          </p:cNvSpPr>
          <p:nvPr>
            <p:ph type="body" sz="quarter" idx="25" hasCustomPrompt="1"/>
          </p:nvPr>
        </p:nvSpPr>
        <p:spPr>
          <a:xfrm>
            <a:off x="5144294" y="4085732"/>
            <a:ext cx="1903413"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43" name="Text Placeholder 10">
            <a:extLst>
              <a:ext uri="{FF2B5EF4-FFF2-40B4-BE49-F238E27FC236}">
                <a16:creationId xmlns:a16="http://schemas.microsoft.com/office/drawing/2014/main" id="{7C4C4309-2BB5-74FA-CBD4-460679680034}"/>
              </a:ext>
            </a:extLst>
          </p:cNvPr>
          <p:cNvSpPr>
            <a:spLocks noGrp="1"/>
          </p:cNvSpPr>
          <p:nvPr>
            <p:ph type="body" sz="quarter" idx="26" hasCustomPrompt="1"/>
          </p:nvPr>
        </p:nvSpPr>
        <p:spPr>
          <a:xfrm>
            <a:off x="7364919" y="4085732"/>
            <a:ext cx="1903413"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44" name="Text Placeholder 10">
            <a:extLst>
              <a:ext uri="{FF2B5EF4-FFF2-40B4-BE49-F238E27FC236}">
                <a16:creationId xmlns:a16="http://schemas.microsoft.com/office/drawing/2014/main" id="{A8511159-0A6C-8617-6C17-EB0926CCF5C5}"/>
              </a:ext>
            </a:extLst>
          </p:cNvPr>
          <p:cNvSpPr>
            <a:spLocks noGrp="1"/>
          </p:cNvSpPr>
          <p:nvPr>
            <p:ph type="body" sz="quarter" idx="27" hasCustomPrompt="1"/>
          </p:nvPr>
        </p:nvSpPr>
        <p:spPr>
          <a:xfrm>
            <a:off x="9585544" y="4085732"/>
            <a:ext cx="1903413"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5" name="Text Placeholder 18">
            <a:extLst>
              <a:ext uri="{FF2B5EF4-FFF2-40B4-BE49-F238E27FC236}">
                <a16:creationId xmlns:a16="http://schemas.microsoft.com/office/drawing/2014/main" id="{18F76157-6019-C983-9FE9-DF9F1BFAE29C}"/>
              </a:ext>
            </a:extLst>
          </p:cNvPr>
          <p:cNvSpPr>
            <a:spLocks noGrp="1"/>
          </p:cNvSpPr>
          <p:nvPr>
            <p:ph type="body" sz="quarter" idx="28" hasCustomPrompt="1"/>
          </p:nvPr>
        </p:nvSpPr>
        <p:spPr>
          <a:xfrm>
            <a:off x="588263" y="1296988"/>
            <a:ext cx="11018520" cy="307975"/>
          </a:xfrm>
          <a:prstGeom prst="rect">
            <a:avLst/>
          </a:prstGeom>
        </p:spPr>
        <p:txBody>
          <a:bodyPr lIns="0" tIns="0" rIns="0" bIns="0"/>
          <a:lstStyle>
            <a:lvl1pPr marL="0" indent="0">
              <a:buNone/>
              <a:defRPr sz="2000"/>
            </a:lvl1pPr>
          </a:lstStyle>
          <a:p>
            <a:pPr lvl="0"/>
            <a:r>
              <a:rPr lang="en-US"/>
              <a:t>Click to add subtitle</a:t>
            </a:r>
          </a:p>
        </p:txBody>
      </p:sp>
    </p:spTree>
    <p:extLst>
      <p:ext uri="{BB962C8B-B14F-4D97-AF65-F5344CB8AC3E}">
        <p14:creationId xmlns:p14="http://schemas.microsoft.com/office/powerpoint/2010/main" val="1753474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ustomer Story w/ 3 points">
    <p:spTree>
      <p:nvGrpSpPr>
        <p:cNvPr id="1" name=""/>
        <p:cNvGrpSpPr/>
        <p:nvPr/>
      </p:nvGrpSpPr>
      <p:grpSpPr>
        <a:xfrm>
          <a:off x="0" y="0"/>
          <a:ext cx="0" cy="0"/>
          <a:chOff x="0" y="0"/>
          <a:chExt cx="0" cy="0"/>
        </a:xfrm>
      </p:grpSpPr>
      <p:pic>
        <p:nvPicPr>
          <p:cNvPr id="6" name="Picture 5" descr="See the source image">
            <a:extLst>
              <a:ext uri="{FF2B5EF4-FFF2-40B4-BE49-F238E27FC236}">
                <a16:creationId xmlns:a16="http://schemas.microsoft.com/office/drawing/2014/main" id="{FE42A979-87F7-0D1E-8B4C-71DC51680ECB}"/>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5344" t="-2" r="-2" b="-5035"/>
          <a:stretch/>
        </p:blipFill>
        <p:spPr bwMode="auto">
          <a:xfrm flipH="1">
            <a:off x="-1" y="2812131"/>
            <a:ext cx="12192000" cy="861774"/>
          </a:xfrm>
          <a:prstGeom prst="rect">
            <a:avLst/>
          </a:prstGeom>
          <a:noFill/>
          <a:extLst>
            <a:ext uri="{909E8E84-426E-40DD-AFC4-6F175D3DCCD1}">
              <a14:hiddenFill xmlns:a14="http://schemas.microsoft.com/office/drawing/2010/main">
                <a:solidFill>
                  <a:srgbClr val="FFFFFF"/>
                </a:solidFill>
              </a14:hiddenFill>
            </a:ext>
          </a:extLst>
        </p:spPr>
      </p:pic>
      <p:sp>
        <p:nvSpPr>
          <p:cNvPr id="36" name="Picture Placeholder 35">
            <a:extLst>
              <a:ext uri="{FF2B5EF4-FFF2-40B4-BE49-F238E27FC236}">
                <a16:creationId xmlns:a16="http://schemas.microsoft.com/office/drawing/2014/main" id="{22427366-3286-8EBA-55BD-2F40DC33F7A3}"/>
              </a:ext>
            </a:extLst>
          </p:cNvPr>
          <p:cNvSpPr>
            <a:spLocks noGrp="1"/>
          </p:cNvSpPr>
          <p:nvPr>
            <p:ph type="pic" sz="quarter" idx="15" hasCustomPrompt="1"/>
          </p:nvPr>
        </p:nvSpPr>
        <p:spPr>
          <a:xfrm>
            <a:off x="-1" y="0"/>
            <a:ext cx="12192000" cy="3010815"/>
          </a:xfrm>
          <a:custGeom>
            <a:avLst/>
            <a:gdLst>
              <a:gd name="connsiteX0" fmla="*/ 0 w 12192000"/>
              <a:gd name="connsiteY0" fmla="*/ 0 h 3010815"/>
              <a:gd name="connsiteX1" fmla="*/ 12192000 w 12192000"/>
              <a:gd name="connsiteY1" fmla="*/ 0 h 3010815"/>
              <a:gd name="connsiteX2" fmla="*/ 12192000 w 12192000"/>
              <a:gd name="connsiteY2" fmla="*/ 3010815 h 3010815"/>
              <a:gd name="connsiteX3" fmla="*/ 3662364 w 12192000"/>
              <a:gd name="connsiteY3" fmla="*/ 3010815 h 3010815"/>
              <a:gd name="connsiteX4" fmla="*/ 3662364 w 12192000"/>
              <a:gd name="connsiteY4" fmla="*/ 2423449 h 3010815"/>
              <a:gd name="connsiteX5" fmla="*/ 3486816 w 12192000"/>
              <a:gd name="connsiteY5" fmla="*/ 2247901 h 3010815"/>
              <a:gd name="connsiteX6" fmla="*/ 3482326 w 12192000"/>
              <a:gd name="connsiteY6" fmla="*/ 2247901 h 3010815"/>
              <a:gd name="connsiteX7" fmla="*/ 3482160 w 12192000"/>
              <a:gd name="connsiteY7" fmla="*/ 2247901 h 3010815"/>
              <a:gd name="connsiteX8" fmla="*/ 778512 w 12192000"/>
              <a:gd name="connsiteY8" fmla="*/ 2247901 h 3010815"/>
              <a:gd name="connsiteX9" fmla="*/ 778239 w 12192000"/>
              <a:gd name="connsiteY9" fmla="*/ 2247901 h 3010815"/>
              <a:gd name="connsiteX10" fmla="*/ 775517 w 12192000"/>
              <a:gd name="connsiteY10" fmla="*/ 2247901 h 3010815"/>
              <a:gd name="connsiteX11" fmla="*/ 600076 w 12192000"/>
              <a:gd name="connsiteY11" fmla="*/ 2423342 h 3010815"/>
              <a:gd name="connsiteX12" fmla="*/ 600076 w 12192000"/>
              <a:gd name="connsiteY12" fmla="*/ 3010815 h 3010815"/>
              <a:gd name="connsiteX13" fmla="*/ 0 w 12192000"/>
              <a:gd name="connsiteY13" fmla="*/ 3010815 h 301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3010815">
                <a:moveTo>
                  <a:pt x="0" y="0"/>
                </a:moveTo>
                <a:lnTo>
                  <a:pt x="12192000" y="0"/>
                </a:lnTo>
                <a:lnTo>
                  <a:pt x="12192000" y="3010815"/>
                </a:lnTo>
                <a:lnTo>
                  <a:pt x="3662364" y="3010815"/>
                </a:lnTo>
                <a:lnTo>
                  <a:pt x="3662364" y="2423449"/>
                </a:lnTo>
                <a:cubicBezTo>
                  <a:pt x="3662364" y="2326497"/>
                  <a:pt x="3583768" y="2247901"/>
                  <a:pt x="3486816" y="2247901"/>
                </a:cubicBezTo>
                <a:lnTo>
                  <a:pt x="3482326" y="2247901"/>
                </a:lnTo>
                <a:lnTo>
                  <a:pt x="3482160" y="2247901"/>
                </a:lnTo>
                <a:lnTo>
                  <a:pt x="778512" y="2247901"/>
                </a:lnTo>
                <a:lnTo>
                  <a:pt x="778239" y="2247901"/>
                </a:lnTo>
                <a:lnTo>
                  <a:pt x="775517" y="2247901"/>
                </a:lnTo>
                <a:cubicBezTo>
                  <a:pt x="678624" y="2247901"/>
                  <a:pt x="600076" y="2326449"/>
                  <a:pt x="600076" y="2423342"/>
                </a:cubicBezTo>
                <a:lnTo>
                  <a:pt x="600076" y="3010815"/>
                </a:lnTo>
                <a:lnTo>
                  <a:pt x="0" y="3010815"/>
                </a:lnTo>
                <a:close/>
              </a:path>
            </a:pathLst>
          </a:custGeom>
        </p:spPr>
        <p:txBody>
          <a:bodyPr wrap="square" anchor="ctr">
            <a:noAutofit/>
          </a:bodyPr>
          <a:lstStyle>
            <a:lvl1pPr marL="0" indent="0" algn="ctr">
              <a:buNone/>
              <a:defRPr>
                <a:latin typeface="+mj-lt"/>
              </a:defRPr>
            </a:lvl1pPr>
          </a:lstStyle>
          <a:p>
            <a:r>
              <a:rPr lang="en-IN"/>
              <a:t>Picture</a:t>
            </a:r>
            <a:endParaRPr lang="en-US"/>
          </a:p>
        </p:txBody>
      </p:sp>
      <p:sp>
        <p:nvSpPr>
          <p:cNvPr id="18" name="Text Placeholder 17">
            <a:extLst>
              <a:ext uri="{FF2B5EF4-FFF2-40B4-BE49-F238E27FC236}">
                <a16:creationId xmlns:a16="http://schemas.microsoft.com/office/drawing/2014/main" id="{149B03FD-A21B-26AF-EF2C-1054A0606ECE}"/>
              </a:ext>
            </a:extLst>
          </p:cNvPr>
          <p:cNvSpPr>
            <a:spLocks noGrp="1"/>
          </p:cNvSpPr>
          <p:nvPr>
            <p:ph type="body" sz="quarter" idx="10" hasCustomPrompt="1"/>
          </p:nvPr>
        </p:nvSpPr>
        <p:spPr>
          <a:xfrm>
            <a:off x="4901131" y="3607737"/>
            <a:ext cx="6465485" cy="215444"/>
          </a:xfrm>
          <a:prstGeom prst="rect">
            <a:avLst/>
          </a:prstGeom>
        </p:spPr>
        <p:txBody>
          <a:bodyPr lIns="0" tIns="0" rIns="0" bIns="0" anchor="ctr">
            <a:spAutoFit/>
          </a:bodyPr>
          <a:lstStyle>
            <a:lvl1pPr marL="0" indent="0">
              <a:buNone/>
              <a:defRPr sz="1400"/>
            </a:lvl1pPr>
          </a:lstStyle>
          <a:p>
            <a:pPr lvl="0"/>
            <a:r>
              <a:rPr lang="en-US"/>
              <a:t>Lorem ipsum dolor sit </a:t>
            </a:r>
            <a:r>
              <a:rPr lang="en-US" err="1"/>
              <a:t>amet</a:t>
            </a:r>
            <a:endParaRPr lang="en-US"/>
          </a:p>
        </p:txBody>
      </p:sp>
      <p:sp>
        <p:nvSpPr>
          <p:cNvPr id="12" name="Rectangle: Rounded Corners 11">
            <a:extLst>
              <a:ext uri="{FF2B5EF4-FFF2-40B4-BE49-F238E27FC236}">
                <a16:creationId xmlns:a16="http://schemas.microsoft.com/office/drawing/2014/main" id="{74B69062-E4FA-830C-D262-CE7623FD12D1}"/>
              </a:ext>
            </a:extLst>
          </p:cNvPr>
          <p:cNvSpPr/>
          <p:nvPr userDrawn="1"/>
        </p:nvSpPr>
        <p:spPr bwMode="auto">
          <a:xfrm>
            <a:off x="4027103" y="3392879"/>
            <a:ext cx="637888" cy="645160"/>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EC3097DF-8759-873B-048A-89A8C7A496BE}"/>
              </a:ext>
            </a:extLst>
          </p:cNvPr>
          <p:cNvSpPr/>
          <p:nvPr userDrawn="1"/>
        </p:nvSpPr>
        <p:spPr bwMode="auto">
          <a:xfrm>
            <a:off x="4027103" y="4392112"/>
            <a:ext cx="637888" cy="645160"/>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4" name="Rectangle: Rounded Corners 13">
            <a:extLst>
              <a:ext uri="{FF2B5EF4-FFF2-40B4-BE49-F238E27FC236}">
                <a16:creationId xmlns:a16="http://schemas.microsoft.com/office/drawing/2014/main" id="{67D6DAEA-8A28-B4B6-701D-B6DD66C1DB20}"/>
              </a:ext>
            </a:extLst>
          </p:cNvPr>
          <p:cNvSpPr/>
          <p:nvPr userDrawn="1"/>
        </p:nvSpPr>
        <p:spPr bwMode="auto">
          <a:xfrm>
            <a:off x="4027103" y="5391346"/>
            <a:ext cx="637888" cy="645160"/>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EDCDD9C2-6229-2B81-F159-BF8A4259FDB6}"/>
              </a:ext>
            </a:extLst>
          </p:cNvPr>
          <p:cNvCxnSpPr>
            <a:cxnSpLocks/>
          </p:cNvCxnSpPr>
          <p:nvPr userDrawn="1"/>
        </p:nvCxnSpPr>
        <p:spPr>
          <a:xfrm flipH="1">
            <a:off x="4901131" y="4215076"/>
            <a:ext cx="6465485"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6" name="Straight Connector 15">
            <a:extLst>
              <a:ext uri="{FF2B5EF4-FFF2-40B4-BE49-F238E27FC236}">
                <a16:creationId xmlns:a16="http://schemas.microsoft.com/office/drawing/2014/main" id="{317F0045-03A7-CB9C-681F-7EF2AFC1CC4A}"/>
              </a:ext>
            </a:extLst>
          </p:cNvPr>
          <p:cNvCxnSpPr>
            <a:cxnSpLocks/>
          </p:cNvCxnSpPr>
          <p:nvPr userDrawn="1"/>
        </p:nvCxnSpPr>
        <p:spPr>
          <a:xfrm flipH="1">
            <a:off x="4901131" y="5214310"/>
            <a:ext cx="6465485" cy="0"/>
          </a:xfrm>
          <a:prstGeom prst="line">
            <a:avLst/>
          </a:prstGeom>
          <a:noFill/>
          <a:ln w="6350" cap="rnd" cmpd="sng" algn="ctr">
            <a:solidFill>
              <a:schemeClr val="tx1">
                <a:lumMod val="75000"/>
                <a:lumOff val="25000"/>
              </a:schemeClr>
            </a:solidFill>
            <a:prstDash val="solid"/>
            <a:headEnd type="none"/>
            <a:tailEnd type="none"/>
          </a:ln>
          <a:effectLst/>
        </p:spPr>
      </p:cxnSp>
      <p:sp>
        <p:nvSpPr>
          <p:cNvPr id="19" name="Text Placeholder 17">
            <a:extLst>
              <a:ext uri="{FF2B5EF4-FFF2-40B4-BE49-F238E27FC236}">
                <a16:creationId xmlns:a16="http://schemas.microsoft.com/office/drawing/2014/main" id="{CF6DB3CE-8C56-F1B8-31A5-33874CD0B6C7}"/>
              </a:ext>
            </a:extLst>
          </p:cNvPr>
          <p:cNvSpPr>
            <a:spLocks noGrp="1"/>
          </p:cNvSpPr>
          <p:nvPr>
            <p:ph type="body" sz="quarter" idx="11" hasCustomPrompt="1"/>
          </p:nvPr>
        </p:nvSpPr>
        <p:spPr>
          <a:xfrm>
            <a:off x="4901131" y="4606971"/>
            <a:ext cx="6465485" cy="215444"/>
          </a:xfrm>
          <a:prstGeom prst="rect">
            <a:avLst/>
          </a:prstGeom>
        </p:spPr>
        <p:txBody>
          <a:bodyPr lIns="0" tIns="0" rIns="0" bIns="0" anchor="ctr">
            <a:spAutoFit/>
          </a:bodyPr>
          <a:lstStyle>
            <a:lvl1pPr marL="0" indent="0">
              <a:buNone/>
              <a:defRPr sz="1400"/>
            </a:lvl1pPr>
          </a:lstStyle>
          <a:p>
            <a:pPr lvl="0"/>
            <a:r>
              <a:rPr lang="en-US"/>
              <a:t>Lorem ipsum dolor sit </a:t>
            </a:r>
            <a:r>
              <a:rPr lang="en-US" err="1"/>
              <a:t>amet</a:t>
            </a:r>
            <a:endParaRPr lang="en-US"/>
          </a:p>
        </p:txBody>
      </p:sp>
      <p:sp>
        <p:nvSpPr>
          <p:cNvPr id="20" name="Text Placeholder 17">
            <a:extLst>
              <a:ext uri="{FF2B5EF4-FFF2-40B4-BE49-F238E27FC236}">
                <a16:creationId xmlns:a16="http://schemas.microsoft.com/office/drawing/2014/main" id="{5E1CE791-751D-1A98-9CE7-E8438B9A3B86}"/>
              </a:ext>
            </a:extLst>
          </p:cNvPr>
          <p:cNvSpPr>
            <a:spLocks noGrp="1"/>
          </p:cNvSpPr>
          <p:nvPr>
            <p:ph type="body" sz="quarter" idx="12" hasCustomPrompt="1"/>
          </p:nvPr>
        </p:nvSpPr>
        <p:spPr>
          <a:xfrm>
            <a:off x="4901131" y="5606205"/>
            <a:ext cx="6465485" cy="215444"/>
          </a:xfrm>
          <a:prstGeom prst="rect">
            <a:avLst/>
          </a:prstGeom>
        </p:spPr>
        <p:txBody>
          <a:bodyPr lIns="0" tIns="0" rIns="0" bIns="0" anchor="ctr">
            <a:spAutoFit/>
          </a:bodyPr>
          <a:lstStyle>
            <a:lvl1pPr marL="0" indent="0">
              <a:buNone/>
              <a:defRPr sz="1400"/>
            </a:lvl1pPr>
          </a:lstStyle>
          <a:p>
            <a:pPr lvl="0"/>
            <a:r>
              <a:rPr lang="en-US"/>
              <a:t>Lorem ipsum dolor sit </a:t>
            </a:r>
            <a:r>
              <a:rPr lang="en-US" err="1"/>
              <a:t>amet</a:t>
            </a:r>
            <a:endParaRPr lang="en-US"/>
          </a:p>
        </p:txBody>
      </p:sp>
      <p:sp>
        <p:nvSpPr>
          <p:cNvPr id="8" name="Rectangle: Top Corners Rounded 7">
            <a:extLst>
              <a:ext uri="{FF2B5EF4-FFF2-40B4-BE49-F238E27FC236}">
                <a16:creationId xmlns:a16="http://schemas.microsoft.com/office/drawing/2014/main" id="{BB02F477-5E62-E357-CB77-59D2C0F59CFF}"/>
              </a:ext>
              <a:ext uri="{C183D7F6-B498-43B3-948B-1728B52AA6E4}">
                <adec:decorative xmlns:adec="http://schemas.microsoft.com/office/drawing/2017/decorative" val="1"/>
              </a:ext>
            </a:extLst>
          </p:cNvPr>
          <p:cNvSpPr>
            <a:spLocks/>
          </p:cNvSpPr>
          <p:nvPr userDrawn="1"/>
        </p:nvSpPr>
        <p:spPr bwMode="auto">
          <a:xfrm>
            <a:off x="602963" y="2247901"/>
            <a:ext cx="3054637" cy="4610099"/>
          </a:xfrm>
          <a:prstGeom prst="round2SameRect">
            <a:avLst>
              <a:gd name="adj1" fmla="val 5738"/>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cxnSp>
        <p:nvCxnSpPr>
          <p:cNvPr id="9" name="Straight Connector 8">
            <a:extLst>
              <a:ext uri="{FF2B5EF4-FFF2-40B4-BE49-F238E27FC236}">
                <a16:creationId xmlns:a16="http://schemas.microsoft.com/office/drawing/2014/main" id="{3FFF42C6-DD2F-E7E4-0A16-6EFED6C8990F}"/>
              </a:ext>
            </a:extLst>
          </p:cNvPr>
          <p:cNvCxnSpPr>
            <a:cxnSpLocks/>
          </p:cNvCxnSpPr>
          <p:nvPr userDrawn="1"/>
        </p:nvCxnSpPr>
        <p:spPr>
          <a:xfrm flipH="1">
            <a:off x="1059077" y="2247901"/>
            <a:ext cx="2142409"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48CB7E63-482D-5A43-F000-DD826701EB06}"/>
              </a:ext>
            </a:extLst>
          </p:cNvPr>
          <p:cNvSpPr>
            <a:spLocks noGrp="1"/>
          </p:cNvSpPr>
          <p:nvPr>
            <p:ph type="body" sz="quarter" idx="13" hasCustomPrompt="1"/>
          </p:nvPr>
        </p:nvSpPr>
        <p:spPr>
          <a:xfrm>
            <a:off x="833119" y="3669914"/>
            <a:ext cx="2608212" cy="475433"/>
          </a:xfrm>
          <a:prstGeom prst="rect">
            <a:avLst/>
          </a:prstGeom>
        </p:spPr>
        <p:txBody>
          <a:bodyPr lIns="0" tIns="0" rIns="0" bIns="0"/>
          <a:lstStyle>
            <a:lvl1pPr marL="0" indent="0" algn="l">
              <a:buNone/>
              <a:defRPr sz="2400">
                <a:gradFill>
                  <a:gsLst>
                    <a:gs pos="0">
                      <a:schemeClr val="accent1">
                        <a:lumMod val="20000"/>
                        <a:lumOff val="80000"/>
                      </a:schemeClr>
                    </a:gs>
                    <a:gs pos="80000">
                      <a:schemeClr val="accent1">
                        <a:lumMod val="60000"/>
                        <a:lumOff val="40000"/>
                      </a:schemeClr>
                    </a:gs>
                  </a:gsLst>
                  <a:lin ang="2700000" scaled="0"/>
                </a:gradFill>
                <a:latin typeface="+mj-lt"/>
              </a:defRPr>
            </a:lvl1pPr>
          </a:lstStyle>
          <a:p>
            <a:pPr lvl="0"/>
            <a:r>
              <a:rPr lang="en-US"/>
              <a:t>Lorem Ipsum</a:t>
            </a:r>
          </a:p>
        </p:txBody>
      </p:sp>
      <p:sp>
        <p:nvSpPr>
          <p:cNvPr id="23" name="Text Placeholder 21">
            <a:extLst>
              <a:ext uri="{FF2B5EF4-FFF2-40B4-BE49-F238E27FC236}">
                <a16:creationId xmlns:a16="http://schemas.microsoft.com/office/drawing/2014/main" id="{C445C88F-D92F-8B06-0B17-48F5C6EBA2CB}"/>
              </a:ext>
            </a:extLst>
          </p:cNvPr>
          <p:cNvSpPr>
            <a:spLocks noGrp="1"/>
          </p:cNvSpPr>
          <p:nvPr>
            <p:ph type="body" sz="quarter" idx="14" hasCustomPrompt="1"/>
          </p:nvPr>
        </p:nvSpPr>
        <p:spPr>
          <a:xfrm>
            <a:off x="833119" y="4304453"/>
            <a:ext cx="2608212" cy="1617353"/>
          </a:xfrm>
          <a:prstGeom prst="rect">
            <a:avLst/>
          </a:prstGeom>
        </p:spPr>
        <p:txBody>
          <a:bodyPr lIns="0" tIns="0" rIns="0" bIns="0"/>
          <a:lstStyle>
            <a:lvl1pPr marL="0" indent="0" algn="l">
              <a:buNone/>
              <a:defRPr sz="1800">
                <a:solidFill>
                  <a:schemeClr val="bg1"/>
                </a:solidFill>
                <a:latin typeface="+mj-lt"/>
              </a:defRPr>
            </a:lvl1pPr>
          </a:lstStyle>
          <a:p>
            <a:pPr lvl="0"/>
            <a:r>
              <a:rPr lang="en-US"/>
              <a:t>Lorem Ipsum</a:t>
            </a:r>
          </a:p>
        </p:txBody>
      </p:sp>
    </p:spTree>
    <p:extLst>
      <p:ext uri="{BB962C8B-B14F-4D97-AF65-F5344CB8AC3E}">
        <p14:creationId xmlns:p14="http://schemas.microsoft.com/office/powerpoint/2010/main" val="19173815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par>
                                <p:cTn id="8" presetID="42" presetClass="path" presetSubtype="0" decel="100000" fill="hold" grpId="1" nodeType="withEffect">
                                  <p:stCondLst>
                                    <p:cond delay="250"/>
                                  </p:stCondLst>
                                  <p:childTnLst>
                                    <p:animMotion origin="layout" path="M -0.01719 -0.00023 L -4.16667E-7 3.33333E-6 " pathEditMode="relative" rAng="0" ptsTypes="AA">
                                      <p:cBhvr>
                                        <p:cTn id="9" dur="500" fill="hold"/>
                                        <p:tgtEl>
                                          <p:spTgt spid="2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childTnLst>
                                </p:cTn>
                              </p:par>
                              <p:par>
                                <p:cTn id="13" presetID="42" presetClass="path" presetSubtype="0" decel="100000" fill="hold" grpId="1" nodeType="withEffect">
                                  <p:stCondLst>
                                    <p:cond delay="250"/>
                                  </p:stCondLst>
                                  <p:childTnLst>
                                    <p:animMotion origin="layout" path="M -0.01719 -0.00023 L -4.16667E-7 3.33333E-6 " pathEditMode="relative" rAng="0" ptsTypes="AA">
                                      <p:cBhvr>
                                        <p:cTn id="14" dur="500" fill="hold"/>
                                        <p:tgtEl>
                                          <p:spTgt spid="23"/>
                                        </p:tgtEl>
                                        <p:attrNameLst>
                                          <p:attrName>ppt_x</p:attrName>
                                          <p:attrName>ppt_y</p:attrName>
                                        </p:attrNameLst>
                                      </p:cBhvr>
                                      <p:rCtr x="859" y="0"/>
                                    </p:animMotion>
                                  </p:childTnLst>
                                </p:cTn>
                              </p:par>
                              <p:par>
                                <p:cTn id="15" presetID="10" presetClass="entr" presetSubtype="0" fill="hold" grpId="0" nodeType="withEffect">
                                  <p:stCondLst>
                                    <p:cond delay="2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50"/>
                                        <p:tgtEl>
                                          <p:spTgt spid="12"/>
                                        </p:tgtEl>
                                      </p:cBhvr>
                                    </p:animEffect>
                                  </p:childTnLst>
                                </p:cTn>
                              </p:par>
                              <p:par>
                                <p:cTn id="18" presetID="42" presetClass="path" presetSubtype="0" decel="100000" fill="hold" grpId="1" nodeType="withEffect">
                                  <p:stCondLst>
                                    <p:cond delay="250"/>
                                  </p:stCondLst>
                                  <p:childTnLst>
                                    <p:animMotion origin="layout" path="M -0.01719 -0.00023 L -4.16667E-7 3.33333E-6 " pathEditMode="relative" rAng="0" ptsTypes="AA">
                                      <p:cBhvr>
                                        <p:cTn id="19" dur="500" fill="hold"/>
                                        <p:tgtEl>
                                          <p:spTgt spid="12"/>
                                        </p:tgtEl>
                                        <p:attrNameLst>
                                          <p:attrName>ppt_x</p:attrName>
                                          <p:attrName>ppt_y</p:attrName>
                                        </p:attrNameLst>
                                      </p:cBhvr>
                                      <p:rCtr x="859" y="0"/>
                                    </p:animMotion>
                                  </p:childTnLst>
                                </p:cTn>
                              </p:par>
                              <p:par>
                                <p:cTn id="20" presetID="10" presetClass="entr" presetSubtype="0" fill="hold" grpId="0" nodeType="withEffect">
                                  <p:stCondLst>
                                    <p:cond delay="2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250"/>
                                        <p:tgtEl>
                                          <p:spTgt spid="18"/>
                                        </p:tgtEl>
                                      </p:cBhvr>
                                    </p:animEffect>
                                  </p:childTnLst>
                                </p:cTn>
                              </p:par>
                              <p:par>
                                <p:cTn id="23" presetID="42" presetClass="path" presetSubtype="0" decel="100000" fill="hold" grpId="1" nodeType="withEffect">
                                  <p:stCondLst>
                                    <p:cond delay="250"/>
                                  </p:stCondLst>
                                  <p:childTnLst>
                                    <p:animMotion origin="layout" path="M -0.01719 -0.00023 L -4.16667E-7 3.33333E-6 " pathEditMode="relative" rAng="0" ptsTypes="AA">
                                      <p:cBhvr>
                                        <p:cTn id="24" dur="500" fill="hold"/>
                                        <p:tgtEl>
                                          <p:spTgt spid="18"/>
                                        </p:tgtEl>
                                        <p:attrNameLst>
                                          <p:attrName>ppt_x</p:attrName>
                                          <p:attrName>ppt_y</p:attrName>
                                        </p:attrNameLst>
                                      </p:cBhvr>
                                      <p:rCtr x="859" y="0"/>
                                    </p:animMotion>
                                  </p:childTnLst>
                                </p:cTn>
                              </p:par>
                              <p:par>
                                <p:cTn id="25" presetID="22" presetClass="entr" presetSubtype="8" fill="hold" nodeType="withEffect">
                                  <p:stCondLst>
                                    <p:cond delay="25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250"/>
                                        <p:tgtEl>
                                          <p:spTgt spid="13"/>
                                        </p:tgtEl>
                                      </p:cBhvr>
                                    </p:animEffect>
                                  </p:childTnLst>
                                </p:cTn>
                              </p:par>
                              <p:par>
                                <p:cTn id="31" presetID="42" presetClass="path" presetSubtype="0" decel="100000" fill="hold" grpId="1" nodeType="withEffect">
                                  <p:stCondLst>
                                    <p:cond delay="300"/>
                                  </p:stCondLst>
                                  <p:childTnLst>
                                    <p:animMotion origin="layout" path="M -0.01719 -0.00023 L -4.16667E-7 1.11022E-16 " pathEditMode="relative" rAng="0" ptsTypes="AA">
                                      <p:cBhvr>
                                        <p:cTn id="32" dur="500" fill="hold"/>
                                        <p:tgtEl>
                                          <p:spTgt spid="13"/>
                                        </p:tgtEl>
                                        <p:attrNameLst>
                                          <p:attrName>ppt_x</p:attrName>
                                          <p:attrName>ppt_y</p:attrName>
                                        </p:attrNameLst>
                                      </p:cBhvr>
                                      <p:rCtr x="859" y="0"/>
                                    </p:animMotion>
                                  </p:childTnLst>
                                </p:cTn>
                              </p:par>
                              <p:par>
                                <p:cTn id="33" presetID="10" presetClass="entr" presetSubtype="0" fill="hold" grpId="0" nodeType="withEffect">
                                  <p:stCondLst>
                                    <p:cond delay="30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250"/>
                                        <p:tgtEl>
                                          <p:spTgt spid="19"/>
                                        </p:tgtEl>
                                      </p:cBhvr>
                                    </p:animEffect>
                                  </p:childTnLst>
                                </p:cTn>
                              </p:par>
                              <p:par>
                                <p:cTn id="36" presetID="42" presetClass="path" presetSubtype="0" decel="100000" fill="hold" grpId="1" nodeType="withEffect">
                                  <p:stCondLst>
                                    <p:cond delay="300"/>
                                  </p:stCondLst>
                                  <p:childTnLst>
                                    <p:animMotion origin="layout" path="M -0.01719 -0.00023 L -4.16667E-7 3.33333E-6 " pathEditMode="relative" rAng="0" ptsTypes="AA">
                                      <p:cBhvr>
                                        <p:cTn id="37" dur="500" fill="hold"/>
                                        <p:tgtEl>
                                          <p:spTgt spid="19"/>
                                        </p:tgtEl>
                                        <p:attrNameLst>
                                          <p:attrName>ppt_x</p:attrName>
                                          <p:attrName>ppt_y</p:attrName>
                                        </p:attrNameLst>
                                      </p:cBhvr>
                                      <p:rCtr x="859" y="0"/>
                                    </p:animMotion>
                                  </p:childTnLst>
                                </p:cTn>
                              </p:par>
                              <p:par>
                                <p:cTn id="38" presetID="22" presetClass="entr" presetSubtype="8" fill="hold" nodeType="withEffect">
                                  <p:stCondLst>
                                    <p:cond delay="300"/>
                                  </p:stCondLst>
                                  <p:childTnLst>
                                    <p:set>
                                      <p:cBhvr>
                                        <p:cTn id="39" dur="1" fill="hold">
                                          <p:stCondLst>
                                            <p:cond delay="0"/>
                                          </p:stCondLst>
                                        </p:cTn>
                                        <p:tgtEl>
                                          <p:spTgt spid="16"/>
                                        </p:tgtEl>
                                        <p:attrNameLst>
                                          <p:attrName>style.visibility</p:attrName>
                                        </p:attrNameLst>
                                      </p:cBhvr>
                                      <p:to>
                                        <p:strVal val="visible"/>
                                      </p:to>
                                    </p:set>
                                    <p:animEffect transition="in" filter="wipe(left)">
                                      <p:cBhvr>
                                        <p:cTn id="40" dur="500"/>
                                        <p:tgtEl>
                                          <p:spTgt spid="16"/>
                                        </p:tgtEl>
                                      </p:cBhvr>
                                    </p:animEffect>
                                  </p:childTnLst>
                                </p:cTn>
                              </p:par>
                              <p:par>
                                <p:cTn id="41" presetID="10" presetClass="entr" presetSubtype="0" fill="hold" grpId="0" nodeType="withEffect">
                                  <p:stCondLst>
                                    <p:cond delay="45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250"/>
                                        <p:tgtEl>
                                          <p:spTgt spid="14"/>
                                        </p:tgtEl>
                                      </p:cBhvr>
                                    </p:animEffect>
                                  </p:childTnLst>
                                </p:cTn>
                              </p:par>
                              <p:par>
                                <p:cTn id="44" presetID="42" presetClass="path" presetSubtype="0" decel="100000" fill="hold" grpId="1" nodeType="withEffect">
                                  <p:stCondLst>
                                    <p:cond delay="450"/>
                                  </p:stCondLst>
                                  <p:childTnLst>
                                    <p:animMotion origin="layout" path="M -0.01719 -0.00023 L -4.16667E-7 -1.85185E-6 " pathEditMode="relative" rAng="0" ptsTypes="AA">
                                      <p:cBhvr>
                                        <p:cTn id="45" dur="500" fill="hold"/>
                                        <p:tgtEl>
                                          <p:spTgt spid="14"/>
                                        </p:tgtEl>
                                        <p:attrNameLst>
                                          <p:attrName>ppt_x</p:attrName>
                                          <p:attrName>ppt_y</p:attrName>
                                        </p:attrNameLst>
                                      </p:cBhvr>
                                      <p:rCtr x="859" y="0"/>
                                    </p:animMotion>
                                  </p:childTnLst>
                                </p:cTn>
                              </p:par>
                              <p:par>
                                <p:cTn id="46" presetID="10" presetClass="entr" presetSubtype="0" fill="hold" grpId="0" nodeType="withEffect">
                                  <p:stCondLst>
                                    <p:cond delay="45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250"/>
                                        <p:tgtEl>
                                          <p:spTgt spid="20"/>
                                        </p:tgtEl>
                                      </p:cBhvr>
                                    </p:animEffect>
                                  </p:childTnLst>
                                </p:cTn>
                              </p:par>
                              <p:par>
                                <p:cTn id="49" presetID="42" presetClass="path" presetSubtype="0" decel="100000" fill="hold" grpId="1" nodeType="withEffect">
                                  <p:stCondLst>
                                    <p:cond delay="450"/>
                                  </p:stCondLst>
                                  <p:childTnLst>
                                    <p:animMotion origin="layout" path="M -0.01719 -0.00023 L -4.16667E-7 3.33333E-6 " pathEditMode="relative" rAng="0" ptsTypes="AA">
                                      <p:cBhvr>
                                        <p:cTn id="50" dur="500" fill="hold"/>
                                        <p:tgtEl>
                                          <p:spTgt spid="20"/>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tmplLst>
          <p:tmpl>
            <p:tnLst>
              <p:par>
                <p:cTn presetID="10" presetClass="entr" presetSubtype="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Effect transition="in" filter="fade">
                      <p:cBhvr>
                        <p:cTn dur="250"/>
                        <p:tgtEl>
                          <p:spTgt spid="18"/>
                        </p:tgtEl>
                      </p:cBhvr>
                    </p:animEffect>
                  </p:childTnLst>
                </p:cTn>
              </p:par>
            </p:tnLst>
          </p:tmpl>
        </p:tmplLst>
      </p:bldP>
      <p:bldP spid="18" grpId="1">
        <p:tmplLst>
          <p:tmpl>
            <p:tnLst>
              <p:par>
                <p:cTn presetID="42" presetClass="path" presetSubtype="0" decel="100000" fill="hold" nodeType="withEffect">
                  <p:stCondLst>
                    <p:cond delay="250"/>
                  </p:stCondLst>
                  <p:childTnLst>
                    <p:animMotion origin="layout" path="M -0.01719 -0.00023 L -4.16667E-7 3.33333E-6 " pathEditMode="relative" rAng="0" ptsTypes="AA">
                      <p:cBhvr>
                        <p:cTn dur="500" fill="hold"/>
                        <p:tgtEl>
                          <p:spTgt spid="18"/>
                        </p:tgtEl>
                        <p:attrNameLst>
                          <p:attrName>ppt_x</p:attrName>
                          <p:attrName>ppt_y</p:attrName>
                        </p:attrNameLst>
                      </p:cBhvr>
                      <p:rCtr x="859" y="0"/>
                    </p:animMotion>
                  </p:childTnLst>
                </p:cTn>
              </p:par>
            </p:tnLst>
          </p:tmpl>
        </p:tmplLst>
      </p:bldP>
      <p:bldP spid="12" grpId="0" animBg="1"/>
      <p:bldP spid="12" grpId="1" animBg="1"/>
      <p:bldP spid="13" grpId="0" animBg="1"/>
      <p:bldP spid="13" grpId="1" animBg="1"/>
      <p:bldP spid="14" grpId="0" animBg="1"/>
      <p:bldP spid="14" grpId="1" animBg="1"/>
      <p:bldP spid="19" grpId="0">
        <p:tmplLst>
          <p:tmpl>
            <p:tnLst>
              <p:par>
                <p:cTn presetID="10" presetClass="entr" presetSubtype="0" fill="hold" nodeType="withEffect">
                  <p:stCondLst>
                    <p:cond delay="3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tmplLst>
          <p:tmpl>
            <p:tnLst>
              <p:par>
                <p:cTn presetID="42" presetClass="path" presetSubtype="0" decel="100000" fill="hold" nodeType="withEffect">
                  <p:stCondLst>
                    <p:cond delay="300"/>
                  </p:stCondLst>
                  <p:childTnLst>
                    <p:animMotion origin="layout" path="M -0.01719 -0.00023 L -4.16667E-7 3.33333E-6 " pathEditMode="relative" rAng="0" ptsTypes="AA">
                      <p:cBhvr>
                        <p:cTn dur="500" fill="hold"/>
                        <p:tgtEl>
                          <p:spTgt spid="19"/>
                        </p:tgtEl>
                        <p:attrNameLst>
                          <p:attrName>ppt_x</p:attrName>
                          <p:attrName>ppt_y</p:attrName>
                        </p:attrNameLst>
                      </p:cBhvr>
                      <p:rCtr x="859" y="0"/>
                    </p:animMotion>
                  </p:childTnLst>
                </p:cTn>
              </p:par>
            </p:tnLst>
          </p:tmpl>
        </p:tmplLst>
      </p:bldP>
      <p:bldP spid="20" grpId="0">
        <p:tmplLst>
          <p:tmpl>
            <p:tnLst>
              <p:par>
                <p:cTn presetID="10" presetClass="entr" presetSubtype="0" fill="hold" nodeType="withEffect">
                  <p:stCondLst>
                    <p:cond delay="450"/>
                  </p:stCondLst>
                  <p:childTnLst>
                    <p:set>
                      <p:cBhvr>
                        <p:cTn dur="1" fill="hold">
                          <p:stCondLst>
                            <p:cond delay="0"/>
                          </p:stCondLst>
                        </p:cTn>
                        <p:tgtEl>
                          <p:spTgt spid="20"/>
                        </p:tgtEl>
                        <p:attrNameLst>
                          <p:attrName>style.visibility</p:attrName>
                        </p:attrNameLst>
                      </p:cBhvr>
                      <p:to>
                        <p:strVal val="visible"/>
                      </p:to>
                    </p:set>
                    <p:animEffect transition="in" filter="fade">
                      <p:cBhvr>
                        <p:cTn dur="250"/>
                        <p:tgtEl>
                          <p:spTgt spid="20"/>
                        </p:tgtEl>
                      </p:cBhvr>
                    </p:animEffect>
                  </p:childTnLst>
                </p:cTn>
              </p:par>
            </p:tnLst>
          </p:tmpl>
        </p:tmplLst>
      </p:bldP>
      <p:bldP spid="20" grpId="1">
        <p:tmplLst>
          <p:tmpl>
            <p:tnLst>
              <p:par>
                <p:cTn presetID="42" presetClass="path" presetSubtype="0" decel="100000" fill="hold" nodeType="withEffect">
                  <p:stCondLst>
                    <p:cond delay="450"/>
                  </p:stCondLst>
                  <p:childTnLst>
                    <p:animMotion origin="layout" path="M -0.01719 -0.00023 L -4.16667E-7 3.33333E-6 " pathEditMode="relative" rAng="0" ptsTypes="AA">
                      <p:cBhvr>
                        <p:cTn dur="500" fill="hold"/>
                        <p:tgtEl>
                          <p:spTgt spid="20"/>
                        </p:tgtEl>
                        <p:attrNameLst>
                          <p:attrName>ppt_x</p:attrName>
                          <p:attrName>ppt_y</p:attrName>
                        </p:attrNameLst>
                      </p:cBhvr>
                      <p:rCtr x="859" y="0"/>
                    </p:animMotion>
                  </p:childTnLst>
                </p:cTn>
              </p:par>
            </p:tnLst>
          </p:tmpl>
        </p:tmplLst>
      </p:bldP>
      <p:bldP spid="22" grpId="0">
        <p:tmplLst>
          <p:tmpl>
            <p:tnLst>
              <p:par>
                <p:cTn presetID="10" presetClass="entr" presetSubtype="0" fill="hold" nodeType="after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250"/>
                        <p:tgtEl>
                          <p:spTgt spid="22"/>
                        </p:tgtEl>
                      </p:cBhvr>
                    </p:animEffect>
                  </p:childTnLst>
                </p:cTn>
              </p:par>
            </p:tnLst>
          </p:tmpl>
        </p:tmplLst>
      </p:bldP>
      <p:bldP spid="22" grpId="1">
        <p:tmplLst>
          <p:tmpl>
            <p:tnLst>
              <p:par>
                <p:cTn presetID="42" presetClass="path" presetSubtype="0" decel="100000" fill="hold" nodeType="withEffect">
                  <p:stCondLst>
                    <p:cond delay="250"/>
                  </p:stCondLst>
                  <p:childTnLst>
                    <p:animMotion origin="layout" path="M -0.01719 -0.00023 L -4.16667E-7 3.33333E-6 " pathEditMode="relative" rAng="0" ptsTypes="AA">
                      <p:cBhvr>
                        <p:cTn dur="500" fill="hold"/>
                        <p:tgtEl>
                          <p:spTgt spid="22"/>
                        </p:tgtEl>
                        <p:attrNameLst>
                          <p:attrName>ppt_x</p:attrName>
                          <p:attrName>ppt_y</p:attrName>
                        </p:attrNameLst>
                      </p:cBhvr>
                      <p:rCtr x="859" y="0"/>
                    </p:animMotion>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250"/>
                        <p:tgtEl>
                          <p:spTgt spid="23"/>
                        </p:tgtEl>
                      </p:cBhvr>
                    </p:animEffect>
                  </p:childTnLst>
                </p:cTn>
              </p:par>
            </p:tnLst>
          </p:tmpl>
        </p:tmplLst>
      </p:bldP>
      <p:bldP spid="23" grpId="1">
        <p:tmplLst>
          <p:tmpl>
            <p:tnLst>
              <p:par>
                <p:cTn presetID="42" presetClass="path" presetSubtype="0" decel="100000" fill="hold" nodeType="withEffect">
                  <p:stCondLst>
                    <p:cond delay="250"/>
                  </p:stCondLst>
                  <p:childTnLst>
                    <p:animMotion origin="layout" path="M -0.01719 -0.00023 L -4.16667E-7 3.33333E-6 " pathEditMode="relative" rAng="0" ptsTypes="AA">
                      <p:cBhvr>
                        <p:cTn dur="500" fill="hold"/>
                        <p:tgtEl>
                          <p:spTgt spid="23"/>
                        </p:tgtEl>
                        <p:attrNameLst>
                          <p:attrName>ppt_x</p:attrName>
                          <p:attrName>ppt_y</p:attrName>
                        </p:attrNameLst>
                      </p:cBhvr>
                      <p:rCtr x="859" y="0"/>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ustomer Story w/ 2 points">
    <p:spTree>
      <p:nvGrpSpPr>
        <p:cNvPr id="1" name=""/>
        <p:cNvGrpSpPr/>
        <p:nvPr/>
      </p:nvGrpSpPr>
      <p:grpSpPr>
        <a:xfrm>
          <a:off x="0" y="0"/>
          <a:ext cx="0" cy="0"/>
          <a:chOff x="0" y="0"/>
          <a:chExt cx="0" cy="0"/>
        </a:xfrm>
      </p:grpSpPr>
      <p:pic>
        <p:nvPicPr>
          <p:cNvPr id="6" name="Picture 5" descr="See the source image">
            <a:extLst>
              <a:ext uri="{FF2B5EF4-FFF2-40B4-BE49-F238E27FC236}">
                <a16:creationId xmlns:a16="http://schemas.microsoft.com/office/drawing/2014/main" id="{FE42A979-87F7-0D1E-8B4C-71DC51680ECB}"/>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5344" t="-2" r="-2" b="-5035"/>
          <a:stretch/>
        </p:blipFill>
        <p:spPr bwMode="auto">
          <a:xfrm flipH="1">
            <a:off x="-1" y="2812131"/>
            <a:ext cx="12192000" cy="861774"/>
          </a:xfrm>
          <a:prstGeom prst="rect">
            <a:avLst/>
          </a:prstGeom>
          <a:noFill/>
          <a:extLst>
            <a:ext uri="{909E8E84-426E-40DD-AFC4-6F175D3DCCD1}">
              <a14:hiddenFill xmlns:a14="http://schemas.microsoft.com/office/drawing/2010/main">
                <a:solidFill>
                  <a:srgbClr val="FFFFFF"/>
                </a:solidFill>
              </a14:hiddenFill>
            </a:ext>
          </a:extLst>
        </p:spPr>
      </p:pic>
      <p:sp>
        <p:nvSpPr>
          <p:cNvPr id="36" name="Picture Placeholder 35">
            <a:extLst>
              <a:ext uri="{FF2B5EF4-FFF2-40B4-BE49-F238E27FC236}">
                <a16:creationId xmlns:a16="http://schemas.microsoft.com/office/drawing/2014/main" id="{22427366-3286-8EBA-55BD-2F40DC33F7A3}"/>
              </a:ext>
            </a:extLst>
          </p:cNvPr>
          <p:cNvSpPr>
            <a:spLocks noGrp="1"/>
          </p:cNvSpPr>
          <p:nvPr>
            <p:ph type="pic" sz="quarter" idx="15" hasCustomPrompt="1"/>
          </p:nvPr>
        </p:nvSpPr>
        <p:spPr>
          <a:xfrm>
            <a:off x="-1" y="0"/>
            <a:ext cx="12192000" cy="3010815"/>
          </a:xfrm>
          <a:custGeom>
            <a:avLst/>
            <a:gdLst>
              <a:gd name="connsiteX0" fmla="*/ 0 w 12192000"/>
              <a:gd name="connsiteY0" fmla="*/ 0 h 3010815"/>
              <a:gd name="connsiteX1" fmla="*/ 12192000 w 12192000"/>
              <a:gd name="connsiteY1" fmla="*/ 0 h 3010815"/>
              <a:gd name="connsiteX2" fmla="*/ 12192000 w 12192000"/>
              <a:gd name="connsiteY2" fmla="*/ 3010815 h 3010815"/>
              <a:gd name="connsiteX3" fmla="*/ 3662364 w 12192000"/>
              <a:gd name="connsiteY3" fmla="*/ 3010815 h 3010815"/>
              <a:gd name="connsiteX4" fmla="*/ 3662364 w 12192000"/>
              <a:gd name="connsiteY4" fmla="*/ 2423449 h 3010815"/>
              <a:gd name="connsiteX5" fmla="*/ 3486816 w 12192000"/>
              <a:gd name="connsiteY5" fmla="*/ 2247901 h 3010815"/>
              <a:gd name="connsiteX6" fmla="*/ 3482326 w 12192000"/>
              <a:gd name="connsiteY6" fmla="*/ 2247901 h 3010815"/>
              <a:gd name="connsiteX7" fmla="*/ 3482160 w 12192000"/>
              <a:gd name="connsiteY7" fmla="*/ 2247901 h 3010815"/>
              <a:gd name="connsiteX8" fmla="*/ 778512 w 12192000"/>
              <a:gd name="connsiteY8" fmla="*/ 2247901 h 3010815"/>
              <a:gd name="connsiteX9" fmla="*/ 778239 w 12192000"/>
              <a:gd name="connsiteY9" fmla="*/ 2247901 h 3010815"/>
              <a:gd name="connsiteX10" fmla="*/ 775517 w 12192000"/>
              <a:gd name="connsiteY10" fmla="*/ 2247901 h 3010815"/>
              <a:gd name="connsiteX11" fmla="*/ 600076 w 12192000"/>
              <a:gd name="connsiteY11" fmla="*/ 2423342 h 3010815"/>
              <a:gd name="connsiteX12" fmla="*/ 600076 w 12192000"/>
              <a:gd name="connsiteY12" fmla="*/ 3010815 h 3010815"/>
              <a:gd name="connsiteX13" fmla="*/ 0 w 12192000"/>
              <a:gd name="connsiteY13" fmla="*/ 3010815 h 301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3010815">
                <a:moveTo>
                  <a:pt x="0" y="0"/>
                </a:moveTo>
                <a:lnTo>
                  <a:pt x="12192000" y="0"/>
                </a:lnTo>
                <a:lnTo>
                  <a:pt x="12192000" y="3010815"/>
                </a:lnTo>
                <a:lnTo>
                  <a:pt x="3662364" y="3010815"/>
                </a:lnTo>
                <a:lnTo>
                  <a:pt x="3662364" y="2423449"/>
                </a:lnTo>
                <a:cubicBezTo>
                  <a:pt x="3662364" y="2326497"/>
                  <a:pt x="3583768" y="2247901"/>
                  <a:pt x="3486816" y="2247901"/>
                </a:cubicBezTo>
                <a:lnTo>
                  <a:pt x="3482326" y="2247901"/>
                </a:lnTo>
                <a:lnTo>
                  <a:pt x="3482160" y="2247901"/>
                </a:lnTo>
                <a:lnTo>
                  <a:pt x="778512" y="2247901"/>
                </a:lnTo>
                <a:lnTo>
                  <a:pt x="778239" y="2247901"/>
                </a:lnTo>
                <a:lnTo>
                  <a:pt x="775517" y="2247901"/>
                </a:lnTo>
                <a:cubicBezTo>
                  <a:pt x="678624" y="2247901"/>
                  <a:pt x="600076" y="2326449"/>
                  <a:pt x="600076" y="2423342"/>
                </a:cubicBezTo>
                <a:lnTo>
                  <a:pt x="600076" y="3010815"/>
                </a:lnTo>
                <a:lnTo>
                  <a:pt x="0" y="3010815"/>
                </a:lnTo>
                <a:close/>
              </a:path>
            </a:pathLst>
          </a:custGeom>
        </p:spPr>
        <p:txBody>
          <a:bodyPr wrap="square" anchor="ctr">
            <a:noAutofit/>
          </a:bodyPr>
          <a:lstStyle>
            <a:lvl1pPr marL="0" indent="0" algn="ctr">
              <a:buNone/>
              <a:defRPr>
                <a:latin typeface="+mj-lt"/>
              </a:defRPr>
            </a:lvl1pPr>
          </a:lstStyle>
          <a:p>
            <a:r>
              <a:rPr lang="en-IN"/>
              <a:t>Picture</a:t>
            </a:r>
            <a:endParaRPr lang="en-US"/>
          </a:p>
        </p:txBody>
      </p:sp>
      <p:sp>
        <p:nvSpPr>
          <p:cNvPr id="18" name="Text Placeholder 17">
            <a:extLst>
              <a:ext uri="{FF2B5EF4-FFF2-40B4-BE49-F238E27FC236}">
                <a16:creationId xmlns:a16="http://schemas.microsoft.com/office/drawing/2014/main" id="{149B03FD-A21B-26AF-EF2C-1054A0606ECE}"/>
              </a:ext>
            </a:extLst>
          </p:cNvPr>
          <p:cNvSpPr>
            <a:spLocks noGrp="1"/>
          </p:cNvSpPr>
          <p:nvPr>
            <p:ph type="body" sz="quarter" idx="10" hasCustomPrompt="1"/>
          </p:nvPr>
        </p:nvSpPr>
        <p:spPr>
          <a:xfrm>
            <a:off x="4901131" y="3701674"/>
            <a:ext cx="6465485" cy="246221"/>
          </a:xfrm>
          <a:prstGeom prst="rect">
            <a:avLst/>
          </a:prstGeom>
        </p:spPr>
        <p:txBody>
          <a:bodyPr lIns="0" tIns="0" rIns="0" bIns="0" anchor="ctr">
            <a:spAutoFit/>
          </a:bodyPr>
          <a:lstStyle>
            <a:lvl1pPr marL="0" indent="0">
              <a:buNone/>
              <a:defRPr sz="1600"/>
            </a:lvl1pPr>
          </a:lstStyle>
          <a:p>
            <a:pPr lvl="0"/>
            <a:r>
              <a:rPr lang="en-US"/>
              <a:t>Lorem ipsum dolor sit </a:t>
            </a:r>
            <a:r>
              <a:rPr lang="en-US" err="1"/>
              <a:t>amet</a:t>
            </a:r>
            <a:endParaRPr lang="en-US"/>
          </a:p>
        </p:txBody>
      </p:sp>
      <p:sp>
        <p:nvSpPr>
          <p:cNvPr id="12" name="Rectangle: Rounded Corners 11">
            <a:extLst>
              <a:ext uri="{FF2B5EF4-FFF2-40B4-BE49-F238E27FC236}">
                <a16:creationId xmlns:a16="http://schemas.microsoft.com/office/drawing/2014/main" id="{74B69062-E4FA-830C-D262-CE7623FD12D1}"/>
              </a:ext>
            </a:extLst>
          </p:cNvPr>
          <p:cNvSpPr/>
          <p:nvPr userDrawn="1"/>
        </p:nvSpPr>
        <p:spPr bwMode="auto">
          <a:xfrm>
            <a:off x="4027103" y="3502204"/>
            <a:ext cx="637888" cy="645160"/>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3" name="Rectangle: Rounded Corners 12">
            <a:extLst>
              <a:ext uri="{FF2B5EF4-FFF2-40B4-BE49-F238E27FC236}">
                <a16:creationId xmlns:a16="http://schemas.microsoft.com/office/drawing/2014/main" id="{EC3097DF-8759-873B-048A-89A8C7A496BE}"/>
              </a:ext>
            </a:extLst>
          </p:cNvPr>
          <p:cNvSpPr/>
          <p:nvPr userDrawn="1"/>
        </p:nvSpPr>
        <p:spPr bwMode="auto">
          <a:xfrm>
            <a:off x="4027103" y="4830807"/>
            <a:ext cx="637888" cy="645160"/>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cxnSp>
        <p:nvCxnSpPr>
          <p:cNvPr id="15" name="Straight Connector 14">
            <a:extLst>
              <a:ext uri="{FF2B5EF4-FFF2-40B4-BE49-F238E27FC236}">
                <a16:creationId xmlns:a16="http://schemas.microsoft.com/office/drawing/2014/main" id="{EDCDD9C2-6229-2B81-F159-BF8A4259FDB6}"/>
              </a:ext>
            </a:extLst>
          </p:cNvPr>
          <p:cNvCxnSpPr>
            <a:cxnSpLocks/>
          </p:cNvCxnSpPr>
          <p:nvPr userDrawn="1"/>
        </p:nvCxnSpPr>
        <p:spPr>
          <a:xfrm flipH="1">
            <a:off x="4901131" y="4489086"/>
            <a:ext cx="6465485" cy="0"/>
          </a:xfrm>
          <a:prstGeom prst="line">
            <a:avLst/>
          </a:prstGeom>
          <a:noFill/>
          <a:ln w="6350" cap="rnd" cmpd="sng" algn="ctr">
            <a:solidFill>
              <a:schemeClr val="tx1">
                <a:lumMod val="75000"/>
                <a:lumOff val="25000"/>
              </a:schemeClr>
            </a:solidFill>
            <a:prstDash val="solid"/>
            <a:headEnd type="none"/>
            <a:tailEnd type="none"/>
          </a:ln>
          <a:effectLst/>
        </p:spPr>
      </p:cxnSp>
      <p:sp>
        <p:nvSpPr>
          <p:cNvPr id="19" name="Text Placeholder 17">
            <a:extLst>
              <a:ext uri="{FF2B5EF4-FFF2-40B4-BE49-F238E27FC236}">
                <a16:creationId xmlns:a16="http://schemas.microsoft.com/office/drawing/2014/main" id="{CF6DB3CE-8C56-F1B8-31A5-33874CD0B6C7}"/>
              </a:ext>
            </a:extLst>
          </p:cNvPr>
          <p:cNvSpPr>
            <a:spLocks noGrp="1"/>
          </p:cNvSpPr>
          <p:nvPr>
            <p:ph type="body" sz="quarter" idx="11" hasCustomPrompt="1"/>
          </p:nvPr>
        </p:nvSpPr>
        <p:spPr>
          <a:xfrm>
            <a:off x="4901131" y="5030277"/>
            <a:ext cx="6465485" cy="246221"/>
          </a:xfrm>
          <a:prstGeom prst="rect">
            <a:avLst/>
          </a:prstGeom>
        </p:spPr>
        <p:txBody>
          <a:bodyPr lIns="0" tIns="0" rIns="0" bIns="0" anchor="ctr">
            <a:spAutoFit/>
          </a:bodyPr>
          <a:lstStyle>
            <a:lvl1pPr marL="0" indent="0">
              <a:buNone/>
              <a:defRPr sz="1600"/>
            </a:lvl1pPr>
          </a:lstStyle>
          <a:p>
            <a:pPr lvl="0"/>
            <a:r>
              <a:rPr lang="en-US"/>
              <a:t>Lorem ipsum dolor sit </a:t>
            </a:r>
            <a:r>
              <a:rPr lang="en-US" err="1"/>
              <a:t>amet</a:t>
            </a:r>
            <a:endParaRPr lang="en-US"/>
          </a:p>
        </p:txBody>
      </p:sp>
      <p:sp>
        <p:nvSpPr>
          <p:cNvPr id="8" name="Rectangle: Top Corners Rounded 7">
            <a:extLst>
              <a:ext uri="{FF2B5EF4-FFF2-40B4-BE49-F238E27FC236}">
                <a16:creationId xmlns:a16="http://schemas.microsoft.com/office/drawing/2014/main" id="{BB02F477-5E62-E357-CB77-59D2C0F59CFF}"/>
              </a:ext>
              <a:ext uri="{C183D7F6-B498-43B3-948B-1728B52AA6E4}">
                <adec:decorative xmlns:adec="http://schemas.microsoft.com/office/drawing/2017/decorative" val="1"/>
              </a:ext>
            </a:extLst>
          </p:cNvPr>
          <p:cNvSpPr>
            <a:spLocks/>
          </p:cNvSpPr>
          <p:nvPr userDrawn="1"/>
        </p:nvSpPr>
        <p:spPr bwMode="auto">
          <a:xfrm>
            <a:off x="602963" y="2247901"/>
            <a:ext cx="3054637" cy="4610099"/>
          </a:xfrm>
          <a:prstGeom prst="round2SameRect">
            <a:avLst>
              <a:gd name="adj1" fmla="val 5738"/>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cxnSp>
        <p:nvCxnSpPr>
          <p:cNvPr id="9" name="Straight Connector 8">
            <a:extLst>
              <a:ext uri="{FF2B5EF4-FFF2-40B4-BE49-F238E27FC236}">
                <a16:creationId xmlns:a16="http://schemas.microsoft.com/office/drawing/2014/main" id="{3FFF42C6-DD2F-E7E4-0A16-6EFED6C8990F}"/>
              </a:ext>
            </a:extLst>
          </p:cNvPr>
          <p:cNvCxnSpPr>
            <a:cxnSpLocks/>
          </p:cNvCxnSpPr>
          <p:nvPr userDrawn="1"/>
        </p:nvCxnSpPr>
        <p:spPr>
          <a:xfrm flipH="1">
            <a:off x="1059077" y="2247901"/>
            <a:ext cx="2142409"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Text Placeholder 21">
            <a:extLst>
              <a:ext uri="{FF2B5EF4-FFF2-40B4-BE49-F238E27FC236}">
                <a16:creationId xmlns:a16="http://schemas.microsoft.com/office/drawing/2014/main" id="{48CB7E63-482D-5A43-F000-DD826701EB06}"/>
              </a:ext>
            </a:extLst>
          </p:cNvPr>
          <p:cNvSpPr>
            <a:spLocks noGrp="1"/>
          </p:cNvSpPr>
          <p:nvPr>
            <p:ph type="body" sz="quarter" idx="13" hasCustomPrompt="1"/>
          </p:nvPr>
        </p:nvSpPr>
        <p:spPr>
          <a:xfrm>
            <a:off x="833119" y="3669914"/>
            <a:ext cx="2608212" cy="475433"/>
          </a:xfrm>
          <a:prstGeom prst="rect">
            <a:avLst/>
          </a:prstGeom>
        </p:spPr>
        <p:txBody>
          <a:bodyPr lIns="0" tIns="0" rIns="0" bIns="0"/>
          <a:lstStyle>
            <a:lvl1pPr marL="0" indent="0" algn="l">
              <a:buNone/>
              <a:defRPr sz="2400">
                <a:gradFill>
                  <a:gsLst>
                    <a:gs pos="0">
                      <a:schemeClr val="accent1">
                        <a:lumMod val="20000"/>
                        <a:lumOff val="80000"/>
                      </a:schemeClr>
                    </a:gs>
                    <a:gs pos="80000">
                      <a:schemeClr val="accent1">
                        <a:lumMod val="60000"/>
                        <a:lumOff val="40000"/>
                      </a:schemeClr>
                    </a:gs>
                  </a:gsLst>
                  <a:lin ang="2700000" scaled="0"/>
                </a:gradFill>
                <a:latin typeface="+mj-lt"/>
              </a:defRPr>
            </a:lvl1pPr>
          </a:lstStyle>
          <a:p>
            <a:pPr lvl="0"/>
            <a:r>
              <a:rPr lang="en-US"/>
              <a:t>Lorem Ipsum</a:t>
            </a:r>
          </a:p>
        </p:txBody>
      </p:sp>
      <p:sp>
        <p:nvSpPr>
          <p:cNvPr id="23" name="Text Placeholder 21">
            <a:extLst>
              <a:ext uri="{FF2B5EF4-FFF2-40B4-BE49-F238E27FC236}">
                <a16:creationId xmlns:a16="http://schemas.microsoft.com/office/drawing/2014/main" id="{C445C88F-D92F-8B06-0B17-48F5C6EBA2CB}"/>
              </a:ext>
            </a:extLst>
          </p:cNvPr>
          <p:cNvSpPr>
            <a:spLocks noGrp="1"/>
          </p:cNvSpPr>
          <p:nvPr>
            <p:ph type="body" sz="quarter" idx="14" hasCustomPrompt="1"/>
          </p:nvPr>
        </p:nvSpPr>
        <p:spPr>
          <a:xfrm>
            <a:off x="833119" y="4304453"/>
            <a:ext cx="2608212" cy="1617353"/>
          </a:xfrm>
          <a:prstGeom prst="rect">
            <a:avLst/>
          </a:prstGeom>
        </p:spPr>
        <p:txBody>
          <a:bodyPr lIns="0" tIns="0" rIns="0" bIns="0"/>
          <a:lstStyle>
            <a:lvl1pPr marL="0" indent="0" algn="l">
              <a:buNone/>
              <a:defRPr sz="1800">
                <a:solidFill>
                  <a:schemeClr val="bg1"/>
                </a:solidFill>
                <a:latin typeface="+mj-lt"/>
              </a:defRPr>
            </a:lvl1pPr>
          </a:lstStyle>
          <a:p>
            <a:pPr lvl="0"/>
            <a:r>
              <a:rPr lang="en-US"/>
              <a:t>Lorem Ipsum</a:t>
            </a:r>
          </a:p>
        </p:txBody>
      </p:sp>
    </p:spTree>
    <p:extLst>
      <p:ext uri="{BB962C8B-B14F-4D97-AF65-F5344CB8AC3E}">
        <p14:creationId xmlns:p14="http://schemas.microsoft.com/office/powerpoint/2010/main" val="4440889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250"/>
                                        <p:tgtEl>
                                          <p:spTgt spid="22"/>
                                        </p:tgtEl>
                                      </p:cBhvr>
                                    </p:animEffect>
                                  </p:childTnLst>
                                </p:cTn>
                              </p:par>
                              <p:par>
                                <p:cTn id="8" presetID="42" presetClass="path" presetSubtype="0" decel="100000" fill="hold" grpId="1" nodeType="withEffect">
                                  <p:stCondLst>
                                    <p:cond delay="250"/>
                                  </p:stCondLst>
                                  <p:childTnLst>
                                    <p:animMotion origin="layout" path="M -0.01719 -0.00023 L -4.16667E-7 3.33333E-6 " pathEditMode="relative" rAng="0" ptsTypes="AA">
                                      <p:cBhvr>
                                        <p:cTn id="9" dur="500" fill="hold"/>
                                        <p:tgtEl>
                                          <p:spTgt spid="22"/>
                                        </p:tgtEl>
                                        <p:attrNameLst>
                                          <p:attrName>ppt_x</p:attrName>
                                          <p:attrName>ppt_y</p:attrName>
                                        </p:attrNameLst>
                                      </p:cBhvr>
                                      <p:rCtr x="859" y="0"/>
                                    </p:animMotion>
                                  </p:childTnLst>
                                </p:cTn>
                              </p:par>
                              <p:par>
                                <p:cTn id="10" presetID="10" presetClass="entr" presetSubtype="0" fill="hold" grpId="0" nodeType="withEffect">
                                  <p:stCondLst>
                                    <p:cond delay="25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250"/>
                                        <p:tgtEl>
                                          <p:spTgt spid="23"/>
                                        </p:tgtEl>
                                      </p:cBhvr>
                                    </p:animEffect>
                                  </p:childTnLst>
                                </p:cTn>
                              </p:par>
                              <p:par>
                                <p:cTn id="13" presetID="42" presetClass="path" presetSubtype="0" decel="100000" fill="hold" grpId="1" nodeType="withEffect">
                                  <p:stCondLst>
                                    <p:cond delay="250"/>
                                  </p:stCondLst>
                                  <p:childTnLst>
                                    <p:animMotion origin="layout" path="M -0.01719 -0.00023 L -4.16667E-7 3.33333E-6 " pathEditMode="relative" rAng="0" ptsTypes="AA">
                                      <p:cBhvr>
                                        <p:cTn id="14" dur="500" fill="hold"/>
                                        <p:tgtEl>
                                          <p:spTgt spid="23"/>
                                        </p:tgtEl>
                                        <p:attrNameLst>
                                          <p:attrName>ppt_x</p:attrName>
                                          <p:attrName>ppt_y</p:attrName>
                                        </p:attrNameLst>
                                      </p:cBhvr>
                                      <p:rCtr x="859" y="0"/>
                                    </p:animMotion>
                                  </p:childTnLst>
                                </p:cTn>
                              </p:par>
                              <p:par>
                                <p:cTn id="15" presetID="10" presetClass="entr" presetSubtype="0" fill="hold" grpId="0" nodeType="withEffect">
                                  <p:stCondLst>
                                    <p:cond delay="25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50"/>
                                        <p:tgtEl>
                                          <p:spTgt spid="12"/>
                                        </p:tgtEl>
                                      </p:cBhvr>
                                    </p:animEffect>
                                  </p:childTnLst>
                                </p:cTn>
                              </p:par>
                              <p:par>
                                <p:cTn id="18" presetID="42" presetClass="path" presetSubtype="0" decel="100000" fill="hold" grpId="1" nodeType="withEffect">
                                  <p:stCondLst>
                                    <p:cond delay="250"/>
                                  </p:stCondLst>
                                  <p:childTnLst>
                                    <p:animMotion origin="layout" path="M -0.01719 -0.00023 L -4.16667E-7 1.11111E-6 " pathEditMode="relative" rAng="0" ptsTypes="AA">
                                      <p:cBhvr>
                                        <p:cTn id="19" dur="500" fill="hold"/>
                                        <p:tgtEl>
                                          <p:spTgt spid="12"/>
                                        </p:tgtEl>
                                        <p:attrNameLst>
                                          <p:attrName>ppt_x</p:attrName>
                                          <p:attrName>ppt_y</p:attrName>
                                        </p:attrNameLst>
                                      </p:cBhvr>
                                      <p:rCtr x="859" y="0"/>
                                    </p:animMotion>
                                  </p:childTnLst>
                                </p:cTn>
                              </p:par>
                              <p:par>
                                <p:cTn id="20" presetID="10" presetClass="entr" presetSubtype="0" fill="hold" grpId="0" nodeType="withEffect">
                                  <p:stCondLst>
                                    <p:cond delay="2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250"/>
                                        <p:tgtEl>
                                          <p:spTgt spid="18"/>
                                        </p:tgtEl>
                                      </p:cBhvr>
                                    </p:animEffect>
                                  </p:childTnLst>
                                </p:cTn>
                              </p:par>
                              <p:par>
                                <p:cTn id="23" presetID="42" presetClass="path" presetSubtype="0" decel="100000" fill="hold" grpId="1" nodeType="withEffect">
                                  <p:stCondLst>
                                    <p:cond delay="250"/>
                                  </p:stCondLst>
                                  <p:childTnLst>
                                    <p:animMotion origin="layout" path="M -0.01719 -0.00023 L 2.70833E-6 1.11111E-6 " pathEditMode="relative" rAng="0" ptsTypes="AA">
                                      <p:cBhvr>
                                        <p:cTn id="24" dur="500" fill="hold"/>
                                        <p:tgtEl>
                                          <p:spTgt spid="18"/>
                                        </p:tgtEl>
                                        <p:attrNameLst>
                                          <p:attrName>ppt_x</p:attrName>
                                          <p:attrName>ppt_y</p:attrName>
                                        </p:attrNameLst>
                                      </p:cBhvr>
                                      <p:rCtr x="859" y="0"/>
                                    </p:animMotion>
                                  </p:childTnLst>
                                </p:cTn>
                              </p:par>
                              <p:par>
                                <p:cTn id="25" presetID="22" presetClass="entr" presetSubtype="8" fill="hold" nodeType="withEffect">
                                  <p:stCondLst>
                                    <p:cond delay="250"/>
                                  </p:stCondLst>
                                  <p:childTnLst>
                                    <p:set>
                                      <p:cBhvr>
                                        <p:cTn id="26" dur="1" fill="hold">
                                          <p:stCondLst>
                                            <p:cond delay="0"/>
                                          </p:stCondLst>
                                        </p:cTn>
                                        <p:tgtEl>
                                          <p:spTgt spid="15"/>
                                        </p:tgtEl>
                                        <p:attrNameLst>
                                          <p:attrName>style.visibility</p:attrName>
                                        </p:attrNameLst>
                                      </p:cBhvr>
                                      <p:to>
                                        <p:strVal val="visible"/>
                                      </p:to>
                                    </p:set>
                                    <p:animEffect transition="in" filter="wipe(left)">
                                      <p:cBhvr>
                                        <p:cTn id="27" dur="500"/>
                                        <p:tgtEl>
                                          <p:spTgt spid="15"/>
                                        </p:tgtEl>
                                      </p:cBhvr>
                                    </p:animEffect>
                                  </p:childTnLst>
                                </p:cTn>
                              </p:par>
                              <p:par>
                                <p:cTn id="28" presetID="10" presetClass="entr" presetSubtype="0" fill="hold" grpId="0" nodeType="withEffect">
                                  <p:stCondLst>
                                    <p:cond delay="300"/>
                                  </p:stCondLst>
                                  <p:childTnLst>
                                    <p:set>
                                      <p:cBhvr>
                                        <p:cTn id="29" dur="1" fill="hold">
                                          <p:stCondLst>
                                            <p:cond delay="0"/>
                                          </p:stCondLst>
                                        </p:cTn>
                                        <p:tgtEl>
                                          <p:spTgt spid="13"/>
                                        </p:tgtEl>
                                        <p:attrNameLst>
                                          <p:attrName>style.visibility</p:attrName>
                                        </p:attrNameLst>
                                      </p:cBhvr>
                                      <p:to>
                                        <p:strVal val="visible"/>
                                      </p:to>
                                    </p:set>
                                    <p:animEffect transition="in" filter="fade">
                                      <p:cBhvr>
                                        <p:cTn id="30" dur="250"/>
                                        <p:tgtEl>
                                          <p:spTgt spid="13"/>
                                        </p:tgtEl>
                                      </p:cBhvr>
                                    </p:animEffect>
                                  </p:childTnLst>
                                </p:cTn>
                              </p:par>
                              <p:par>
                                <p:cTn id="31" presetID="42" presetClass="path" presetSubtype="0" decel="100000" fill="hold" grpId="1" nodeType="withEffect">
                                  <p:stCondLst>
                                    <p:cond delay="300"/>
                                  </p:stCondLst>
                                  <p:childTnLst>
                                    <p:animMotion origin="layout" path="M -0.01719 -0.00023 L -4.16667E-7 1.11111E-6 " pathEditMode="relative" rAng="0" ptsTypes="AA">
                                      <p:cBhvr>
                                        <p:cTn id="32" dur="500" fill="hold"/>
                                        <p:tgtEl>
                                          <p:spTgt spid="13"/>
                                        </p:tgtEl>
                                        <p:attrNameLst>
                                          <p:attrName>ppt_x</p:attrName>
                                          <p:attrName>ppt_y</p:attrName>
                                        </p:attrNameLst>
                                      </p:cBhvr>
                                      <p:rCtr x="859" y="0"/>
                                    </p:animMotion>
                                  </p:childTnLst>
                                </p:cTn>
                              </p:par>
                              <p:par>
                                <p:cTn id="33" presetID="10" presetClass="entr" presetSubtype="0" fill="hold" grpId="0" nodeType="withEffect">
                                  <p:stCondLst>
                                    <p:cond delay="30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250"/>
                                        <p:tgtEl>
                                          <p:spTgt spid="19"/>
                                        </p:tgtEl>
                                      </p:cBhvr>
                                    </p:animEffect>
                                  </p:childTnLst>
                                </p:cTn>
                              </p:par>
                              <p:par>
                                <p:cTn id="36" presetID="42" presetClass="path" presetSubtype="0" decel="100000" fill="hold" grpId="1" nodeType="withEffect">
                                  <p:stCondLst>
                                    <p:cond delay="300"/>
                                  </p:stCondLst>
                                  <p:childTnLst>
                                    <p:animMotion origin="layout" path="M -0.01719 -0.00023 L 2.70833E-6 1.11111E-6 " pathEditMode="relative" rAng="0" ptsTypes="AA">
                                      <p:cBhvr>
                                        <p:cTn id="37" dur="500" fill="hold"/>
                                        <p:tgtEl>
                                          <p:spTgt spid="19"/>
                                        </p:tgtEl>
                                        <p:attrNameLst>
                                          <p:attrName>ppt_x</p:attrName>
                                          <p:attrName>ppt_y</p:attrName>
                                        </p:attrNameLst>
                                      </p:cBhvr>
                                      <p:rCtr x="85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tmplLst>
          <p:tmpl>
            <p:tnLst>
              <p:par>
                <p:cTn presetID="10" presetClass="entr" presetSubtype="0" fill="hold" nodeType="withEffect">
                  <p:stCondLst>
                    <p:cond delay="250"/>
                  </p:stCondLst>
                  <p:childTnLst>
                    <p:set>
                      <p:cBhvr>
                        <p:cTn dur="1" fill="hold">
                          <p:stCondLst>
                            <p:cond delay="0"/>
                          </p:stCondLst>
                        </p:cTn>
                        <p:tgtEl>
                          <p:spTgt spid="18"/>
                        </p:tgtEl>
                        <p:attrNameLst>
                          <p:attrName>style.visibility</p:attrName>
                        </p:attrNameLst>
                      </p:cBhvr>
                      <p:to>
                        <p:strVal val="visible"/>
                      </p:to>
                    </p:set>
                    <p:animEffect transition="in" filter="fade">
                      <p:cBhvr>
                        <p:cTn dur="250"/>
                        <p:tgtEl>
                          <p:spTgt spid="18"/>
                        </p:tgtEl>
                      </p:cBhvr>
                    </p:animEffect>
                  </p:childTnLst>
                </p:cTn>
              </p:par>
            </p:tnLst>
          </p:tmpl>
        </p:tmplLst>
      </p:bldP>
      <p:bldP spid="18" grpId="1">
        <p:tmplLst>
          <p:tmpl>
            <p:tnLst>
              <p:par>
                <p:cTn presetID="42" presetClass="path" presetSubtype="0" decel="100000" fill="hold" nodeType="withEffect">
                  <p:stCondLst>
                    <p:cond delay="250"/>
                  </p:stCondLst>
                  <p:childTnLst>
                    <p:animMotion origin="layout" path="M -0.01719 -0.00023 L 2.70833E-6 1.11111E-6 " pathEditMode="relative" rAng="0" ptsTypes="AA">
                      <p:cBhvr>
                        <p:cTn dur="500" fill="hold"/>
                        <p:tgtEl>
                          <p:spTgt spid="18"/>
                        </p:tgtEl>
                        <p:attrNameLst>
                          <p:attrName>ppt_x</p:attrName>
                          <p:attrName>ppt_y</p:attrName>
                        </p:attrNameLst>
                      </p:cBhvr>
                      <p:rCtr x="859" y="0"/>
                    </p:animMotion>
                  </p:childTnLst>
                </p:cTn>
              </p:par>
            </p:tnLst>
          </p:tmpl>
        </p:tmplLst>
      </p:bldP>
      <p:bldP spid="12" grpId="0" animBg="1"/>
      <p:bldP spid="12" grpId="1" animBg="1"/>
      <p:bldP spid="13" grpId="0" animBg="1"/>
      <p:bldP spid="13" grpId="1" animBg="1"/>
      <p:bldP spid="19" grpId="0">
        <p:tmplLst>
          <p:tmpl>
            <p:tnLst>
              <p:par>
                <p:cTn presetID="10" presetClass="entr" presetSubtype="0" fill="hold" nodeType="withEffect">
                  <p:stCondLst>
                    <p:cond delay="300"/>
                  </p:stCondLst>
                  <p:childTnLst>
                    <p:set>
                      <p:cBhvr>
                        <p:cTn dur="1" fill="hold">
                          <p:stCondLst>
                            <p:cond delay="0"/>
                          </p:stCondLst>
                        </p:cTn>
                        <p:tgtEl>
                          <p:spTgt spid="19"/>
                        </p:tgtEl>
                        <p:attrNameLst>
                          <p:attrName>style.visibility</p:attrName>
                        </p:attrNameLst>
                      </p:cBhvr>
                      <p:to>
                        <p:strVal val="visible"/>
                      </p:to>
                    </p:set>
                    <p:animEffect transition="in" filter="fade">
                      <p:cBhvr>
                        <p:cTn dur="250"/>
                        <p:tgtEl>
                          <p:spTgt spid="19"/>
                        </p:tgtEl>
                      </p:cBhvr>
                    </p:animEffect>
                  </p:childTnLst>
                </p:cTn>
              </p:par>
            </p:tnLst>
          </p:tmpl>
        </p:tmplLst>
      </p:bldP>
      <p:bldP spid="19" grpId="1">
        <p:tmplLst>
          <p:tmpl>
            <p:tnLst>
              <p:par>
                <p:cTn presetID="42" presetClass="path" presetSubtype="0" decel="100000" fill="hold" nodeType="withEffect">
                  <p:stCondLst>
                    <p:cond delay="300"/>
                  </p:stCondLst>
                  <p:childTnLst>
                    <p:animMotion origin="layout" path="M -0.01719 -0.00023 L 2.70833E-6 1.11111E-6 " pathEditMode="relative" rAng="0" ptsTypes="AA">
                      <p:cBhvr>
                        <p:cTn dur="500" fill="hold"/>
                        <p:tgtEl>
                          <p:spTgt spid="19"/>
                        </p:tgtEl>
                        <p:attrNameLst>
                          <p:attrName>ppt_x</p:attrName>
                          <p:attrName>ppt_y</p:attrName>
                        </p:attrNameLst>
                      </p:cBhvr>
                      <p:rCtr x="859" y="0"/>
                    </p:animMotion>
                  </p:childTnLst>
                </p:cTn>
              </p:par>
            </p:tnLst>
          </p:tmpl>
        </p:tmplLst>
      </p:bldP>
      <p:bldP spid="22" grpId="0">
        <p:tmplLst>
          <p:tmpl>
            <p:tnLst>
              <p:par>
                <p:cTn presetID="10" presetClass="entr" presetSubtype="0" fill="hold" nodeType="afterEffect">
                  <p:stCondLst>
                    <p:cond delay="250"/>
                  </p:stCondLst>
                  <p:childTnLst>
                    <p:set>
                      <p:cBhvr>
                        <p:cTn dur="1" fill="hold">
                          <p:stCondLst>
                            <p:cond delay="0"/>
                          </p:stCondLst>
                        </p:cTn>
                        <p:tgtEl>
                          <p:spTgt spid="22"/>
                        </p:tgtEl>
                        <p:attrNameLst>
                          <p:attrName>style.visibility</p:attrName>
                        </p:attrNameLst>
                      </p:cBhvr>
                      <p:to>
                        <p:strVal val="visible"/>
                      </p:to>
                    </p:set>
                    <p:animEffect transition="in" filter="fade">
                      <p:cBhvr>
                        <p:cTn dur="250"/>
                        <p:tgtEl>
                          <p:spTgt spid="22"/>
                        </p:tgtEl>
                      </p:cBhvr>
                    </p:animEffect>
                  </p:childTnLst>
                </p:cTn>
              </p:par>
            </p:tnLst>
          </p:tmpl>
        </p:tmplLst>
      </p:bldP>
      <p:bldP spid="22" grpId="1">
        <p:tmplLst>
          <p:tmpl>
            <p:tnLst>
              <p:par>
                <p:cTn presetID="42" presetClass="path" presetSubtype="0" decel="100000" fill="hold" nodeType="withEffect">
                  <p:stCondLst>
                    <p:cond delay="250"/>
                  </p:stCondLst>
                  <p:childTnLst>
                    <p:animMotion origin="layout" path="M -0.01719 -0.00023 L -4.16667E-7 3.33333E-6 " pathEditMode="relative" rAng="0" ptsTypes="AA">
                      <p:cBhvr>
                        <p:cTn dur="500" fill="hold"/>
                        <p:tgtEl>
                          <p:spTgt spid="22"/>
                        </p:tgtEl>
                        <p:attrNameLst>
                          <p:attrName>ppt_x</p:attrName>
                          <p:attrName>ppt_y</p:attrName>
                        </p:attrNameLst>
                      </p:cBhvr>
                      <p:rCtr x="859" y="0"/>
                    </p:animMotion>
                  </p:childTnLst>
                </p:cTn>
              </p:par>
            </p:tnLst>
          </p:tmpl>
        </p:tmplLst>
      </p:bldP>
      <p:bldP spid="23" grpId="0">
        <p:tmplLst>
          <p:tmpl>
            <p:tnLst>
              <p:par>
                <p:cTn presetID="10" presetClass="entr" presetSubtype="0" fill="hold" nodeType="withEffect">
                  <p:stCondLst>
                    <p:cond delay="250"/>
                  </p:stCondLst>
                  <p:childTnLst>
                    <p:set>
                      <p:cBhvr>
                        <p:cTn dur="1" fill="hold">
                          <p:stCondLst>
                            <p:cond delay="0"/>
                          </p:stCondLst>
                        </p:cTn>
                        <p:tgtEl>
                          <p:spTgt spid="23"/>
                        </p:tgtEl>
                        <p:attrNameLst>
                          <p:attrName>style.visibility</p:attrName>
                        </p:attrNameLst>
                      </p:cBhvr>
                      <p:to>
                        <p:strVal val="visible"/>
                      </p:to>
                    </p:set>
                    <p:animEffect transition="in" filter="fade">
                      <p:cBhvr>
                        <p:cTn dur="250"/>
                        <p:tgtEl>
                          <p:spTgt spid="23"/>
                        </p:tgtEl>
                      </p:cBhvr>
                    </p:animEffect>
                  </p:childTnLst>
                </p:cTn>
              </p:par>
            </p:tnLst>
          </p:tmpl>
        </p:tmplLst>
      </p:bldP>
      <p:bldP spid="23" grpId="1">
        <p:tmplLst>
          <p:tmpl>
            <p:tnLst>
              <p:par>
                <p:cTn presetID="42" presetClass="path" presetSubtype="0" decel="100000" fill="hold" nodeType="withEffect">
                  <p:stCondLst>
                    <p:cond delay="250"/>
                  </p:stCondLst>
                  <p:childTnLst>
                    <p:animMotion origin="layout" path="M -0.01719 -0.00023 L -4.16667E-7 3.33333E-6 " pathEditMode="relative" rAng="0" ptsTypes="AA">
                      <p:cBhvr>
                        <p:cTn dur="500" fill="hold"/>
                        <p:tgtEl>
                          <p:spTgt spid="23"/>
                        </p:tgtEl>
                        <p:attrNameLst>
                          <p:attrName>ppt_x</p:attrName>
                          <p:attrName>ppt_y</p:attrName>
                        </p:attrNameLst>
                      </p:cBhvr>
                      <p:rCtr x="859" y="0"/>
                    </p:animMotion>
                  </p:childTnLst>
                </p:cTn>
              </p:par>
            </p:tnLst>
          </p:tmpl>
        </p:tmplLst>
      </p:bldP>
    </p:bldLst>
  </p:timing>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6" name="Arrow: Bent 5">
            <a:extLst>
              <a:ext uri="{FF2B5EF4-FFF2-40B4-BE49-F238E27FC236}">
                <a16:creationId xmlns:a16="http://schemas.microsoft.com/office/drawing/2014/main" id="{3B61A23E-4705-A73F-4113-7B8A8D5035EC}"/>
              </a:ext>
            </a:extLst>
          </p:cNvPr>
          <p:cNvSpPr/>
          <p:nvPr userDrawn="1"/>
        </p:nvSpPr>
        <p:spPr bwMode="auto">
          <a:xfrm rot="10800000" flipH="1">
            <a:off x="696686" y="3301390"/>
            <a:ext cx="2713995" cy="2896961"/>
          </a:xfrm>
          <a:prstGeom prst="bentArrow">
            <a:avLst>
              <a:gd name="adj1" fmla="val 25000"/>
              <a:gd name="adj2" fmla="val 0"/>
              <a:gd name="adj3" fmla="val 25000"/>
              <a:gd name="adj4" fmla="val 4826"/>
            </a:avLst>
          </a:prstGeom>
          <a:ln w="38100">
            <a:gradFill flip="none" rotWithShape="1">
              <a:gsLst>
                <a:gs pos="0">
                  <a:schemeClr val="accent1">
                    <a:lumMod val="40000"/>
                    <a:lumOff val="60000"/>
                    <a:alpha val="0"/>
                  </a:schemeClr>
                </a:gs>
                <a:gs pos="48000">
                  <a:schemeClr val="accent1">
                    <a:lumMod val="40000"/>
                    <a:lumOff val="60000"/>
                  </a:schemeClr>
                </a:gs>
                <a:gs pos="100000">
                  <a:schemeClr val="accent1">
                    <a:lumMod val="40000"/>
                    <a:lumOff val="60000"/>
                    <a:alpha val="0"/>
                  </a:schemeClr>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 name="Freeform: Shape 6">
            <a:extLst>
              <a:ext uri="{FF2B5EF4-FFF2-40B4-BE49-F238E27FC236}">
                <a16:creationId xmlns:a16="http://schemas.microsoft.com/office/drawing/2014/main" id="{F8789A4D-6B2D-73B3-DFF8-7FD77EDB4F4B}"/>
              </a:ext>
              <a:ext uri="{C183D7F6-B498-43B3-948B-1728B52AA6E4}">
                <adec:decorative xmlns:adec="http://schemas.microsoft.com/office/drawing/2017/decorative" val="1"/>
              </a:ext>
            </a:extLst>
          </p:cNvPr>
          <p:cNvSpPr>
            <a:spLocks/>
          </p:cNvSpPr>
          <p:nvPr userDrawn="1"/>
        </p:nvSpPr>
        <p:spPr bwMode="auto">
          <a:xfrm>
            <a:off x="696686" y="1"/>
            <a:ext cx="3659414" cy="6198353"/>
          </a:xfrm>
          <a:custGeom>
            <a:avLst/>
            <a:gdLst>
              <a:gd name="connsiteX0" fmla="*/ 0 w 3659414"/>
              <a:gd name="connsiteY0" fmla="*/ 0 h 6198353"/>
              <a:gd name="connsiteX1" fmla="*/ 3659414 w 3659414"/>
              <a:gd name="connsiteY1" fmla="*/ 0 h 6198353"/>
              <a:gd name="connsiteX2" fmla="*/ 3659414 w 3659414"/>
              <a:gd name="connsiteY2" fmla="*/ 6090547 h 6198353"/>
              <a:gd name="connsiteX3" fmla="*/ 3551608 w 3659414"/>
              <a:gd name="connsiteY3" fmla="*/ 6198353 h 6198353"/>
              <a:gd name="connsiteX4" fmla="*/ 107806 w 3659414"/>
              <a:gd name="connsiteY4" fmla="*/ 6198353 h 6198353"/>
              <a:gd name="connsiteX5" fmla="*/ 0 w 3659414"/>
              <a:gd name="connsiteY5" fmla="*/ 6090547 h 6198353"/>
              <a:gd name="connsiteX6" fmla="*/ 0 w 3659414"/>
              <a:gd name="connsiteY6" fmla="*/ 0 h 61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414" h="6198353">
                <a:moveTo>
                  <a:pt x="0" y="0"/>
                </a:moveTo>
                <a:lnTo>
                  <a:pt x="3659414" y="0"/>
                </a:lnTo>
                <a:lnTo>
                  <a:pt x="3659414" y="6090547"/>
                </a:lnTo>
                <a:cubicBezTo>
                  <a:pt x="3659414" y="6150087"/>
                  <a:pt x="3611148" y="6198353"/>
                  <a:pt x="3551608" y="6198353"/>
                </a:cubicBezTo>
                <a:lnTo>
                  <a:pt x="107806" y="6198353"/>
                </a:lnTo>
                <a:cubicBezTo>
                  <a:pt x="48266" y="6198353"/>
                  <a:pt x="0" y="6150087"/>
                  <a:pt x="0" y="6090547"/>
                </a:cubicBezTo>
                <a:lnTo>
                  <a:pt x="0" y="0"/>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Title 1">
            <a:extLst>
              <a:ext uri="{FF2B5EF4-FFF2-40B4-BE49-F238E27FC236}">
                <a16:creationId xmlns:a16="http://schemas.microsoft.com/office/drawing/2014/main" id="{5CBCED35-A188-BD13-73B2-2F065CB357B2}"/>
              </a:ext>
            </a:extLst>
          </p:cNvPr>
          <p:cNvSpPr>
            <a:spLocks noGrp="1"/>
          </p:cNvSpPr>
          <p:nvPr>
            <p:ph type="title"/>
          </p:nvPr>
        </p:nvSpPr>
        <p:spPr>
          <a:xfrm>
            <a:off x="1082783" y="1676400"/>
            <a:ext cx="2887219" cy="1661993"/>
          </a:xfrm>
        </p:spPr>
        <p:txBody>
          <a:bodyPr wrap="square">
            <a:spAutoFit/>
          </a:bodyPr>
          <a:lstStyle/>
          <a:p>
            <a:r>
              <a:rPr lang="en-US"/>
              <a:t>Click to edit Master title style</a:t>
            </a:r>
          </a:p>
        </p:txBody>
      </p:sp>
      <p:sp>
        <p:nvSpPr>
          <p:cNvPr id="9" name="Rectangle: Top Corners Rounded 8">
            <a:extLst>
              <a:ext uri="{FF2B5EF4-FFF2-40B4-BE49-F238E27FC236}">
                <a16:creationId xmlns:a16="http://schemas.microsoft.com/office/drawing/2014/main" id="{00A2C487-7048-3C3F-5C52-D176A9EE3F00}"/>
              </a:ext>
              <a:ext uri="{C183D7F6-B498-43B3-948B-1728B52AA6E4}">
                <adec:decorative xmlns:adec="http://schemas.microsoft.com/office/drawing/2017/decorative" val="1"/>
              </a:ext>
            </a:extLst>
          </p:cNvPr>
          <p:cNvSpPr>
            <a:spLocks/>
          </p:cNvSpPr>
          <p:nvPr userDrawn="1"/>
        </p:nvSpPr>
        <p:spPr bwMode="auto">
          <a:xfrm rot="16200000" flipH="1">
            <a:off x="3347765" y="4577444"/>
            <a:ext cx="808356" cy="1208313"/>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3236261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Agenda w/5 bullets">
    <p:spTree>
      <p:nvGrpSpPr>
        <p:cNvPr id="1" name=""/>
        <p:cNvGrpSpPr/>
        <p:nvPr/>
      </p:nvGrpSpPr>
      <p:grpSpPr>
        <a:xfrm>
          <a:off x="0" y="0"/>
          <a:ext cx="0" cy="0"/>
          <a:chOff x="0" y="0"/>
          <a:chExt cx="0" cy="0"/>
        </a:xfrm>
      </p:grpSpPr>
      <p:sp>
        <p:nvSpPr>
          <p:cNvPr id="5" name="Arrow: Bent 4">
            <a:extLst>
              <a:ext uri="{FF2B5EF4-FFF2-40B4-BE49-F238E27FC236}">
                <a16:creationId xmlns:a16="http://schemas.microsoft.com/office/drawing/2014/main" id="{CA1804A6-4744-BDD6-B3DD-86281B4DEF81}"/>
              </a:ext>
            </a:extLst>
          </p:cNvPr>
          <p:cNvSpPr/>
          <p:nvPr userDrawn="1"/>
        </p:nvSpPr>
        <p:spPr bwMode="auto">
          <a:xfrm rot="10800000" flipH="1">
            <a:off x="696686" y="3301390"/>
            <a:ext cx="2713995" cy="2896961"/>
          </a:xfrm>
          <a:prstGeom prst="bentArrow">
            <a:avLst>
              <a:gd name="adj1" fmla="val 25000"/>
              <a:gd name="adj2" fmla="val 0"/>
              <a:gd name="adj3" fmla="val 25000"/>
              <a:gd name="adj4" fmla="val 4826"/>
            </a:avLst>
          </a:prstGeom>
          <a:ln w="38100">
            <a:gradFill flip="none" rotWithShape="1">
              <a:gsLst>
                <a:gs pos="0">
                  <a:schemeClr val="accent1">
                    <a:lumMod val="40000"/>
                    <a:lumOff val="60000"/>
                    <a:alpha val="0"/>
                  </a:schemeClr>
                </a:gs>
                <a:gs pos="48000">
                  <a:schemeClr val="accent1">
                    <a:lumMod val="40000"/>
                    <a:lumOff val="60000"/>
                  </a:schemeClr>
                </a:gs>
                <a:gs pos="100000">
                  <a:schemeClr val="accent1">
                    <a:lumMod val="40000"/>
                    <a:lumOff val="60000"/>
                    <a:alpha val="0"/>
                  </a:schemeClr>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3EE76DFA-FBDA-0FC4-4CC6-632C50187431}"/>
              </a:ext>
              <a:ext uri="{C183D7F6-B498-43B3-948B-1728B52AA6E4}">
                <adec:decorative xmlns:adec="http://schemas.microsoft.com/office/drawing/2017/decorative" val="1"/>
              </a:ext>
            </a:extLst>
          </p:cNvPr>
          <p:cNvSpPr>
            <a:spLocks/>
          </p:cNvSpPr>
          <p:nvPr userDrawn="1"/>
        </p:nvSpPr>
        <p:spPr bwMode="auto">
          <a:xfrm>
            <a:off x="696686" y="1"/>
            <a:ext cx="3659414" cy="6198353"/>
          </a:xfrm>
          <a:custGeom>
            <a:avLst/>
            <a:gdLst>
              <a:gd name="connsiteX0" fmla="*/ 0 w 3659414"/>
              <a:gd name="connsiteY0" fmla="*/ 0 h 6198353"/>
              <a:gd name="connsiteX1" fmla="*/ 3659414 w 3659414"/>
              <a:gd name="connsiteY1" fmla="*/ 0 h 6198353"/>
              <a:gd name="connsiteX2" fmla="*/ 3659414 w 3659414"/>
              <a:gd name="connsiteY2" fmla="*/ 6090547 h 6198353"/>
              <a:gd name="connsiteX3" fmla="*/ 3551608 w 3659414"/>
              <a:gd name="connsiteY3" fmla="*/ 6198353 h 6198353"/>
              <a:gd name="connsiteX4" fmla="*/ 107806 w 3659414"/>
              <a:gd name="connsiteY4" fmla="*/ 6198353 h 6198353"/>
              <a:gd name="connsiteX5" fmla="*/ 0 w 3659414"/>
              <a:gd name="connsiteY5" fmla="*/ 6090547 h 6198353"/>
              <a:gd name="connsiteX6" fmla="*/ 0 w 3659414"/>
              <a:gd name="connsiteY6" fmla="*/ 0 h 61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414" h="6198353">
                <a:moveTo>
                  <a:pt x="0" y="0"/>
                </a:moveTo>
                <a:lnTo>
                  <a:pt x="3659414" y="0"/>
                </a:lnTo>
                <a:lnTo>
                  <a:pt x="3659414" y="6090547"/>
                </a:lnTo>
                <a:cubicBezTo>
                  <a:pt x="3659414" y="6150087"/>
                  <a:pt x="3611148" y="6198353"/>
                  <a:pt x="3551608" y="6198353"/>
                </a:cubicBezTo>
                <a:lnTo>
                  <a:pt x="107806" y="6198353"/>
                </a:lnTo>
                <a:cubicBezTo>
                  <a:pt x="48266" y="6198353"/>
                  <a:pt x="0" y="6150087"/>
                  <a:pt x="0" y="6090547"/>
                </a:cubicBezTo>
                <a:lnTo>
                  <a:pt x="0" y="0"/>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82783" y="1676400"/>
            <a:ext cx="2887219" cy="1661993"/>
          </a:xfrm>
        </p:spPr>
        <p:txBody>
          <a:bodyPr wrap="square">
            <a:spAutoFit/>
          </a:bodyPr>
          <a:lstStyle/>
          <a:p>
            <a:r>
              <a:rPr lang="en-US"/>
              <a:t>Click to edit Master title style</a:t>
            </a:r>
          </a:p>
        </p:txBody>
      </p:sp>
      <p:sp>
        <p:nvSpPr>
          <p:cNvPr id="3" name="Rectangle: Top Corners Rounded 2">
            <a:extLst>
              <a:ext uri="{FF2B5EF4-FFF2-40B4-BE49-F238E27FC236}">
                <a16:creationId xmlns:a16="http://schemas.microsoft.com/office/drawing/2014/main" id="{064164E6-75AF-F48F-E9EA-11B66AFC7B7D}"/>
              </a:ext>
              <a:ext uri="{C183D7F6-B498-43B3-948B-1728B52AA6E4}">
                <adec:decorative xmlns:adec="http://schemas.microsoft.com/office/drawing/2017/decorative" val="1"/>
              </a:ext>
            </a:extLst>
          </p:cNvPr>
          <p:cNvSpPr>
            <a:spLocks/>
          </p:cNvSpPr>
          <p:nvPr userDrawn="1"/>
        </p:nvSpPr>
        <p:spPr bwMode="auto">
          <a:xfrm rot="16200000" flipH="1">
            <a:off x="3347765" y="4577444"/>
            <a:ext cx="808356" cy="1208313"/>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B742379-9871-2F75-C59B-EC0E084827DC}"/>
              </a:ext>
              <a:ext uri="{C183D7F6-B498-43B3-948B-1728B52AA6E4}">
                <adec:decorative xmlns:adec="http://schemas.microsoft.com/office/drawing/2017/decorative" val="1"/>
              </a:ext>
            </a:extLst>
          </p:cNvPr>
          <p:cNvSpPr/>
          <p:nvPr userDrawn="1"/>
        </p:nvSpPr>
        <p:spPr bwMode="auto">
          <a:xfrm>
            <a:off x="5070305" y="795359"/>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6" name="Oval 5">
            <a:extLst>
              <a:ext uri="{FF2B5EF4-FFF2-40B4-BE49-F238E27FC236}">
                <a16:creationId xmlns:a16="http://schemas.microsoft.com/office/drawing/2014/main" id="{95E7EFB4-34B9-9F64-9DDD-E43E91CDFC6D}"/>
              </a:ext>
              <a:ext uri="{C183D7F6-B498-43B3-948B-1728B52AA6E4}">
                <adec:decorative xmlns:adec="http://schemas.microsoft.com/office/drawing/2017/decorative" val="1"/>
              </a:ext>
            </a:extLst>
          </p:cNvPr>
          <p:cNvSpPr/>
          <p:nvPr userDrawn="1"/>
        </p:nvSpPr>
        <p:spPr bwMode="auto">
          <a:xfrm>
            <a:off x="5070305" y="1845493"/>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4C44A9D6-AD0D-B31F-FF89-AEBBEE4E94D3}"/>
              </a:ext>
              <a:ext uri="{C183D7F6-B498-43B3-948B-1728B52AA6E4}">
                <adec:decorative xmlns:adec="http://schemas.microsoft.com/office/drawing/2017/decorative" val="1"/>
              </a:ext>
            </a:extLst>
          </p:cNvPr>
          <p:cNvSpPr/>
          <p:nvPr userDrawn="1"/>
        </p:nvSpPr>
        <p:spPr bwMode="auto">
          <a:xfrm>
            <a:off x="5070305" y="2895627"/>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5DBD0ED4-60FA-D0A8-DEAE-4F7E368E2346}"/>
              </a:ext>
              <a:ext uri="{C183D7F6-B498-43B3-948B-1728B52AA6E4}">
                <adec:decorative xmlns:adec="http://schemas.microsoft.com/office/drawing/2017/decorative" val="1"/>
              </a:ext>
            </a:extLst>
          </p:cNvPr>
          <p:cNvSpPr/>
          <p:nvPr userDrawn="1"/>
        </p:nvSpPr>
        <p:spPr bwMode="auto">
          <a:xfrm>
            <a:off x="5070305" y="3945761"/>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E1FF233-C9BE-DE2D-B6E7-2FB262EBA95D}"/>
              </a:ext>
              <a:ext uri="{C183D7F6-B498-43B3-948B-1728B52AA6E4}">
                <adec:decorative xmlns:adec="http://schemas.microsoft.com/office/drawing/2017/decorative" val="1"/>
              </a:ext>
            </a:extLst>
          </p:cNvPr>
          <p:cNvSpPr/>
          <p:nvPr userDrawn="1"/>
        </p:nvSpPr>
        <p:spPr bwMode="auto">
          <a:xfrm>
            <a:off x="5070305" y="4995896"/>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Text Placeholder 25">
            <a:extLst>
              <a:ext uri="{FF2B5EF4-FFF2-40B4-BE49-F238E27FC236}">
                <a16:creationId xmlns:a16="http://schemas.microsoft.com/office/drawing/2014/main" id="{7F540C56-310A-0131-0A07-0F224D53F28F}"/>
              </a:ext>
            </a:extLst>
          </p:cNvPr>
          <p:cNvSpPr>
            <a:spLocks noGrp="1"/>
          </p:cNvSpPr>
          <p:nvPr>
            <p:ph type="body" sz="quarter" idx="10" hasCustomPrompt="1"/>
          </p:nvPr>
        </p:nvSpPr>
        <p:spPr>
          <a:xfrm>
            <a:off x="6022717" y="1006232"/>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cxnSp>
        <p:nvCxnSpPr>
          <p:cNvPr id="16" name="Straight Connector 15">
            <a:extLst>
              <a:ext uri="{FF2B5EF4-FFF2-40B4-BE49-F238E27FC236}">
                <a16:creationId xmlns:a16="http://schemas.microsoft.com/office/drawing/2014/main" id="{A5A38637-3881-8F54-A8B8-9FEEBA43A919}"/>
              </a:ext>
            </a:extLst>
          </p:cNvPr>
          <p:cNvCxnSpPr>
            <a:cxnSpLocks/>
          </p:cNvCxnSpPr>
          <p:nvPr userDrawn="1"/>
        </p:nvCxnSpPr>
        <p:spPr>
          <a:xfrm flipH="1">
            <a:off x="6022716" y="1685187"/>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7" name="Straight Connector 16">
            <a:extLst>
              <a:ext uri="{FF2B5EF4-FFF2-40B4-BE49-F238E27FC236}">
                <a16:creationId xmlns:a16="http://schemas.microsoft.com/office/drawing/2014/main" id="{F9FA7901-DAB9-165E-F193-D372591310DE}"/>
              </a:ext>
            </a:extLst>
          </p:cNvPr>
          <p:cNvCxnSpPr>
            <a:cxnSpLocks/>
          </p:cNvCxnSpPr>
          <p:nvPr userDrawn="1"/>
        </p:nvCxnSpPr>
        <p:spPr>
          <a:xfrm flipH="1">
            <a:off x="6022716" y="2735322"/>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2DBA6E57-20B7-0827-9ED1-98C0AB38F86D}"/>
              </a:ext>
            </a:extLst>
          </p:cNvPr>
          <p:cNvCxnSpPr>
            <a:cxnSpLocks/>
          </p:cNvCxnSpPr>
          <p:nvPr userDrawn="1"/>
        </p:nvCxnSpPr>
        <p:spPr>
          <a:xfrm flipH="1">
            <a:off x="6022716" y="3785457"/>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25EEB26C-9E62-5854-83E2-B70E2DDAC304}"/>
              </a:ext>
            </a:extLst>
          </p:cNvPr>
          <p:cNvCxnSpPr>
            <a:cxnSpLocks/>
          </p:cNvCxnSpPr>
          <p:nvPr userDrawn="1"/>
        </p:nvCxnSpPr>
        <p:spPr>
          <a:xfrm flipH="1">
            <a:off x="6022716" y="4835592"/>
            <a:ext cx="4495800" cy="0"/>
          </a:xfrm>
          <a:prstGeom prst="line">
            <a:avLst/>
          </a:prstGeom>
          <a:noFill/>
          <a:ln w="6350" cap="rnd" cmpd="sng" algn="ctr">
            <a:solidFill>
              <a:schemeClr val="tx1">
                <a:lumMod val="75000"/>
                <a:lumOff val="25000"/>
              </a:schemeClr>
            </a:solidFill>
            <a:prstDash val="solid"/>
            <a:headEnd type="none"/>
            <a:tailEnd type="none"/>
          </a:ln>
          <a:effectLst/>
        </p:spPr>
      </p:cxnSp>
      <p:sp>
        <p:nvSpPr>
          <p:cNvPr id="27" name="Text Placeholder 25">
            <a:extLst>
              <a:ext uri="{FF2B5EF4-FFF2-40B4-BE49-F238E27FC236}">
                <a16:creationId xmlns:a16="http://schemas.microsoft.com/office/drawing/2014/main" id="{D5E63E5B-CB49-0696-1213-8F075FD71752}"/>
              </a:ext>
            </a:extLst>
          </p:cNvPr>
          <p:cNvSpPr>
            <a:spLocks noGrp="1"/>
          </p:cNvSpPr>
          <p:nvPr>
            <p:ph type="body" sz="quarter" idx="11" hasCustomPrompt="1"/>
          </p:nvPr>
        </p:nvSpPr>
        <p:spPr>
          <a:xfrm>
            <a:off x="6022717" y="2056365"/>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28" name="Text Placeholder 25">
            <a:extLst>
              <a:ext uri="{FF2B5EF4-FFF2-40B4-BE49-F238E27FC236}">
                <a16:creationId xmlns:a16="http://schemas.microsoft.com/office/drawing/2014/main" id="{124A070B-A224-9C80-B83B-9B878483FE7C}"/>
              </a:ext>
            </a:extLst>
          </p:cNvPr>
          <p:cNvSpPr>
            <a:spLocks noGrp="1"/>
          </p:cNvSpPr>
          <p:nvPr>
            <p:ph type="body" sz="quarter" idx="12" hasCustomPrompt="1"/>
          </p:nvPr>
        </p:nvSpPr>
        <p:spPr>
          <a:xfrm>
            <a:off x="6022717" y="3106498"/>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29" name="Text Placeholder 25">
            <a:extLst>
              <a:ext uri="{FF2B5EF4-FFF2-40B4-BE49-F238E27FC236}">
                <a16:creationId xmlns:a16="http://schemas.microsoft.com/office/drawing/2014/main" id="{6DE2A842-8750-F96F-4D90-1EC1E8357BB3}"/>
              </a:ext>
            </a:extLst>
          </p:cNvPr>
          <p:cNvSpPr>
            <a:spLocks noGrp="1"/>
          </p:cNvSpPr>
          <p:nvPr>
            <p:ph type="body" sz="quarter" idx="13" hasCustomPrompt="1"/>
          </p:nvPr>
        </p:nvSpPr>
        <p:spPr>
          <a:xfrm>
            <a:off x="6022717" y="4156631"/>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30" name="Text Placeholder 25">
            <a:extLst>
              <a:ext uri="{FF2B5EF4-FFF2-40B4-BE49-F238E27FC236}">
                <a16:creationId xmlns:a16="http://schemas.microsoft.com/office/drawing/2014/main" id="{CE35F133-2717-1535-A793-230B9482847B}"/>
              </a:ext>
            </a:extLst>
          </p:cNvPr>
          <p:cNvSpPr>
            <a:spLocks noGrp="1"/>
          </p:cNvSpPr>
          <p:nvPr>
            <p:ph type="body" sz="quarter" idx="14" hasCustomPrompt="1"/>
          </p:nvPr>
        </p:nvSpPr>
        <p:spPr>
          <a:xfrm>
            <a:off x="6022717" y="5206768"/>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Tree>
    <p:extLst>
      <p:ext uri="{BB962C8B-B14F-4D97-AF65-F5344CB8AC3E}">
        <p14:creationId xmlns:p14="http://schemas.microsoft.com/office/powerpoint/2010/main" val="3745639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w/4 bullets">
    <p:spTree>
      <p:nvGrpSpPr>
        <p:cNvPr id="1" name=""/>
        <p:cNvGrpSpPr/>
        <p:nvPr/>
      </p:nvGrpSpPr>
      <p:grpSpPr>
        <a:xfrm>
          <a:off x="0" y="0"/>
          <a:ext cx="0" cy="0"/>
          <a:chOff x="0" y="0"/>
          <a:chExt cx="0" cy="0"/>
        </a:xfrm>
      </p:grpSpPr>
      <p:sp>
        <p:nvSpPr>
          <p:cNvPr id="5" name="Arrow: Bent 4">
            <a:extLst>
              <a:ext uri="{FF2B5EF4-FFF2-40B4-BE49-F238E27FC236}">
                <a16:creationId xmlns:a16="http://schemas.microsoft.com/office/drawing/2014/main" id="{CA1804A6-4744-BDD6-B3DD-86281B4DEF81}"/>
              </a:ext>
            </a:extLst>
          </p:cNvPr>
          <p:cNvSpPr/>
          <p:nvPr userDrawn="1"/>
        </p:nvSpPr>
        <p:spPr bwMode="auto">
          <a:xfrm rot="10800000" flipH="1">
            <a:off x="696686" y="3301390"/>
            <a:ext cx="2713995" cy="2896961"/>
          </a:xfrm>
          <a:prstGeom prst="bentArrow">
            <a:avLst>
              <a:gd name="adj1" fmla="val 25000"/>
              <a:gd name="adj2" fmla="val 0"/>
              <a:gd name="adj3" fmla="val 25000"/>
              <a:gd name="adj4" fmla="val 4826"/>
            </a:avLst>
          </a:prstGeom>
          <a:ln w="38100">
            <a:gradFill flip="none" rotWithShape="1">
              <a:gsLst>
                <a:gs pos="0">
                  <a:schemeClr val="accent1">
                    <a:lumMod val="40000"/>
                    <a:lumOff val="60000"/>
                    <a:alpha val="0"/>
                  </a:schemeClr>
                </a:gs>
                <a:gs pos="48000">
                  <a:schemeClr val="accent1">
                    <a:lumMod val="40000"/>
                    <a:lumOff val="60000"/>
                  </a:schemeClr>
                </a:gs>
                <a:gs pos="100000">
                  <a:schemeClr val="accent1">
                    <a:lumMod val="40000"/>
                    <a:lumOff val="60000"/>
                    <a:alpha val="0"/>
                  </a:schemeClr>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3EE76DFA-FBDA-0FC4-4CC6-632C50187431}"/>
              </a:ext>
              <a:ext uri="{C183D7F6-B498-43B3-948B-1728B52AA6E4}">
                <adec:decorative xmlns:adec="http://schemas.microsoft.com/office/drawing/2017/decorative" val="1"/>
              </a:ext>
            </a:extLst>
          </p:cNvPr>
          <p:cNvSpPr>
            <a:spLocks/>
          </p:cNvSpPr>
          <p:nvPr userDrawn="1"/>
        </p:nvSpPr>
        <p:spPr bwMode="auto">
          <a:xfrm>
            <a:off x="696686" y="1"/>
            <a:ext cx="3659414" cy="6198353"/>
          </a:xfrm>
          <a:custGeom>
            <a:avLst/>
            <a:gdLst>
              <a:gd name="connsiteX0" fmla="*/ 0 w 3659414"/>
              <a:gd name="connsiteY0" fmla="*/ 0 h 6198353"/>
              <a:gd name="connsiteX1" fmla="*/ 3659414 w 3659414"/>
              <a:gd name="connsiteY1" fmla="*/ 0 h 6198353"/>
              <a:gd name="connsiteX2" fmla="*/ 3659414 w 3659414"/>
              <a:gd name="connsiteY2" fmla="*/ 6090547 h 6198353"/>
              <a:gd name="connsiteX3" fmla="*/ 3551608 w 3659414"/>
              <a:gd name="connsiteY3" fmla="*/ 6198353 h 6198353"/>
              <a:gd name="connsiteX4" fmla="*/ 107806 w 3659414"/>
              <a:gd name="connsiteY4" fmla="*/ 6198353 h 6198353"/>
              <a:gd name="connsiteX5" fmla="*/ 0 w 3659414"/>
              <a:gd name="connsiteY5" fmla="*/ 6090547 h 6198353"/>
              <a:gd name="connsiteX6" fmla="*/ 0 w 3659414"/>
              <a:gd name="connsiteY6" fmla="*/ 0 h 61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414" h="6198353">
                <a:moveTo>
                  <a:pt x="0" y="0"/>
                </a:moveTo>
                <a:lnTo>
                  <a:pt x="3659414" y="0"/>
                </a:lnTo>
                <a:lnTo>
                  <a:pt x="3659414" y="6090547"/>
                </a:lnTo>
                <a:cubicBezTo>
                  <a:pt x="3659414" y="6150087"/>
                  <a:pt x="3611148" y="6198353"/>
                  <a:pt x="3551608" y="6198353"/>
                </a:cubicBezTo>
                <a:lnTo>
                  <a:pt x="107806" y="6198353"/>
                </a:lnTo>
                <a:cubicBezTo>
                  <a:pt x="48266" y="6198353"/>
                  <a:pt x="0" y="6150087"/>
                  <a:pt x="0" y="6090547"/>
                </a:cubicBezTo>
                <a:lnTo>
                  <a:pt x="0" y="0"/>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82783" y="1676400"/>
            <a:ext cx="2887219" cy="1661993"/>
          </a:xfrm>
        </p:spPr>
        <p:txBody>
          <a:bodyPr wrap="square">
            <a:spAutoFit/>
          </a:bodyPr>
          <a:lstStyle/>
          <a:p>
            <a:r>
              <a:rPr lang="en-US"/>
              <a:t>Click to edit Master title style</a:t>
            </a:r>
          </a:p>
        </p:txBody>
      </p:sp>
      <p:sp>
        <p:nvSpPr>
          <p:cNvPr id="3" name="Rectangle: Top Corners Rounded 2">
            <a:extLst>
              <a:ext uri="{FF2B5EF4-FFF2-40B4-BE49-F238E27FC236}">
                <a16:creationId xmlns:a16="http://schemas.microsoft.com/office/drawing/2014/main" id="{064164E6-75AF-F48F-E9EA-11B66AFC7B7D}"/>
              </a:ext>
              <a:ext uri="{C183D7F6-B498-43B3-948B-1728B52AA6E4}">
                <adec:decorative xmlns:adec="http://schemas.microsoft.com/office/drawing/2017/decorative" val="1"/>
              </a:ext>
            </a:extLst>
          </p:cNvPr>
          <p:cNvSpPr>
            <a:spLocks/>
          </p:cNvSpPr>
          <p:nvPr userDrawn="1"/>
        </p:nvSpPr>
        <p:spPr bwMode="auto">
          <a:xfrm rot="16200000" flipH="1">
            <a:off x="3347765" y="4577444"/>
            <a:ext cx="808356" cy="1208313"/>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B742379-9871-2F75-C59B-EC0E084827DC}"/>
              </a:ext>
              <a:ext uri="{C183D7F6-B498-43B3-948B-1728B52AA6E4}">
                <adec:decorative xmlns:adec="http://schemas.microsoft.com/office/drawing/2017/decorative" val="1"/>
              </a:ext>
            </a:extLst>
          </p:cNvPr>
          <p:cNvSpPr/>
          <p:nvPr userDrawn="1"/>
        </p:nvSpPr>
        <p:spPr bwMode="auto">
          <a:xfrm>
            <a:off x="5070305" y="1132582"/>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4C44A9D6-AD0D-B31F-FF89-AEBBEE4E94D3}"/>
              </a:ext>
              <a:ext uri="{C183D7F6-B498-43B3-948B-1728B52AA6E4}">
                <adec:decorative xmlns:adec="http://schemas.microsoft.com/office/drawing/2017/decorative" val="1"/>
              </a:ext>
            </a:extLst>
          </p:cNvPr>
          <p:cNvSpPr/>
          <p:nvPr userDrawn="1"/>
        </p:nvSpPr>
        <p:spPr bwMode="auto">
          <a:xfrm>
            <a:off x="5070305" y="2344600"/>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5DBD0ED4-60FA-D0A8-DEAE-4F7E368E2346}"/>
              </a:ext>
              <a:ext uri="{C183D7F6-B498-43B3-948B-1728B52AA6E4}">
                <adec:decorative xmlns:adec="http://schemas.microsoft.com/office/drawing/2017/decorative" val="1"/>
              </a:ext>
            </a:extLst>
          </p:cNvPr>
          <p:cNvSpPr/>
          <p:nvPr userDrawn="1"/>
        </p:nvSpPr>
        <p:spPr bwMode="auto">
          <a:xfrm>
            <a:off x="5070305" y="3556618"/>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E1FF233-C9BE-DE2D-B6E7-2FB262EBA95D}"/>
              </a:ext>
              <a:ext uri="{C183D7F6-B498-43B3-948B-1728B52AA6E4}">
                <adec:decorative xmlns:adec="http://schemas.microsoft.com/office/drawing/2017/decorative" val="1"/>
              </a:ext>
            </a:extLst>
          </p:cNvPr>
          <p:cNvSpPr/>
          <p:nvPr userDrawn="1"/>
        </p:nvSpPr>
        <p:spPr bwMode="auto">
          <a:xfrm>
            <a:off x="5070305" y="4768635"/>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Text Placeholder 25">
            <a:extLst>
              <a:ext uri="{FF2B5EF4-FFF2-40B4-BE49-F238E27FC236}">
                <a16:creationId xmlns:a16="http://schemas.microsoft.com/office/drawing/2014/main" id="{7F540C56-310A-0131-0A07-0F224D53F28F}"/>
              </a:ext>
            </a:extLst>
          </p:cNvPr>
          <p:cNvSpPr>
            <a:spLocks noGrp="1"/>
          </p:cNvSpPr>
          <p:nvPr>
            <p:ph type="body" sz="quarter" idx="10" hasCustomPrompt="1"/>
          </p:nvPr>
        </p:nvSpPr>
        <p:spPr>
          <a:xfrm>
            <a:off x="6022717" y="1343455"/>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cxnSp>
        <p:nvCxnSpPr>
          <p:cNvPr id="16" name="Straight Connector 15">
            <a:extLst>
              <a:ext uri="{FF2B5EF4-FFF2-40B4-BE49-F238E27FC236}">
                <a16:creationId xmlns:a16="http://schemas.microsoft.com/office/drawing/2014/main" id="{A5A38637-3881-8F54-A8B8-9FEEBA43A919}"/>
              </a:ext>
            </a:extLst>
          </p:cNvPr>
          <p:cNvCxnSpPr>
            <a:cxnSpLocks/>
          </p:cNvCxnSpPr>
          <p:nvPr userDrawn="1"/>
        </p:nvCxnSpPr>
        <p:spPr>
          <a:xfrm flipH="1">
            <a:off x="6022716" y="2103352"/>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2DBA6E57-20B7-0827-9ED1-98C0AB38F86D}"/>
              </a:ext>
            </a:extLst>
          </p:cNvPr>
          <p:cNvCxnSpPr>
            <a:cxnSpLocks/>
          </p:cNvCxnSpPr>
          <p:nvPr userDrawn="1"/>
        </p:nvCxnSpPr>
        <p:spPr>
          <a:xfrm flipH="1">
            <a:off x="6022716" y="3315369"/>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25EEB26C-9E62-5854-83E2-B70E2DDAC304}"/>
              </a:ext>
            </a:extLst>
          </p:cNvPr>
          <p:cNvCxnSpPr>
            <a:cxnSpLocks/>
          </p:cNvCxnSpPr>
          <p:nvPr userDrawn="1"/>
        </p:nvCxnSpPr>
        <p:spPr>
          <a:xfrm flipH="1">
            <a:off x="6022716" y="4527386"/>
            <a:ext cx="4495800" cy="0"/>
          </a:xfrm>
          <a:prstGeom prst="line">
            <a:avLst/>
          </a:prstGeom>
          <a:noFill/>
          <a:ln w="6350" cap="rnd" cmpd="sng" algn="ctr">
            <a:solidFill>
              <a:schemeClr val="tx1">
                <a:lumMod val="75000"/>
                <a:lumOff val="25000"/>
              </a:schemeClr>
            </a:solidFill>
            <a:prstDash val="solid"/>
            <a:headEnd type="none"/>
            <a:tailEnd type="none"/>
          </a:ln>
          <a:effectLst/>
        </p:spPr>
      </p:cxnSp>
      <p:sp>
        <p:nvSpPr>
          <p:cNvPr id="28" name="Text Placeholder 25">
            <a:extLst>
              <a:ext uri="{FF2B5EF4-FFF2-40B4-BE49-F238E27FC236}">
                <a16:creationId xmlns:a16="http://schemas.microsoft.com/office/drawing/2014/main" id="{124A070B-A224-9C80-B83B-9B878483FE7C}"/>
              </a:ext>
            </a:extLst>
          </p:cNvPr>
          <p:cNvSpPr>
            <a:spLocks noGrp="1"/>
          </p:cNvSpPr>
          <p:nvPr>
            <p:ph type="body" sz="quarter" idx="12" hasCustomPrompt="1"/>
          </p:nvPr>
        </p:nvSpPr>
        <p:spPr>
          <a:xfrm>
            <a:off x="6022717" y="2555472"/>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29" name="Text Placeholder 25">
            <a:extLst>
              <a:ext uri="{FF2B5EF4-FFF2-40B4-BE49-F238E27FC236}">
                <a16:creationId xmlns:a16="http://schemas.microsoft.com/office/drawing/2014/main" id="{6DE2A842-8750-F96F-4D90-1EC1E8357BB3}"/>
              </a:ext>
            </a:extLst>
          </p:cNvPr>
          <p:cNvSpPr>
            <a:spLocks noGrp="1"/>
          </p:cNvSpPr>
          <p:nvPr>
            <p:ph type="body" sz="quarter" idx="13" hasCustomPrompt="1"/>
          </p:nvPr>
        </p:nvSpPr>
        <p:spPr>
          <a:xfrm>
            <a:off x="6022717" y="3767489"/>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30" name="Text Placeholder 25">
            <a:extLst>
              <a:ext uri="{FF2B5EF4-FFF2-40B4-BE49-F238E27FC236}">
                <a16:creationId xmlns:a16="http://schemas.microsoft.com/office/drawing/2014/main" id="{CE35F133-2717-1535-A793-230B9482847B}"/>
              </a:ext>
            </a:extLst>
          </p:cNvPr>
          <p:cNvSpPr>
            <a:spLocks noGrp="1"/>
          </p:cNvSpPr>
          <p:nvPr>
            <p:ph type="body" sz="quarter" idx="14" hasCustomPrompt="1"/>
          </p:nvPr>
        </p:nvSpPr>
        <p:spPr>
          <a:xfrm>
            <a:off x="6022717" y="4979507"/>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Tree>
    <p:extLst>
      <p:ext uri="{BB962C8B-B14F-4D97-AF65-F5344CB8AC3E}">
        <p14:creationId xmlns:p14="http://schemas.microsoft.com/office/powerpoint/2010/main" val="2807028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Agenda w/3 bullets">
    <p:spTree>
      <p:nvGrpSpPr>
        <p:cNvPr id="1" name=""/>
        <p:cNvGrpSpPr/>
        <p:nvPr/>
      </p:nvGrpSpPr>
      <p:grpSpPr>
        <a:xfrm>
          <a:off x="0" y="0"/>
          <a:ext cx="0" cy="0"/>
          <a:chOff x="0" y="0"/>
          <a:chExt cx="0" cy="0"/>
        </a:xfrm>
      </p:grpSpPr>
      <p:sp>
        <p:nvSpPr>
          <p:cNvPr id="5" name="Arrow: Bent 4">
            <a:extLst>
              <a:ext uri="{FF2B5EF4-FFF2-40B4-BE49-F238E27FC236}">
                <a16:creationId xmlns:a16="http://schemas.microsoft.com/office/drawing/2014/main" id="{CA1804A6-4744-BDD6-B3DD-86281B4DEF81}"/>
              </a:ext>
            </a:extLst>
          </p:cNvPr>
          <p:cNvSpPr/>
          <p:nvPr userDrawn="1"/>
        </p:nvSpPr>
        <p:spPr bwMode="auto">
          <a:xfrm rot="10800000" flipH="1">
            <a:off x="696686" y="3301390"/>
            <a:ext cx="2713995" cy="2896961"/>
          </a:xfrm>
          <a:prstGeom prst="bentArrow">
            <a:avLst>
              <a:gd name="adj1" fmla="val 25000"/>
              <a:gd name="adj2" fmla="val 0"/>
              <a:gd name="adj3" fmla="val 25000"/>
              <a:gd name="adj4" fmla="val 4826"/>
            </a:avLst>
          </a:prstGeom>
          <a:ln w="38100">
            <a:gradFill flip="none" rotWithShape="1">
              <a:gsLst>
                <a:gs pos="0">
                  <a:schemeClr val="accent1">
                    <a:lumMod val="40000"/>
                    <a:lumOff val="60000"/>
                    <a:alpha val="0"/>
                  </a:schemeClr>
                </a:gs>
                <a:gs pos="48000">
                  <a:schemeClr val="accent1">
                    <a:lumMod val="40000"/>
                    <a:lumOff val="60000"/>
                  </a:schemeClr>
                </a:gs>
                <a:gs pos="100000">
                  <a:schemeClr val="accent1">
                    <a:lumMod val="40000"/>
                    <a:lumOff val="60000"/>
                    <a:alpha val="0"/>
                  </a:schemeClr>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3EE76DFA-FBDA-0FC4-4CC6-632C50187431}"/>
              </a:ext>
              <a:ext uri="{C183D7F6-B498-43B3-948B-1728B52AA6E4}">
                <adec:decorative xmlns:adec="http://schemas.microsoft.com/office/drawing/2017/decorative" val="1"/>
              </a:ext>
            </a:extLst>
          </p:cNvPr>
          <p:cNvSpPr>
            <a:spLocks/>
          </p:cNvSpPr>
          <p:nvPr userDrawn="1"/>
        </p:nvSpPr>
        <p:spPr bwMode="auto">
          <a:xfrm>
            <a:off x="696686" y="1"/>
            <a:ext cx="3659414" cy="6198353"/>
          </a:xfrm>
          <a:custGeom>
            <a:avLst/>
            <a:gdLst>
              <a:gd name="connsiteX0" fmla="*/ 0 w 3659414"/>
              <a:gd name="connsiteY0" fmla="*/ 0 h 6198353"/>
              <a:gd name="connsiteX1" fmla="*/ 3659414 w 3659414"/>
              <a:gd name="connsiteY1" fmla="*/ 0 h 6198353"/>
              <a:gd name="connsiteX2" fmla="*/ 3659414 w 3659414"/>
              <a:gd name="connsiteY2" fmla="*/ 6090547 h 6198353"/>
              <a:gd name="connsiteX3" fmla="*/ 3551608 w 3659414"/>
              <a:gd name="connsiteY3" fmla="*/ 6198353 h 6198353"/>
              <a:gd name="connsiteX4" fmla="*/ 107806 w 3659414"/>
              <a:gd name="connsiteY4" fmla="*/ 6198353 h 6198353"/>
              <a:gd name="connsiteX5" fmla="*/ 0 w 3659414"/>
              <a:gd name="connsiteY5" fmla="*/ 6090547 h 6198353"/>
              <a:gd name="connsiteX6" fmla="*/ 0 w 3659414"/>
              <a:gd name="connsiteY6" fmla="*/ 0 h 61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414" h="6198353">
                <a:moveTo>
                  <a:pt x="0" y="0"/>
                </a:moveTo>
                <a:lnTo>
                  <a:pt x="3659414" y="0"/>
                </a:lnTo>
                <a:lnTo>
                  <a:pt x="3659414" y="6090547"/>
                </a:lnTo>
                <a:cubicBezTo>
                  <a:pt x="3659414" y="6150087"/>
                  <a:pt x="3611148" y="6198353"/>
                  <a:pt x="3551608" y="6198353"/>
                </a:cubicBezTo>
                <a:lnTo>
                  <a:pt x="107806" y="6198353"/>
                </a:lnTo>
                <a:cubicBezTo>
                  <a:pt x="48266" y="6198353"/>
                  <a:pt x="0" y="6150087"/>
                  <a:pt x="0" y="6090547"/>
                </a:cubicBezTo>
                <a:lnTo>
                  <a:pt x="0" y="0"/>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82783" y="1676400"/>
            <a:ext cx="2887219" cy="1661993"/>
          </a:xfrm>
        </p:spPr>
        <p:txBody>
          <a:bodyPr wrap="square">
            <a:spAutoFit/>
          </a:bodyPr>
          <a:lstStyle/>
          <a:p>
            <a:r>
              <a:rPr lang="en-US"/>
              <a:t>Click to edit Master title style</a:t>
            </a:r>
          </a:p>
        </p:txBody>
      </p:sp>
      <p:sp>
        <p:nvSpPr>
          <p:cNvPr id="3" name="Rectangle: Top Corners Rounded 2">
            <a:extLst>
              <a:ext uri="{FF2B5EF4-FFF2-40B4-BE49-F238E27FC236}">
                <a16:creationId xmlns:a16="http://schemas.microsoft.com/office/drawing/2014/main" id="{064164E6-75AF-F48F-E9EA-11B66AFC7B7D}"/>
              </a:ext>
              <a:ext uri="{C183D7F6-B498-43B3-948B-1728B52AA6E4}">
                <adec:decorative xmlns:adec="http://schemas.microsoft.com/office/drawing/2017/decorative" val="1"/>
              </a:ext>
            </a:extLst>
          </p:cNvPr>
          <p:cNvSpPr>
            <a:spLocks/>
          </p:cNvSpPr>
          <p:nvPr userDrawn="1"/>
        </p:nvSpPr>
        <p:spPr bwMode="auto">
          <a:xfrm rot="16200000" flipH="1">
            <a:off x="3347765" y="4577444"/>
            <a:ext cx="808356" cy="1208313"/>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B742379-9871-2F75-C59B-EC0E084827DC}"/>
              </a:ext>
              <a:ext uri="{C183D7F6-B498-43B3-948B-1728B52AA6E4}">
                <adec:decorative xmlns:adec="http://schemas.microsoft.com/office/drawing/2017/decorative" val="1"/>
              </a:ext>
            </a:extLst>
          </p:cNvPr>
          <p:cNvSpPr/>
          <p:nvPr userDrawn="1"/>
        </p:nvSpPr>
        <p:spPr bwMode="auto">
          <a:xfrm>
            <a:off x="5070305" y="1540162"/>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4C44A9D6-AD0D-B31F-FF89-AEBBEE4E94D3}"/>
              </a:ext>
              <a:ext uri="{C183D7F6-B498-43B3-948B-1728B52AA6E4}">
                <adec:decorative xmlns:adec="http://schemas.microsoft.com/office/drawing/2017/decorative" val="1"/>
              </a:ext>
            </a:extLst>
          </p:cNvPr>
          <p:cNvSpPr/>
          <p:nvPr userDrawn="1"/>
        </p:nvSpPr>
        <p:spPr bwMode="auto">
          <a:xfrm>
            <a:off x="5070305" y="2965025"/>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E1FF233-C9BE-DE2D-B6E7-2FB262EBA95D}"/>
              </a:ext>
              <a:ext uri="{C183D7F6-B498-43B3-948B-1728B52AA6E4}">
                <adec:decorative xmlns:adec="http://schemas.microsoft.com/office/drawing/2017/decorative" val="1"/>
              </a:ext>
            </a:extLst>
          </p:cNvPr>
          <p:cNvSpPr/>
          <p:nvPr userDrawn="1"/>
        </p:nvSpPr>
        <p:spPr bwMode="auto">
          <a:xfrm>
            <a:off x="5070305" y="4389887"/>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Text Placeholder 25">
            <a:extLst>
              <a:ext uri="{FF2B5EF4-FFF2-40B4-BE49-F238E27FC236}">
                <a16:creationId xmlns:a16="http://schemas.microsoft.com/office/drawing/2014/main" id="{7F540C56-310A-0131-0A07-0F224D53F28F}"/>
              </a:ext>
            </a:extLst>
          </p:cNvPr>
          <p:cNvSpPr>
            <a:spLocks noGrp="1"/>
          </p:cNvSpPr>
          <p:nvPr>
            <p:ph type="body" sz="quarter" idx="10" hasCustomPrompt="1"/>
          </p:nvPr>
        </p:nvSpPr>
        <p:spPr>
          <a:xfrm>
            <a:off x="6022717" y="1751035"/>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cxnSp>
        <p:nvCxnSpPr>
          <p:cNvPr id="16" name="Straight Connector 15">
            <a:extLst>
              <a:ext uri="{FF2B5EF4-FFF2-40B4-BE49-F238E27FC236}">
                <a16:creationId xmlns:a16="http://schemas.microsoft.com/office/drawing/2014/main" id="{A5A38637-3881-8F54-A8B8-9FEEBA43A919}"/>
              </a:ext>
            </a:extLst>
          </p:cNvPr>
          <p:cNvCxnSpPr>
            <a:cxnSpLocks/>
          </p:cNvCxnSpPr>
          <p:nvPr userDrawn="1"/>
        </p:nvCxnSpPr>
        <p:spPr>
          <a:xfrm flipH="1">
            <a:off x="6022716" y="2617355"/>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25EEB26C-9E62-5854-83E2-B70E2DDAC304}"/>
              </a:ext>
            </a:extLst>
          </p:cNvPr>
          <p:cNvCxnSpPr>
            <a:cxnSpLocks/>
          </p:cNvCxnSpPr>
          <p:nvPr userDrawn="1"/>
        </p:nvCxnSpPr>
        <p:spPr>
          <a:xfrm flipH="1">
            <a:off x="6022716" y="4042217"/>
            <a:ext cx="4495800" cy="0"/>
          </a:xfrm>
          <a:prstGeom prst="line">
            <a:avLst/>
          </a:prstGeom>
          <a:noFill/>
          <a:ln w="6350" cap="rnd" cmpd="sng" algn="ctr">
            <a:solidFill>
              <a:schemeClr val="tx1">
                <a:lumMod val="75000"/>
                <a:lumOff val="25000"/>
              </a:schemeClr>
            </a:solidFill>
            <a:prstDash val="solid"/>
            <a:headEnd type="none"/>
            <a:tailEnd type="none"/>
          </a:ln>
          <a:effectLst/>
        </p:spPr>
      </p:cxnSp>
      <p:sp>
        <p:nvSpPr>
          <p:cNvPr id="28" name="Text Placeholder 25">
            <a:extLst>
              <a:ext uri="{FF2B5EF4-FFF2-40B4-BE49-F238E27FC236}">
                <a16:creationId xmlns:a16="http://schemas.microsoft.com/office/drawing/2014/main" id="{124A070B-A224-9C80-B83B-9B878483FE7C}"/>
              </a:ext>
            </a:extLst>
          </p:cNvPr>
          <p:cNvSpPr>
            <a:spLocks noGrp="1"/>
          </p:cNvSpPr>
          <p:nvPr>
            <p:ph type="body" sz="quarter" idx="12" hasCustomPrompt="1"/>
          </p:nvPr>
        </p:nvSpPr>
        <p:spPr>
          <a:xfrm>
            <a:off x="6022717" y="3175898"/>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30" name="Text Placeholder 25">
            <a:extLst>
              <a:ext uri="{FF2B5EF4-FFF2-40B4-BE49-F238E27FC236}">
                <a16:creationId xmlns:a16="http://schemas.microsoft.com/office/drawing/2014/main" id="{CE35F133-2717-1535-A793-230B9482847B}"/>
              </a:ext>
            </a:extLst>
          </p:cNvPr>
          <p:cNvSpPr>
            <a:spLocks noGrp="1"/>
          </p:cNvSpPr>
          <p:nvPr>
            <p:ph type="body" sz="quarter" idx="14" hasCustomPrompt="1"/>
          </p:nvPr>
        </p:nvSpPr>
        <p:spPr>
          <a:xfrm>
            <a:off x="6022717" y="4600759"/>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6" name="Footer Placeholder 5">
            <a:extLst>
              <a:ext uri="{FF2B5EF4-FFF2-40B4-BE49-F238E27FC236}">
                <a16:creationId xmlns:a16="http://schemas.microsoft.com/office/drawing/2014/main" id="{BD30B1AD-64AF-5A66-7557-9E745081A7D3}"/>
              </a:ext>
            </a:extLst>
          </p:cNvPr>
          <p:cNvSpPr>
            <a:spLocks noGrp="1"/>
          </p:cNvSpPr>
          <p:nvPr>
            <p:ph type="ftr" sz="quarter" idx="15"/>
          </p:nvPr>
        </p:nvSpPr>
        <p:spPr/>
        <p:txBody>
          <a:bodyPr/>
          <a:lstStyle/>
          <a:p>
            <a:r>
              <a:rPr lang="en-US"/>
              <a:t>Microsoft Confidential</a:t>
            </a:r>
          </a:p>
        </p:txBody>
      </p:sp>
    </p:spTree>
    <p:extLst>
      <p:ext uri="{BB962C8B-B14F-4D97-AF65-F5344CB8AC3E}">
        <p14:creationId xmlns:p14="http://schemas.microsoft.com/office/powerpoint/2010/main" val="42529360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19FF3189-E4B5-5D7D-A9AC-7FE6506D6CBF}"/>
              </a:ext>
            </a:extLst>
          </p:cNvPr>
          <p:cNvCxnSpPr>
            <a:cxnSpLocks/>
          </p:cNvCxnSpPr>
          <p:nvPr userDrawn="1"/>
        </p:nvCxnSpPr>
        <p:spPr>
          <a:xfrm flipH="1">
            <a:off x="700525" y="1596570"/>
            <a:ext cx="3494909"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Top Corners Rounded 3">
            <a:extLst>
              <a:ext uri="{FF2B5EF4-FFF2-40B4-BE49-F238E27FC236}">
                <a16:creationId xmlns:a16="http://schemas.microsoft.com/office/drawing/2014/main" id="{8C86ACD9-036D-0F7B-E7A0-90C6BC6B6EFB}"/>
              </a:ext>
              <a:ext uri="{C183D7F6-B498-43B3-948B-1728B52AA6E4}">
                <adec:decorative xmlns:adec="http://schemas.microsoft.com/office/drawing/2017/decorative" val="1"/>
              </a:ext>
            </a:extLst>
          </p:cNvPr>
          <p:cNvSpPr>
            <a:spLocks/>
          </p:cNvSpPr>
          <p:nvPr userDrawn="1"/>
        </p:nvSpPr>
        <p:spPr bwMode="auto">
          <a:xfrm>
            <a:off x="585216" y="1596571"/>
            <a:ext cx="3725527" cy="5261430"/>
          </a:xfrm>
          <a:prstGeom prst="round2SameRect">
            <a:avLst>
              <a:gd name="adj1" fmla="val 3781"/>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2071136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3 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9E1C624-9449-F317-2C31-60EB9D318102}"/>
              </a:ext>
            </a:extLst>
          </p:cNvPr>
          <p:cNvSpPr/>
          <p:nvPr userDrawn="1"/>
        </p:nvSpPr>
        <p:spPr bwMode="auto">
          <a:xfrm>
            <a:off x="0" y="4622800"/>
            <a:ext cx="12192000" cy="22352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8" name="Picture 27" descr="See the source image">
            <a:extLst>
              <a:ext uri="{FF2B5EF4-FFF2-40B4-BE49-F238E27FC236}">
                <a16:creationId xmlns:a16="http://schemas.microsoft.com/office/drawing/2014/main" id="{B1E360FA-D5F2-A696-623B-BD0780479AEF}"/>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1219022" y="2622555"/>
            <a:ext cx="6857997" cy="1612902"/>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617F7BDF-A2C1-3E63-6394-1838F29F0724}"/>
              </a:ext>
              <a:ext uri="{C183D7F6-B498-43B3-948B-1728B52AA6E4}">
                <adec:decorative xmlns:adec="http://schemas.microsoft.com/office/drawing/2017/decorative" val="1"/>
              </a:ext>
            </a:extLst>
          </p:cNvPr>
          <p:cNvSpPr>
            <a:spLocks/>
          </p:cNvSpPr>
          <p:nvPr userDrawn="1"/>
        </p:nvSpPr>
        <p:spPr bwMode="auto">
          <a:xfrm>
            <a:off x="0" y="1"/>
            <a:ext cx="3966029" cy="6858002"/>
          </a:xfrm>
          <a:custGeom>
            <a:avLst/>
            <a:gdLst>
              <a:gd name="connsiteX0" fmla="*/ 0 w 3966029"/>
              <a:gd name="connsiteY0" fmla="*/ 0 h 6858002"/>
              <a:gd name="connsiteX1" fmla="*/ 3844700 w 3966029"/>
              <a:gd name="connsiteY1" fmla="*/ 0 h 6858002"/>
              <a:gd name="connsiteX2" fmla="*/ 3966029 w 3966029"/>
              <a:gd name="connsiteY2" fmla="*/ 121329 h 6858002"/>
              <a:gd name="connsiteX3" fmla="*/ 3966029 w 3966029"/>
              <a:gd name="connsiteY3" fmla="*/ 6736673 h 6858002"/>
              <a:gd name="connsiteX4" fmla="*/ 3844700 w 3966029"/>
              <a:gd name="connsiteY4" fmla="*/ 6858002 h 6858002"/>
              <a:gd name="connsiteX5" fmla="*/ 0 w 3966029"/>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6029" h="6858002">
                <a:moveTo>
                  <a:pt x="0" y="0"/>
                </a:moveTo>
                <a:lnTo>
                  <a:pt x="3844700" y="0"/>
                </a:lnTo>
                <a:cubicBezTo>
                  <a:pt x="3911708" y="0"/>
                  <a:pt x="3966029" y="54321"/>
                  <a:pt x="3966029" y="121329"/>
                </a:cubicBezTo>
                <a:lnTo>
                  <a:pt x="3966029" y="6736673"/>
                </a:lnTo>
                <a:cubicBezTo>
                  <a:pt x="3966029" y="6803681"/>
                  <a:pt x="3911708" y="6858002"/>
                  <a:pt x="3844700" y="6858002"/>
                </a:cubicBezTo>
                <a:lnTo>
                  <a:pt x="0" y="6858002"/>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3152001"/>
            <a:ext cx="2562860" cy="553998"/>
          </a:xfrm>
        </p:spPr>
        <p:txBody>
          <a:bodyPr anchor="ctr"/>
          <a:lstStyle/>
          <a:p>
            <a:r>
              <a:rPr lang="en-US"/>
              <a:t>Click to edit Master title style</a:t>
            </a:r>
          </a:p>
        </p:txBody>
      </p:sp>
      <p:sp>
        <p:nvSpPr>
          <p:cNvPr id="3" name="Footer Placeholder 2">
            <a:extLst>
              <a:ext uri="{FF2B5EF4-FFF2-40B4-BE49-F238E27FC236}">
                <a16:creationId xmlns:a16="http://schemas.microsoft.com/office/drawing/2014/main" id="{571CB454-9F76-9657-7892-82242B2A016F}"/>
              </a:ext>
            </a:extLst>
          </p:cNvPr>
          <p:cNvSpPr>
            <a:spLocks noGrp="1"/>
          </p:cNvSpPr>
          <p:nvPr>
            <p:ph type="ftr" sz="quarter" idx="10"/>
          </p:nvPr>
        </p:nvSpPr>
        <p:spPr/>
        <p:txBody>
          <a:bodyPr/>
          <a:lstStyle/>
          <a:p>
            <a:r>
              <a:rPr lang="en-US"/>
              <a:t>Microsoft Confidential</a:t>
            </a:r>
          </a:p>
        </p:txBody>
      </p:sp>
    </p:spTree>
    <p:extLst>
      <p:ext uri="{BB962C8B-B14F-4D97-AF65-F5344CB8AC3E}">
        <p14:creationId xmlns:p14="http://schemas.microsoft.com/office/powerpoint/2010/main" val="38375630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06067713"/>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Partner logo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9E1C624-9449-F317-2C31-60EB9D318102}"/>
              </a:ext>
            </a:extLst>
          </p:cNvPr>
          <p:cNvSpPr/>
          <p:nvPr userDrawn="1"/>
        </p:nvSpPr>
        <p:spPr bwMode="auto">
          <a:xfrm>
            <a:off x="0" y="4622800"/>
            <a:ext cx="12192000" cy="22352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8" name="Picture 27" descr="See the source image">
            <a:extLst>
              <a:ext uri="{FF2B5EF4-FFF2-40B4-BE49-F238E27FC236}">
                <a16:creationId xmlns:a16="http://schemas.microsoft.com/office/drawing/2014/main" id="{B1E360FA-D5F2-A696-623B-BD0780479AEF}"/>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889910" y="2622556"/>
            <a:ext cx="6857997" cy="1612902"/>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617F7BDF-A2C1-3E63-6394-1838F29F0724}"/>
              </a:ext>
              <a:ext uri="{C183D7F6-B498-43B3-948B-1728B52AA6E4}">
                <adec:decorative xmlns:adec="http://schemas.microsoft.com/office/drawing/2017/decorative" val="1"/>
              </a:ext>
            </a:extLst>
          </p:cNvPr>
          <p:cNvSpPr>
            <a:spLocks/>
          </p:cNvSpPr>
          <p:nvPr userDrawn="1"/>
        </p:nvSpPr>
        <p:spPr bwMode="auto">
          <a:xfrm>
            <a:off x="0" y="1"/>
            <a:ext cx="3512457" cy="6858002"/>
          </a:xfrm>
          <a:custGeom>
            <a:avLst/>
            <a:gdLst>
              <a:gd name="connsiteX0" fmla="*/ 0 w 3966029"/>
              <a:gd name="connsiteY0" fmla="*/ 0 h 6858002"/>
              <a:gd name="connsiteX1" fmla="*/ 3844700 w 3966029"/>
              <a:gd name="connsiteY1" fmla="*/ 0 h 6858002"/>
              <a:gd name="connsiteX2" fmla="*/ 3966029 w 3966029"/>
              <a:gd name="connsiteY2" fmla="*/ 121329 h 6858002"/>
              <a:gd name="connsiteX3" fmla="*/ 3966029 w 3966029"/>
              <a:gd name="connsiteY3" fmla="*/ 6736673 h 6858002"/>
              <a:gd name="connsiteX4" fmla="*/ 3844700 w 3966029"/>
              <a:gd name="connsiteY4" fmla="*/ 6858002 h 6858002"/>
              <a:gd name="connsiteX5" fmla="*/ 0 w 3966029"/>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6029" h="6858002">
                <a:moveTo>
                  <a:pt x="0" y="0"/>
                </a:moveTo>
                <a:lnTo>
                  <a:pt x="3844700" y="0"/>
                </a:lnTo>
                <a:cubicBezTo>
                  <a:pt x="3911708" y="0"/>
                  <a:pt x="3966029" y="54321"/>
                  <a:pt x="3966029" y="121329"/>
                </a:cubicBezTo>
                <a:lnTo>
                  <a:pt x="3966029" y="6736673"/>
                </a:lnTo>
                <a:cubicBezTo>
                  <a:pt x="3966029" y="6803681"/>
                  <a:pt x="3911708" y="6858002"/>
                  <a:pt x="3844700" y="6858002"/>
                </a:cubicBezTo>
                <a:lnTo>
                  <a:pt x="0" y="6858002"/>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3152001"/>
            <a:ext cx="2562860" cy="553998"/>
          </a:xfrm>
        </p:spPr>
        <p:txBody>
          <a:bodyPr anchor="ctr"/>
          <a:lstStyle/>
          <a:p>
            <a:r>
              <a:rPr lang="en-US"/>
              <a:t>Click to edit Master title style</a:t>
            </a:r>
          </a:p>
        </p:txBody>
      </p:sp>
    </p:spTree>
    <p:extLst>
      <p:ext uri="{BB962C8B-B14F-4D97-AF65-F5344CB8AC3E}">
        <p14:creationId xmlns:p14="http://schemas.microsoft.com/office/powerpoint/2010/main" val="36089294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3 Title and Screensho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9E1C624-9449-F317-2C31-60EB9D318102}"/>
              </a:ext>
            </a:extLst>
          </p:cNvPr>
          <p:cNvSpPr/>
          <p:nvPr userDrawn="1"/>
        </p:nvSpPr>
        <p:spPr bwMode="auto">
          <a:xfrm>
            <a:off x="0" y="4622800"/>
            <a:ext cx="12192000" cy="22352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8" name="Picture 27" descr="See the source image">
            <a:extLst>
              <a:ext uri="{FF2B5EF4-FFF2-40B4-BE49-F238E27FC236}">
                <a16:creationId xmlns:a16="http://schemas.microsoft.com/office/drawing/2014/main" id="{B1E360FA-D5F2-A696-623B-BD0780479AEF}"/>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1219022" y="2622555"/>
            <a:ext cx="6857997" cy="1612902"/>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617F7BDF-A2C1-3E63-6394-1838F29F0724}"/>
              </a:ext>
              <a:ext uri="{C183D7F6-B498-43B3-948B-1728B52AA6E4}">
                <adec:decorative xmlns:adec="http://schemas.microsoft.com/office/drawing/2017/decorative" val="1"/>
              </a:ext>
            </a:extLst>
          </p:cNvPr>
          <p:cNvSpPr>
            <a:spLocks/>
          </p:cNvSpPr>
          <p:nvPr userDrawn="1"/>
        </p:nvSpPr>
        <p:spPr bwMode="auto">
          <a:xfrm>
            <a:off x="0" y="-2"/>
            <a:ext cx="3966029" cy="6858002"/>
          </a:xfrm>
          <a:custGeom>
            <a:avLst/>
            <a:gdLst>
              <a:gd name="connsiteX0" fmla="*/ 0 w 3966029"/>
              <a:gd name="connsiteY0" fmla="*/ 0 h 6858002"/>
              <a:gd name="connsiteX1" fmla="*/ 3844700 w 3966029"/>
              <a:gd name="connsiteY1" fmla="*/ 0 h 6858002"/>
              <a:gd name="connsiteX2" fmla="*/ 3966029 w 3966029"/>
              <a:gd name="connsiteY2" fmla="*/ 121329 h 6858002"/>
              <a:gd name="connsiteX3" fmla="*/ 3966029 w 3966029"/>
              <a:gd name="connsiteY3" fmla="*/ 6736673 h 6858002"/>
              <a:gd name="connsiteX4" fmla="*/ 3844700 w 3966029"/>
              <a:gd name="connsiteY4" fmla="*/ 6858002 h 6858002"/>
              <a:gd name="connsiteX5" fmla="*/ 0 w 3966029"/>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66029" h="6858002">
                <a:moveTo>
                  <a:pt x="0" y="0"/>
                </a:moveTo>
                <a:lnTo>
                  <a:pt x="3844700" y="0"/>
                </a:lnTo>
                <a:cubicBezTo>
                  <a:pt x="3911708" y="0"/>
                  <a:pt x="3966029" y="54321"/>
                  <a:pt x="3966029" y="121329"/>
                </a:cubicBezTo>
                <a:lnTo>
                  <a:pt x="3966029" y="6736673"/>
                </a:lnTo>
                <a:cubicBezTo>
                  <a:pt x="3966029" y="6803681"/>
                  <a:pt x="3911708" y="6858002"/>
                  <a:pt x="3844700" y="6858002"/>
                </a:cubicBezTo>
                <a:lnTo>
                  <a:pt x="0" y="6858002"/>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40" y="3152001"/>
            <a:ext cx="2562860" cy="553998"/>
          </a:xfrm>
        </p:spPr>
        <p:txBody>
          <a:bodyPr anchor="ctr"/>
          <a:lstStyle/>
          <a:p>
            <a:r>
              <a:rPr lang="en-US"/>
              <a:t>Click to edit Master title style</a:t>
            </a:r>
          </a:p>
        </p:txBody>
      </p:sp>
      <p:sp>
        <p:nvSpPr>
          <p:cNvPr id="5" name="Rectangle: Rounded Corners 4">
            <a:extLst>
              <a:ext uri="{FF2B5EF4-FFF2-40B4-BE49-F238E27FC236}">
                <a16:creationId xmlns:a16="http://schemas.microsoft.com/office/drawing/2014/main" id="{AFA07A1A-6797-7E2C-F88C-A949D2965B09}"/>
              </a:ext>
            </a:extLst>
          </p:cNvPr>
          <p:cNvSpPr/>
          <p:nvPr userDrawn="1"/>
        </p:nvSpPr>
        <p:spPr bwMode="auto">
          <a:xfrm>
            <a:off x="4065588" y="589629"/>
            <a:ext cx="7539672" cy="5666028"/>
          </a:xfrm>
          <a:prstGeom prst="roundRect">
            <a:avLst>
              <a:gd name="adj" fmla="val 3410"/>
            </a:avLst>
          </a:prstGeom>
          <a:solidFill>
            <a:srgbClr val="0D0D0D"/>
          </a:soli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rgbClr val="FFFFFF"/>
              </a:solidFill>
              <a:latin typeface="Segoe UI"/>
              <a:cs typeface="Segoe UI" pitchFamily="34" charset="0"/>
            </a:endParaRPr>
          </a:p>
        </p:txBody>
      </p:sp>
    </p:spTree>
    <p:extLst>
      <p:ext uri="{BB962C8B-B14F-4D97-AF65-F5344CB8AC3E}">
        <p14:creationId xmlns:p14="http://schemas.microsoft.com/office/powerpoint/2010/main" val="42315659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w/ 3 bullet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7CEF8BF5-04B9-895F-02B5-F02A1685C63A}"/>
              </a:ext>
            </a:extLst>
          </p:cNvPr>
          <p:cNvGrpSpPr/>
          <p:nvPr userDrawn="1"/>
        </p:nvGrpSpPr>
        <p:grpSpPr>
          <a:xfrm>
            <a:off x="-1" y="1432554"/>
            <a:ext cx="12192001" cy="4837842"/>
            <a:chOff x="-1" y="1432554"/>
            <a:chExt cx="12192001" cy="4837842"/>
          </a:xfrm>
        </p:grpSpPr>
        <p:grpSp>
          <p:nvGrpSpPr>
            <p:cNvPr id="4" name="Group 3">
              <a:extLst>
                <a:ext uri="{FF2B5EF4-FFF2-40B4-BE49-F238E27FC236}">
                  <a16:creationId xmlns:a16="http://schemas.microsoft.com/office/drawing/2014/main" id="{41EFFE78-7BC2-0656-2EC0-BE46F10738C8}"/>
                </a:ext>
              </a:extLst>
            </p:cNvPr>
            <p:cNvGrpSpPr/>
            <p:nvPr/>
          </p:nvGrpSpPr>
          <p:grpSpPr>
            <a:xfrm>
              <a:off x="0" y="1436688"/>
              <a:ext cx="12192000" cy="4833708"/>
              <a:chOff x="0" y="1436688"/>
              <a:chExt cx="12192000" cy="4833708"/>
            </a:xfrm>
          </p:grpSpPr>
          <p:cxnSp>
            <p:nvCxnSpPr>
              <p:cNvPr id="6" name="Straight Connector 5">
                <a:extLst>
                  <a:ext uri="{FF2B5EF4-FFF2-40B4-BE49-F238E27FC236}">
                    <a16:creationId xmlns:a16="http://schemas.microsoft.com/office/drawing/2014/main" id="{820F3593-6C1E-7FFD-B826-A1FB02CFF930}"/>
                  </a:ext>
                </a:extLst>
              </p:cNvPr>
              <p:cNvCxnSpPr>
                <a:cxnSpLocks/>
              </p:cNvCxnSpPr>
              <p:nvPr/>
            </p:nvCxnSpPr>
            <p:spPr>
              <a:xfrm>
                <a:off x="7403648" y="6270396"/>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8A464F1-5656-E0E9-C730-68CCA9E47E50}"/>
                  </a:ext>
                </a:extLst>
              </p:cNvPr>
              <p:cNvCxnSpPr>
                <a:cxnSpLocks/>
              </p:cNvCxnSpPr>
              <p:nvPr/>
            </p:nvCxnSpPr>
            <p:spPr>
              <a:xfrm>
                <a:off x="0" y="1436688"/>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E1B69895-BAF5-B6E7-2DF1-8FC532FCC144}"/>
                </a:ext>
              </a:extLst>
            </p:cNvPr>
            <p:cNvSpPr>
              <a:spLocks/>
            </p:cNvSpPr>
            <p:nvPr/>
          </p:nvSpPr>
          <p:spPr bwMode="auto">
            <a:xfrm>
              <a:off x="-1" y="1432554"/>
              <a:ext cx="12192001" cy="4833708"/>
            </a:xfrm>
            <a:prstGeom prst="rect">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8" name="Rectangle: Top Corners Rounded 7">
            <a:extLst>
              <a:ext uri="{FF2B5EF4-FFF2-40B4-BE49-F238E27FC236}">
                <a16:creationId xmlns:a16="http://schemas.microsoft.com/office/drawing/2014/main" id="{2AE37B0E-A4F8-EF3F-221A-E4D8616D934E}"/>
              </a:ext>
              <a:ext uri="{C183D7F6-B498-43B3-948B-1728B52AA6E4}">
                <adec:decorative xmlns:adec="http://schemas.microsoft.com/office/drawing/2017/decorative" val="1"/>
              </a:ext>
            </a:extLst>
          </p:cNvPr>
          <p:cNvSpPr>
            <a:spLocks/>
          </p:cNvSpPr>
          <p:nvPr userDrawn="1"/>
        </p:nvSpPr>
        <p:spPr bwMode="auto">
          <a:xfrm rot="16200000">
            <a:off x="7273837" y="1105257"/>
            <a:ext cx="1287403" cy="8548932"/>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Top Corners Rounded 8">
            <a:extLst>
              <a:ext uri="{FF2B5EF4-FFF2-40B4-BE49-F238E27FC236}">
                <a16:creationId xmlns:a16="http://schemas.microsoft.com/office/drawing/2014/main" id="{CF7BAB49-AF4B-0AFE-BB64-2F720CE55BE7}"/>
              </a:ext>
              <a:ext uri="{C183D7F6-B498-43B3-948B-1728B52AA6E4}">
                <adec:decorative xmlns:adec="http://schemas.microsoft.com/office/drawing/2017/decorative" val="1"/>
              </a:ext>
            </a:extLst>
          </p:cNvPr>
          <p:cNvSpPr>
            <a:spLocks/>
          </p:cNvSpPr>
          <p:nvPr userDrawn="1"/>
        </p:nvSpPr>
        <p:spPr bwMode="auto">
          <a:xfrm rot="16200000">
            <a:off x="7273836" y="-419436"/>
            <a:ext cx="1287403" cy="8548928"/>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825DF6E7-AD10-ED87-0280-27B75912F17A}"/>
              </a:ext>
              <a:ext uri="{C183D7F6-B498-43B3-948B-1728B52AA6E4}">
                <adec:decorative xmlns:adec="http://schemas.microsoft.com/office/drawing/2017/decorative" val="1"/>
              </a:ext>
            </a:extLst>
          </p:cNvPr>
          <p:cNvSpPr>
            <a:spLocks/>
          </p:cNvSpPr>
          <p:nvPr userDrawn="1"/>
        </p:nvSpPr>
        <p:spPr bwMode="auto">
          <a:xfrm rot="16200000">
            <a:off x="7273836" y="-1945621"/>
            <a:ext cx="1287403" cy="8548929"/>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E9D5ACF4-45CC-2CBB-0F64-D6BCE91C6352}"/>
              </a:ext>
              <a:ext uri="{C183D7F6-B498-43B3-948B-1728B52AA6E4}">
                <adec:decorative xmlns:adec="http://schemas.microsoft.com/office/drawing/2017/decorative" val="1"/>
              </a:ext>
            </a:extLst>
          </p:cNvPr>
          <p:cNvSpPr/>
          <p:nvPr userDrawn="1"/>
        </p:nvSpPr>
        <p:spPr bwMode="auto">
          <a:xfrm>
            <a:off x="3748412" y="1807380"/>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06DA400A-74F5-310F-FC8B-D9C2D80298B5}"/>
              </a:ext>
              <a:ext uri="{C183D7F6-B498-43B3-948B-1728B52AA6E4}">
                <adec:decorative xmlns:adec="http://schemas.microsoft.com/office/drawing/2017/decorative" val="1"/>
              </a:ext>
            </a:extLst>
          </p:cNvPr>
          <p:cNvSpPr/>
          <p:nvPr userDrawn="1"/>
        </p:nvSpPr>
        <p:spPr bwMode="auto">
          <a:xfrm>
            <a:off x="3748412" y="3333563"/>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4" name="Oval 13">
            <a:extLst>
              <a:ext uri="{FF2B5EF4-FFF2-40B4-BE49-F238E27FC236}">
                <a16:creationId xmlns:a16="http://schemas.microsoft.com/office/drawing/2014/main" id="{32BCA94A-8E89-BB24-FC6C-C9F6E76AB519}"/>
              </a:ext>
              <a:ext uri="{C183D7F6-B498-43B3-948B-1728B52AA6E4}">
                <adec:decorative xmlns:adec="http://schemas.microsoft.com/office/drawing/2017/decorative" val="1"/>
              </a:ext>
            </a:extLst>
          </p:cNvPr>
          <p:cNvSpPr/>
          <p:nvPr userDrawn="1"/>
        </p:nvSpPr>
        <p:spPr bwMode="auto">
          <a:xfrm>
            <a:off x="3748412" y="4859003"/>
            <a:ext cx="1039488" cy="10414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Text Placeholder 5">
            <a:extLst>
              <a:ext uri="{FF2B5EF4-FFF2-40B4-BE49-F238E27FC236}">
                <a16:creationId xmlns:a16="http://schemas.microsoft.com/office/drawing/2014/main" id="{45822946-CA6C-EF25-5246-B41F0C969CCA}"/>
              </a:ext>
            </a:extLst>
          </p:cNvPr>
          <p:cNvSpPr>
            <a:spLocks noGrp="1"/>
          </p:cNvSpPr>
          <p:nvPr>
            <p:ph type="body" sz="quarter" idx="25" hasCustomPrompt="1"/>
          </p:nvPr>
        </p:nvSpPr>
        <p:spPr>
          <a:xfrm>
            <a:off x="5089729" y="2220378"/>
            <a:ext cx="6269717" cy="215444"/>
          </a:xfrm>
          <a:prstGeom prst="rect">
            <a:avLst/>
          </a:prstGeom>
        </p:spPr>
        <p:txBody>
          <a:bodyPr wrap="square" lIns="0" tIns="0" rIns="0" bIns="0" anchor="ctr">
            <a:spAutoFit/>
          </a:bodyPr>
          <a:lstStyle>
            <a:lvl1pPr marL="0" indent="0" algn="l">
              <a:buNone/>
              <a:defRPr sz="1400">
                <a:solidFill>
                  <a:schemeClr val="bg1"/>
                </a:solidFill>
                <a:latin typeface="+mn-lt"/>
              </a:defRPr>
            </a:lvl1pPr>
          </a:lstStyle>
          <a:p>
            <a:pPr lvl="0"/>
            <a:r>
              <a:rPr lang="en-US"/>
              <a:t>Lorem ipsum dolor sit </a:t>
            </a:r>
            <a:r>
              <a:rPr lang="en-US" err="1"/>
              <a:t>amet</a:t>
            </a:r>
            <a:endParaRPr lang="en-US"/>
          </a:p>
        </p:txBody>
      </p:sp>
      <p:sp>
        <p:nvSpPr>
          <p:cNvPr id="16" name="Text Placeholder 5">
            <a:extLst>
              <a:ext uri="{FF2B5EF4-FFF2-40B4-BE49-F238E27FC236}">
                <a16:creationId xmlns:a16="http://schemas.microsoft.com/office/drawing/2014/main" id="{15142A51-6DDA-9F60-5244-FC57F30C1722}"/>
              </a:ext>
            </a:extLst>
          </p:cNvPr>
          <p:cNvSpPr>
            <a:spLocks noGrp="1"/>
          </p:cNvSpPr>
          <p:nvPr>
            <p:ph type="body" sz="quarter" idx="23" hasCustomPrompt="1"/>
          </p:nvPr>
        </p:nvSpPr>
        <p:spPr>
          <a:xfrm>
            <a:off x="5089729" y="3746561"/>
            <a:ext cx="6269717" cy="215444"/>
          </a:xfrm>
          <a:prstGeom prst="rect">
            <a:avLst/>
          </a:prstGeom>
        </p:spPr>
        <p:txBody>
          <a:bodyPr wrap="square" lIns="0" tIns="0" rIns="0" bIns="0" anchor="ctr">
            <a:spAutoFit/>
          </a:bodyPr>
          <a:lstStyle>
            <a:lvl1pPr marL="0" indent="0" algn="l">
              <a:buNone/>
              <a:defRPr sz="1400">
                <a:solidFill>
                  <a:schemeClr val="bg1"/>
                </a:solidFill>
                <a:latin typeface="+mn-lt"/>
              </a:defRPr>
            </a:lvl1pPr>
          </a:lstStyle>
          <a:p>
            <a:pPr lvl="0"/>
            <a:r>
              <a:rPr lang="en-US"/>
              <a:t>Lorem ipsum dolor sit </a:t>
            </a:r>
            <a:r>
              <a:rPr lang="en-US" err="1"/>
              <a:t>amet</a:t>
            </a:r>
            <a:endParaRPr lang="en-US"/>
          </a:p>
        </p:txBody>
      </p:sp>
      <p:sp>
        <p:nvSpPr>
          <p:cNvPr id="17" name="Text Placeholder 5">
            <a:extLst>
              <a:ext uri="{FF2B5EF4-FFF2-40B4-BE49-F238E27FC236}">
                <a16:creationId xmlns:a16="http://schemas.microsoft.com/office/drawing/2014/main" id="{14C3BF02-2655-0591-10AB-E88CA7C6A0D3}"/>
              </a:ext>
            </a:extLst>
          </p:cNvPr>
          <p:cNvSpPr>
            <a:spLocks noGrp="1"/>
          </p:cNvSpPr>
          <p:nvPr>
            <p:ph type="body" sz="quarter" idx="29" hasCustomPrompt="1"/>
          </p:nvPr>
        </p:nvSpPr>
        <p:spPr>
          <a:xfrm>
            <a:off x="5089729" y="5272002"/>
            <a:ext cx="6269717" cy="215444"/>
          </a:xfrm>
          <a:prstGeom prst="rect">
            <a:avLst/>
          </a:prstGeom>
        </p:spPr>
        <p:txBody>
          <a:bodyPr wrap="square" lIns="0" tIns="0" rIns="0" bIns="0" anchor="ctr">
            <a:spAutoFit/>
          </a:bodyPr>
          <a:lstStyle>
            <a:lvl1pPr marL="0" indent="0" algn="l">
              <a:buNone/>
              <a:defRPr sz="1400">
                <a:solidFill>
                  <a:schemeClr val="bg1"/>
                </a:solidFill>
                <a:latin typeface="+mn-lt"/>
              </a:defRPr>
            </a:lvl1pPr>
          </a:lstStyle>
          <a:p>
            <a:pPr lvl="0"/>
            <a:r>
              <a:rPr lang="en-US"/>
              <a:t>Lorem ipsum dolor sit </a:t>
            </a:r>
            <a:r>
              <a:rPr lang="en-US" err="1"/>
              <a:t>amet</a:t>
            </a:r>
            <a:endParaRPr lang="en-US"/>
          </a:p>
        </p:txBody>
      </p:sp>
      <p:cxnSp>
        <p:nvCxnSpPr>
          <p:cNvPr id="20" name="Straight Connector 19">
            <a:extLst>
              <a:ext uri="{FF2B5EF4-FFF2-40B4-BE49-F238E27FC236}">
                <a16:creationId xmlns:a16="http://schemas.microsoft.com/office/drawing/2014/main" id="{67CC5A0D-0C18-81E8-E058-0DE0076FF107}"/>
              </a:ext>
            </a:extLst>
          </p:cNvPr>
          <p:cNvCxnSpPr>
            <a:cxnSpLocks/>
          </p:cNvCxnSpPr>
          <p:nvPr userDrawn="1"/>
        </p:nvCxnSpPr>
        <p:spPr>
          <a:xfrm>
            <a:off x="10161411" y="3209840"/>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5D5F6C6-3604-7313-57CB-23CCB01F1A1C}"/>
              </a:ext>
            </a:extLst>
          </p:cNvPr>
          <p:cNvCxnSpPr>
            <a:cxnSpLocks/>
          </p:cNvCxnSpPr>
          <p:nvPr userDrawn="1"/>
        </p:nvCxnSpPr>
        <p:spPr>
          <a:xfrm>
            <a:off x="4787900" y="2972546"/>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979BC5-8345-42AA-A8F5-56F41B72CDD3}"/>
              </a:ext>
            </a:extLst>
          </p:cNvPr>
          <p:cNvCxnSpPr>
            <a:cxnSpLocks/>
          </p:cNvCxnSpPr>
          <p:nvPr userDrawn="1"/>
        </p:nvCxnSpPr>
        <p:spPr>
          <a:xfrm>
            <a:off x="4464050" y="4736023"/>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itle 22">
            <a:extLst>
              <a:ext uri="{FF2B5EF4-FFF2-40B4-BE49-F238E27FC236}">
                <a16:creationId xmlns:a16="http://schemas.microsoft.com/office/drawing/2014/main" id="{7EEF929E-4949-CF6B-92E4-5944D5AC1031}"/>
              </a:ext>
            </a:extLst>
          </p:cNvPr>
          <p:cNvSpPr>
            <a:spLocks noGrp="1"/>
          </p:cNvSpPr>
          <p:nvPr>
            <p:ph type="title"/>
          </p:nvPr>
        </p:nvSpPr>
        <p:spPr/>
        <p:txBody>
          <a:bodyPr/>
          <a:lstStyle/>
          <a:p>
            <a:r>
              <a:rPr lang="en-GB"/>
              <a:t>Click to edit Master title style</a:t>
            </a:r>
            <a:endParaRPr lang="en-US"/>
          </a:p>
        </p:txBody>
      </p:sp>
      <p:sp>
        <p:nvSpPr>
          <p:cNvPr id="24" name="Text Placeholder 19">
            <a:extLst>
              <a:ext uri="{FF2B5EF4-FFF2-40B4-BE49-F238E27FC236}">
                <a16:creationId xmlns:a16="http://schemas.microsoft.com/office/drawing/2014/main" id="{79696E42-2626-8D8F-0FF9-7565F9029B73}"/>
              </a:ext>
            </a:extLst>
          </p:cNvPr>
          <p:cNvSpPr>
            <a:spLocks noGrp="1"/>
          </p:cNvSpPr>
          <p:nvPr>
            <p:ph type="body" sz="quarter" idx="10" hasCustomPrompt="1"/>
          </p:nvPr>
        </p:nvSpPr>
        <p:spPr>
          <a:xfrm>
            <a:off x="588263" y="2947559"/>
            <a:ext cx="2210127" cy="800219"/>
          </a:xfrm>
          <a:prstGeom prst="rect">
            <a:avLst/>
          </a:prstGeom>
        </p:spPr>
        <p:txBody>
          <a:bodyPr lIns="0" tIns="0" rIns="0" bIns="0"/>
          <a:lstStyle>
            <a:lvl1pPr marL="0" indent="0" algn="l">
              <a:buFont typeface="Arial" panose="020B0604020202020204" pitchFamily="34" charset="0"/>
              <a:buNone/>
              <a:defRPr kumimoji="0" lang="en-US" sz="28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panose="020B0402040204020203" pitchFamily="34" charset="0"/>
              </a:defRPr>
            </a:lvl1pPr>
          </a:lstStyle>
          <a:p>
            <a:pPr marL="457200" marR="0" lvl="0" indent="-457200" algn="l" defTabSz="932293" rtl="0" eaLnBrk="1" fontAlgn="base" latinLnBrk="0" hangingPunct="1">
              <a:lnSpc>
                <a:spcPct val="100000"/>
              </a:lnSpc>
              <a:spcBef>
                <a:spcPct val="0"/>
              </a:spcBef>
              <a:spcAft>
                <a:spcPct val="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5" name="Text Placeholder 27">
            <a:extLst>
              <a:ext uri="{FF2B5EF4-FFF2-40B4-BE49-F238E27FC236}">
                <a16:creationId xmlns:a16="http://schemas.microsoft.com/office/drawing/2014/main" id="{72EE8B2C-C6C9-C64F-ACCC-CBB9320327A1}"/>
              </a:ext>
            </a:extLst>
          </p:cNvPr>
          <p:cNvSpPr>
            <a:spLocks noGrp="1"/>
          </p:cNvSpPr>
          <p:nvPr>
            <p:ph type="body" sz="quarter" idx="12"/>
          </p:nvPr>
        </p:nvSpPr>
        <p:spPr>
          <a:xfrm>
            <a:off x="588263" y="3928528"/>
            <a:ext cx="2210127" cy="830997"/>
          </a:xfrm>
          <a:prstGeom prst="rect">
            <a:avLst/>
          </a:prstGeom>
        </p:spPr>
        <p:txBody>
          <a:bodyPr lIns="0" tIns="0" rIns="0" bIns="0"/>
          <a:lstStyle>
            <a:lvl1pPr marL="0" indent="0" algn="l">
              <a:buFont typeface="Arial" panose="020B0604020202020204" pitchFamily="34" charset="0"/>
              <a:buNone/>
              <a:defRPr kumimoji="0" lang="en-US" sz="1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defRPr>
            </a:lvl1pPr>
            <a:lvl2pPr>
              <a:defRPr/>
            </a:lvl2pPr>
            <a:lvl3pPr>
              <a:defRPr/>
            </a:lvl3pPr>
            <a:lvl4pPr>
              <a:defRPr/>
            </a:lvl4pPr>
            <a:lvl5pPr>
              <a:defRPr/>
            </a:lvl5pPr>
          </a:lstStyle>
          <a:p>
            <a:pPr marL="228600" marR="0" lvl="0" indent="-228600" algn="l" defTabSz="932293" rtl="0" eaLnBrk="1" fontAlgn="base" latinLnBrk="0" hangingPunct="1">
              <a:lnSpc>
                <a:spcPct val="100000"/>
              </a:lnSpc>
              <a:spcBef>
                <a:spcPct val="0"/>
              </a:spcBef>
              <a:spcAft>
                <a:spcPct val="0"/>
              </a:spcAft>
              <a:buClrTx/>
              <a:buSzTx/>
              <a:tabLst/>
              <a:defRPr/>
            </a:pPr>
            <a:endParaRPr lang="en-US"/>
          </a:p>
        </p:txBody>
      </p:sp>
    </p:spTree>
    <p:extLst>
      <p:ext uri="{BB962C8B-B14F-4D97-AF65-F5344CB8AC3E}">
        <p14:creationId xmlns:p14="http://schemas.microsoft.com/office/powerpoint/2010/main" val="34992981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w/ 4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grpSp>
        <p:nvGrpSpPr>
          <p:cNvPr id="3" name="Group 2">
            <a:extLst>
              <a:ext uri="{FF2B5EF4-FFF2-40B4-BE49-F238E27FC236}">
                <a16:creationId xmlns:a16="http://schemas.microsoft.com/office/drawing/2014/main" id="{87A461FC-22AB-7900-1736-2D8955F4090C}"/>
              </a:ext>
            </a:extLst>
          </p:cNvPr>
          <p:cNvGrpSpPr/>
          <p:nvPr userDrawn="1"/>
        </p:nvGrpSpPr>
        <p:grpSpPr>
          <a:xfrm>
            <a:off x="-1" y="1432554"/>
            <a:ext cx="12192001" cy="4837842"/>
            <a:chOff x="-1" y="1432554"/>
            <a:chExt cx="12192001" cy="4837842"/>
          </a:xfrm>
        </p:grpSpPr>
        <p:grpSp>
          <p:nvGrpSpPr>
            <p:cNvPr id="4" name="Group 3">
              <a:extLst>
                <a:ext uri="{FF2B5EF4-FFF2-40B4-BE49-F238E27FC236}">
                  <a16:creationId xmlns:a16="http://schemas.microsoft.com/office/drawing/2014/main" id="{4E92C578-BC6C-AEA6-90F4-A9A15AAA5F41}"/>
                </a:ext>
              </a:extLst>
            </p:cNvPr>
            <p:cNvGrpSpPr/>
            <p:nvPr/>
          </p:nvGrpSpPr>
          <p:grpSpPr>
            <a:xfrm>
              <a:off x="0" y="1436688"/>
              <a:ext cx="12192000" cy="4833708"/>
              <a:chOff x="0" y="1436688"/>
              <a:chExt cx="12192000" cy="4833708"/>
            </a:xfrm>
          </p:grpSpPr>
          <p:cxnSp>
            <p:nvCxnSpPr>
              <p:cNvPr id="6" name="Straight Connector 5">
                <a:extLst>
                  <a:ext uri="{FF2B5EF4-FFF2-40B4-BE49-F238E27FC236}">
                    <a16:creationId xmlns:a16="http://schemas.microsoft.com/office/drawing/2014/main" id="{CC4B9200-AA63-5DAB-15BE-76F446BE0CB9}"/>
                  </a:ext>
                </a:extLst>
              </p:cNvPr>
              <p:cNvCxnSpPr>
                <a:cxnSpLocks/>
              </p:cNvCxnSpPr>
              <p:nvPr/>
            </p:nvCxnSpPr>
            <p:spPr>
              <a:xfrm>
                <a:off x="7403648" y="6270396"/>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9F9A213-BAF6-798B-33BC-C252F4F5C62A}"/>
                  </a:ext>
                </a:extLst>
              </p:cNvPr>
              <p:cNvCxnSpPr>
                <a:cxnSpLocks/>
              </p:cNvCxnSpPr>
              <p:nvPr/>
            </p:nvCxnSpPr>
            <p:spPr>
              <a:xfrm>
                <a:off x="0" y="1436688"/>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2D016230-3878-053F-0CB0-90848782E5D8}"/>
                </a:ext>
              </a:extLst>
            </p:cNvPr>
            <p:cNvSpPr>
              <a:spLocks/>
            </p:cNvSpPr>
            <p:nvPr/>
          </p:nvSpPr>
          <p:spPr bwMode="auto">
            <a:xfrm>
              <a:off x="-1" y="1432554"/>
              <a:ext cx="12192001" cy="4833708"/>
            </a:xfrm>
            <a:prstGeom prst="rect">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8" name="Rectangle: Top Corners Rounded 7">
            <a:extLst>
              <a:ext uri="{FF2B5EF4-FFF2-40B4-BE49-F238E27FC236}">
                <a16:creationId xmlns:a16="http://schemas.microsoft.com/office/drawing/2014/main" id="{B81C0D8A-D199-188D-0273-D83629F3DD4B}"/>
              </a:ext>
              <a:ext uri="{C183D7F6-B498-43B3-948B-1728B52AA6E4}">
                <adec:decorative xmlns:adec="http://schemas.microsoft.com/office/drawing/2017/decorative" val="1"/>
              </a:ext>
            </a:extLst>
          </p:cNvPr>
          <p:cNvSpPr>
            <a:spLocks/>
          </p:cNvSpPr>
          <p:nvPr userDrawn="1"/>
        </p:nvSpPr>
        <p:spPr bwMode="auto">
          <a:xfrm rot="16200000">
            <a:off x="7447099" y="1278523"/>
            <a:ext cx="940877" cy="8548928"/>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Top Corners Rounded 8">
            <a:extLst>
              <a:ext uri="{FF2B5EF4-FFF2-40B4-BE49-F238E27FC236}">
                <a16:creationId xmlns:a16="http://schemas.microsoft.com/office/drawing/2014/main" id="{22834BF7-C02D-319B-828D-EC8616B4193C}"/>
              </a:ext>
              <a:ext uri="{C183D7F6-B498-43B3-948B-1728B52AA6E4}">
                <adec:decorative xmlns:adec="http://schemas.microsoft.com/office/drawing/2017/decorative" val="1"/>
              </a:ext>
            </a:extLst>
          </p:cNvPr>
          <p:cNvSpPr>
            <a:spLocks/>
          </p:cNvSpPr>
          <p:nvPr userDrawn="1"/>
        </p:nvSpPr>
        <p:spPr bwMode="auto">
          <a:xfrm rot="16200000">
            <a:off x="7459690" y="-986860"/>
            <a:ext cx="941964"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7E3B1D9F-9EBE-31DC-31D7-4D5ADC5D81E5}"/>
              </a:ext>
              <a:ext uri="{C183D7F6-B498-43B3-948B-1728B52AA6E4}">
                <adec:decorative xmlns:adec="http://schemas.microsoft.com/office/drawing/2017/decorative" val="1"/>
              </a:ext>
            </a:extLst>
          </p:cNvPr>
          <p:cNvSpPr>
            <a:spLocks/>
          </p:cNvSpPr>
          <p:nvPr userDrawn="1"/>
        </p:nvSpPr>
        <p:spPr bwMode="auto">
          <a:xfrm rot="16200000">
            <a:off x="7446559" y="-2119823"/>
            <a:ext cx="941962"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Text Placeholder 19">
            <a:extLst>
              <a:ext uri="{FF2B5EF4-FFF2-40B4-BE49-F238E27FC236}">
                <a16:creationId xmlns:a16="http://schemas.microsoft.com/office/drawing/2014/main" id="{FF80C6DF-2231-4541-A036-2B2DBE1065CD}"/>
              </a:ext>
            </a:extLst>
          </p:cNvPr>
          <p:cNvSpPr>
            <a:spLocks noGrp="1"/>
          </p:cNvSpPr>
          <p:nvPr>
            <p:ph type="body" sz="quarter" idx="10" hasCustomPrompt="1"/>
          </p:nvPr>
        </p:nvSpPr>
        <p:spPr>
          <a:xfrm>
            <a:off x="588263" y="2947559"/>
            <a:ext cx="2210127" cy="800219"/>
          </a:xfrm>
          <a:prstGeom prst="rect">
            <a:avLst/>
          </a:prstGeom>
        </p:spPr>
        <p:txBody>
          <a:bodyPr lIns="0" tIns="0" rIns="0" bIns="0"/>
          <a:lstStyle>
            <a:lvl1pPr marL="0" indent="0" algn="l">
              <a:buFont typeface="Arial" panose="020B0604020202020204" pitchFamily="34" charset="0"/>
              <a:buNone/>
              <a:defRPr kumimoji="0" lang="en-US" sz="28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panose="020B0402040204020203" pitchFamily="34" charset="0"/>
              </a:defRPr>
            </a:lvl1pPr>
          </a:lstStyle>
          <a:p>
            <a:pPr marL="457200" marR="0" lvl="0" indent="-457200" algn="l" defTabSz="932293" rtl="0" eaLnBrk="1" fontAlgn="base" latinLnBrk="0" hangingPunct="1">
              <a:lnSpc>
                <a:spcPct val="100000"/>
              </a:lnSpc>
              <a:spcBef>
                <a:spcPct val="0"/>
              </a:spcBef>
              <a:spcAft>
                <a:spcPct val="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8" name="Text Placeholder 27">
            <a:extLst>
              <a:ext uri="{FF2B5EF4-FFF2-40B4-BE49-F238E27FC236}">
                <a16:creationId xmlns:a16="http://schemas.microsoft.com/office/drawing/2014/main" id="{DD25D9DA-EA15-AA53-3490-DEC0701B2CF7}"/>
              </a:ext>
            </a:extLst>
          </p:cNvPr>
          <p:cNvSpPr>
            <a:spLocks noGrp="1"/>
          </p:cNvSpPr>
          <p:nvPr>
            <p:ph type="body" sz="quarter" idx="12"/>
          </p:nvPr>
        </p:nvSpPr>
        <p:spPr>
          <a:xfrm>
            <a:off x="588263" y="3928528"/>
            <a:ext cx="2210127" cy="830997"/>
          </a:xfrm>
          <a:prstGeom prst="rect">
            <a:avLst/>
          </a:prstGeom>
        </p:spPr>
        <p:txBody>
          <a:bodyPr lIns="0" tIns="0" rIns="0" bIns="0"/>
          <a:lstStyle>
            <a:lvl1pPr marL="0" indent="0" algn="l">
              <a:buFont typeface="Arial" panose="020B0604020202020204" pitchFamily="34" charset="0"/>
              <a:buNone/>
              <a:defRPr kumimoji="0" lang="en-US" sz="1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defRPr>
            </a:lvl1pPr>
            <a:lvl2pPr>
              <a:defRPr/>
            </a:lvl2pPr>
            <a:lvl3pPr>
              <a:defRPr/>
            </a:lvl3pPr>
            <a:lvl4pPr>
              <a:defRPr/>
            </a:lvl4pPr>
            <a:lvl5pPr>
              <a:defRPr/>
            </a:lvl5pPr>
          </a:lstStyle>
          <a:p>
            <a:pPr marL="228600" marR="0" lvl="0" indent="-228600" algn="l" defTabSz="932293" rtl="0" eaLnBrk="1" fontAlgn="base" latinLnBrk="0" hangingPunct="1">
              <a:lnSpc>
                <a:spcPct val="100000"/>
              </a:lnSpc>
              <a:spcBef>
                <a:spcPct val="0"/>
              </a:spcBef>
              <a:spcAft>
                <a:spcPct val="0"/>
              </a:spcAft>
              <a:buClrTx/>
              <a:buSzTx/>
              <a:tabLst/>
              <a:defRPr/>
            </a:pPr>
            <a:endParaRPr lang="en-US"/>
          </a:p>
        </p:txBody>
      </p:sp>
      <p:cxnSp>
        <p:nvCxnSpPr>
          <p:cNvPr id="19" name="Straight Connector 18">
            <a:extLst>
              <a:ext uri="{FF2B5EF4-FFF2-40B4-BE49-F238E27FC236}">
                <a16:creationId xmlns:a16="http://schemas.microsoft.com/office/drawing/2014/main" id="{AC1ED6F3-098B-3F39-9A66-E7DD5E505EDD}"/>
              </a:ext>
            </a:extLst>
          </p:cNvPr>
          <p:cNvCxnSpPr>
            <a:cxnSpLocks/>
          </p:cNvCxnSpPr>
          <p:nvPr userDrawn="1"/>
        </p:nvCxnSpPr>
        <p:spPr>
          <a:xfrm>
            <a:off x="10161411" y="2816620"/>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2AC148F-E42C-DAA1-3EED-9A9045E267F1}"/>
              </a:ext>
            </a:extLst>
          </p:cNvPr>
          <p:cNvCxnSpPr>
            <a:cxnSpLocks/>
          </p:cNvCxnSpPr>
          <p:nvPr userDrawn="1"/>
        </p:nvCxnSpPr>
        <p:spPr>
          <a:xfrm>
            <a:off x="4787900" y="2625620"/>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0" name="Rectangle: Top Corners Rounded 29">
            <a:extLst>
              <a:ext uri="{FF2B5EF4-FFF2-40B4-BE49-F238E27FC236}">
                <a16:creationId xmlns:a16="http://schemas.microsoft.com/office/drawing/2014/main" id="{C8EE82BC-AD12-DDCB-B31C-5906579E42CC}"/>
              </a:ext>
              <a:ext uri="{C183D7F6-B498-43B3-948B-1728B52AA6E4}">
                <adec:decorative xmlns:adec="http://schemas.microsoft.com/office/drawing/2017/decorative" val="1"/>
              </a:ext>
            </a:extLst>
          </p:cNvPr>
          <p:cNvSpPr>
            <a:spLocks/>
          </p:cNvSpPr>
          <p:nvPr userDrawn="1"/>
        </p:nvSpPr>
        <p:spPr bwMode="auto">
          <a:xfrm rot="16200000">
            <a:off x="7459690" y="146104"/>
            <a:ext cx="941964"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1" name="Straight Connector 20">
            <a:extLst>
              <a:ext uri="{FF2B5EF4-FFF2-40B4-BE49-F238E27FC236}">
                <a16:creationId xmlns:a16="http://schemas.microsoft.com/office/drawing/2014/main" id="{08E9D973-6374-2567-22C8-2BA8F4AA437E}"/>
              </a:ext>
            </a:extLst>
          </p:cNvPr>
          <p:cNvCxnSpPr>
            <a:cxnSpLocks/>
          </p:cNvCxnSpPr>
          <p:nvPr userDrawn="1"/>
        </p:nvCxnSpPr>
        <p:spPr>
          <a:xfrm>
            <a:off x="4464050" y="3949583"/>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1928C30-8981-9CF7-E74B-123E668EB697}"/>
              </a:ext>
            </a:extLst>
          </p:cNvPr>
          <p:cNvCxnSpPr>
            <a:cxnSpLocks/>
          </p:cNvCxnSpPr>
          <p:nvPr userDrawn="1"/>
        </p:nvCxnSpPr>
        <p:spPr>
          <a:xfrm>
            <a:off x="9416824" y="5082549"/>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C4754803-4174-D135-25D1-31C62E5D3A10}"/>
              </a:ext>
              <a:ext uri="{C183D7F6-B498-43B3-948B-1728B52AA6E4}">
                <adec:decorative xmlns:adec="http://schemas.microsoft.com/office/drawing/2017/decorative" val="1"/>
              </a:ext>
            </a:extLst>
          </p:cNvPr>
          <p:cNvSpPr/>
          <p:nvPr userDrawn="1"/>
        </p:nvSpPr>
        <p:spPr bwMode="auto">
          <a:xfrm>
            <a:off x="3714043" y="1755074"/>
            <a:ext cx="797628" cy="79913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5C756B47-623C-33D3-D5C2-C3E4E55D9EC5}"/>
              </a:ext>
              <a:ext uri="{C183D7F6-B498-43B3-948B-1728B52AA6E4}">
                <adec:decorative xmlns:adec="http://schemas.microsoft.com/office/drawing/2017/decorative" val="1"/>
              </a:ext>
            </a:extLst>
          </p:cNvPr>
          <p:cNvSpPr/>
          <p:nvPr userDrawn="1"/>
        </p:nvSpPr>
        <p:spPr bwMode="auto">
          <a:xfrm>
            <a:off x="3714043" y="4020640"/>
            <a:ext cx="797628" cy="79913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1213B7F5-5C21-123F-4A89-C9A0D1ECA791}"/>
              </a:ext>
              <a:ext uri="{C183D7F6-B498-43B3-948B-1728B52AA6E4}">
                <adec:decorative xmlns:adec="http://schemas.microsoft.com/office/drawing/2017/decorative" val="1"/>
              </a:ext>
            </a:extLst>
          </p:cNvPr>
          <p:cNvSpPr/>
          <p:nvPr userDrawn="1"/>
        </p:nvSpPr>
        <p:spPr bwMode="auto">
          <a:xfrm>
            <a:off x="3714043" y="5153422"/>
            <a:ext cx="797628" cy="79913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2" name="Oval 31">
            <a:extLst>
              <a:ext uri="{FF2B5EF4-FFF2-40B4-BE49-F238E27FC236}">
                <a16:creationId xmlns:a16="http://schemas.microsoft.com/office/drawing/2014/main" id="{D30C1B5A-7C14-AB3F-10DE-2D939571E0E8}"/>
              </a:ext>
              <a:ext uri="{C183D7F6-B498-43B3-948B-1728B52AA6E4}">
                <adec:decorative xmlns:adec="http://schemas.microsoft.com/office/drawing/2017/decorative" val="1"/>
              </a:ext>
            </a:extLst>
          </p:cNvPr>
          <p:cNvSpPr/>
          <p:nvPr userDrawn="1"/>
        </p:nvSpPr>
        <p:spPr bwMode="auto">
          <a:xfrm>
            <a:off x="3714043" y="2887857"/>
            <a:ext cx="797628" cy="799130"/>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3" name="Text Placeholder 27">
            <a:extLst>
              <a:ext uri="{FF2B5EF4-FFF2-40B4-BE49-F238E27FC236}">
                <a16:creationId xmlns:a16="http://schemas.microsoft.com/office/drawing/2014/main" id="{FD598E1B-998A-F3CE-E0FC-9A946D69B1D1}"/>
              </a:ext>
            </a:extLst>
          </p:cNvPr>
          <p:cNvSpPr>
            <a:spLocks noGrp="1"/>
          </p:cNvSpPr>
          <p:nvPr>
            <p:ph type="body" sz="quarter" idx="13" hasCustomPrompt="1"/>
          </p:nvPr>
        </p:nvSpPr>
        <p:spPr>
          <a:xfrm>
            <a:off x="4787900" y="2062306"/>
            <a:ext cx="681888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34" name="Text Placeholder 27">
            <a:extLst>
              <a:ext uri="{FF2B5EF4-FFF2-40B4-BE49-F238E27FC236}">
                <a16:creationId xmlns:a16="http://schemas.microsoft.com/office/drawing/2014/main" id="{6E90633C-406E-7E25-8D38-5E89D9D2230C}"/>
              </a:ext>
            </a:extLst>
          </p:cNvPr>
          <p:cNvSpPr>
            <a:spLocks noGrp="1"/>
          </p:cNvSpPr>
          <p:nvPr>
            <p:ph type="body" sz="quarter" idx="14" hasCustomPrompt="1"/>
          </p:nvPr>
        </p:nvSpPr>
        <p:spPr>
          <a:xfrm>
            <a:off x="4787900" y="3195269"/>
            <a:ext cx="681888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Lorem ipsum dolor sit </a:t>
            </a:r>
            <a:r>
              <a:rPr lang="en-US" err="1"/>
              <a:t>amet</a:t>
            </a:r>
            <a:endParaRPr lang="en-US"/>
          </a:p>
        </p:txBody>
      </p:sp>
      <p:sp>
        <p:nvSpPr>
          <p:cNvPr id="35" name="Text Placeholder 27">
            <a:extLst>
              <a:ext uri="{FF2B5EF4-FFF2-40B4-BE49-F238E27FC236}">
                <a16:creationId xmlns:a16="http://schemas.microsoft.com/office/drawing/2014/main" id="{E310401B-D802-E8BB-6B13-21DBCB35F33E}"/>
              </a:ext>
            </a:extLst>
          </p:cNvPr>
          <p:cNvSpPr>
            <a:spLocks noGrp="1"/>
          </p:cNvSpPr>
          <p:nvPr>
            <p:ph type="body" sz="quarter" idx="15" hasCustomPrompt="1"/>
          </p:nvPr>
        </p:nvSpPr>
        <p:spPr>
          <a:xfrm>
            <a:off x="4787900" y="4328232"/>
            <a:ext cx="681888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36" name="Text Placeholder 27">
            <a:extLst>
              <a:ext uri="{FF2B5EF4-FFF2-40B4-BE49-F238E27FC236}">
                <a16:creationId xmlns:a16="http://schemas.microsoft.com/office/drawing/2014/main" id="{00E3BB57-EFC4-279E-DB60-67339CC590BE}"/>
              </a:ext>
            </a:extLst>
          </p:cNvPr>
          <p:cNvSpPr>
            <a:spLocks noGrp="1"/>
          </p:cNvSpPr>
          <p:nvPr>
            <p:ph type="body" sz="quarter" idx="16" hasCustomPrompt="1"/>
          </p:nvPr>
        </p:nvSpPr>
        <p:spPr>
          <a:xfrm>
            <a:off x="4787900" y="5460654"/>
            <a:ext cx="681888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Tree>
    <p:extLst>
      <p:ext uri="{BB962C8B-B14F-4D97-AF65-F5344CB8AC3E}">
        <p14:creationId xmlns:p14="http://schemas.microsoft.com/office/powerpoint/2010/main" val="38856178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w/ 5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grpSp>
        <p:nvGrpSpPr>
          <p:cNvPr id="3" name="Group 2">
            <a:extLst>
              <a:ext uri="{FF2B5EF4-FFF2-40B4-BE49-F238E27FC236}">
                <a16:creationId xmlns:a16="http://schemas.microsoft.com/office/drawing/2014/main" id="{87A461FC-22AB-7900-1736-2D8955F4090C}"/>
              </a:ext>
            </a:extLst>
          </p:cNvPr>
          <p:cNvGrpSpPr/>
          <p:nvPr userDrawn="1"/>
        </p:nvGrpSpPr>
        <p:grpSpPr>
          <a:xfrm>
            <a:off x="-1" y="1432554"/>
            <a:ext cx="12192001" cy="4837842"/>
            <a:chOff x="-1" y="1432554"/>
            <a:chExt cx="12192001" cy="4837842"/>
          </a:xfrm>
        </p:grpSpPr>
        <p:grpSp>
          <p:nvGrpSpPr>
            <p:cNvPr id="4" name="Group 3">
              <a:extLst>
                <a:ext uri="{FF2B5EF4-FFF2-40B4-BE49-F238E27FC236}">
                  <a16:creationId xmlns:a16="http://schemas.microsoft.com/office/drawing/2014/main" id="{4E92C578-BC6C-AEA6-90F4-A9A15AAA5F41}"/>
                </a:ext>
              </a:extLst>
            </p:cNvPr>
            <p:cNvGrpSpPr/>
            <p:nvPr/>
          </p:nvGrpSpPr>
          <p:grpSpPr>
            <a:xfrm>
              <a:off x="0" y="1436688"/>
              <a:ext cx="12192000" cy="4833708"/>
              <a:chOff x="0" y="1436688"/>
              <a:chExt cx="12192000" cy="4833708"/>
            </a:xfrm>
          </p:grpSpPr>
          <p:cxnSp>
            <p:nvCxnSpPr>
              <p:cNvPr id="6" name="Straight Connector 5">
                <a:extLst>
                  <a:ext uri="{FF2B5EF4-FFF2-40B4-BE49-F238E27FC236}">
                    <a16:creationId xmlns:a16="http://schemas.microsoft.com/office/drawing/2014/main" id="{CC4B9200-AA63-5DAB-15BE-76F446BE0CB9}"/>
                  </a:ext>
                </a:extLst>
              </p:cNvPr>
              <p:cNvCxnSpPr>
                <a:cxnSpLocks/>
              </p:cNvCxnSpPr>
              <p:nvPr/>
            </p:nvCxnSpPr>
            <p:spPr>
              <a:xfrm>
                <a:off x="7403648" y="6270396"/>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9F9A213-BAF6-798B-33BC-C252F4F5C62A}"/>
                  </a:ext>
                </a:extLst>
              </p:cNvPr>
              <p:cNvCxnSpPr>
                <a:cxnSpLocks/>
              </p:cNvCxnSpPr>
              <p:nvPr/>
            </p:nvCxnSpPr>
            <p:spPr>
              <a:xfrm>
                <a:off x="0" y="1436688"/>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5" name="Rectangle 4">
              <a:extLst>
                <a:ext uri="{FF2B5EF4-FFF2-40B4-BE49-F238E27FC236}">
                  <a16:creationId xmlns:a16="http://schemas.microsoft.com/office/drawing/2014/main" id="{2D016230-3878-053F-0CB0-90848782E5D8}"/>
                </a:ext>
              </a:extLst>
            </p:cNvPr>
            <p:cNvSpPr>
              <a:spLocks/>
            </p:cNvSpPr>
            <p:nvPr/>
          </p:nvSpPr>
          <p:spPr bwMode="auto">
            <a:xfrm>
              <a:off x="-1" y="1432554"/>
              <a:ext cx="12192001" cy="4833708"/>
            </a:xfrm>
            <a:prstGeom prst="rect">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8" name="Rectangle: Top Corners Rounded 7">
            <a:extLst>
              <a:ext uri="{FF2B5EF4-FFF2-40B4-BE49-F238E27FC236}">
                <a16:creationId xmlns:a16="http://schemas.microsoft.com/office/drawing/2014/main" id="{B81C0D8A-D199-188D-0273-D83629F3DD4B}"/>
              </a:ext>
              <a:ext uri="{C183D7F6-B498-43B3-948B-1728B52AA6E4}">
                <adec:decorative xmlns:adec="http://schemas.microsoft.com/office/drawing/2017/decorative" val="1"/>
              </a:ext>
            </a:extLst>
          </p:cNvPr>
          <p:cNvSpPr>
            <a:spLocks/>
          </p:cNvSpPr>
          <p:nvPr userDrawn="1"/>
        </p:nvSpPr>
        <p:spPr bwMode="auto">
          <a:xfrm rot="16200000">
            <a:off x="7541441" y="476622"/>
            <a:ext cx="752194" cy="8548928"/>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Rectangle: Top Corners Rounded 8">
            <a:extLst>
              <a:ext uri="{FF2B5EF4-FFF2-40B4-BE49-F238E27FC236}">
                <a16:creationId xmlns:a16="http://schemas.microsoft.com/office/drawing/2014/main" id="{22834BF7-C02D-319B-828D-EC8616B4193C}"/>
              </a:ext>
              <a:ext uri="{C183D7F6-B498-43B3-948B-1728B52AA6E4}">
                <adec:decorative xmlns:adec="http://schemas.microsoft.com/office/drawing/2017/decorative" val="1"/>
              </a:ext>
            </a:extLst>
          </p:cNvPr>
          <p:cNvSpPr>
            <a:spLocks/>
          </p:cNvSpPr>
          <p:nvPr userDrawn="1"/>
        </p:nvSpPr>
        <p:spPr bwMode="auto">
          <a:xfrm rot="16200000">
            <a:off x="7554141" y="-1317163"/>
            <a:ext cx="753063"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Rectangle: Top Corners Rounded 9">
            <a:extLst>
              <a:ext uri="{FF2B5EF4-FFF2-40B4-BE49-F238E27FC236}">
                <a16:creationId xmlns:a16="http://schemas.microsoft.com/office/drawing/2014/main" id="{7E3B1D9F-9EBE-31DC-31D7-4D5ADC5D81E5}"/>
              </a:ext>
              <a:ext uri="{C183D7F6-B498-43B3-948B-1728B52AA6E4}">
                <adec:decorative xmlns:adec="http://schemas.microsoft.com/office/drawing/2017/decorative" val="1"/>
              </a:ext>
            </a:extLst>
          </p:cNvPr>
          <p:cNvSpPr>
            <a:spLocks/>
          </p:cNvSpPr>
          <p:nvPr userDrawn="1"/>
        </p:nvSpPr>
        <p:spPr bwMode="auto">
          <a:xfrm rot="16200000">
            <a:off x="7541010" y="-2214273"/>
            <a:ext cx="753061"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5" name="Text Placeholder 19">
            <a:extLst>
              <a:ext uri="{FF2B5EF4-FFF2-40B4-BE49-F238E27FC236}">
                <a16:creationId xmlns:a16="http://schemas.microsoft.com/office/drawing/2014/main" id="{FF80C6DF-2231-4541-A036-2B2DBE1065CD}"/>
              </a:ext>
            </a:extLst>
          </p:cNvPr>
          <p:cNvSpPr>
            <a:spLocks noGrp="1"/>
          </p:cNvSpPr>
          <p:nvPr>
            <p:ph type="body" sz="quarter" idx="10" hasCustomPrompt="1"/>
          </p:nvPr>
        </p:nvSpPr>
        <p:spPr>
          <a:xfrm>
            <a:off x="588263" y="2947559"/>
            <a:ext cx="2210127" cy="800219"/>
          </a:xfrm>
          <a:prstGeom prst="rect">
            <a:avLst/>
          </a:prstGeom>
        </p:spPr>
        <p:txBody>
          <a:bodyPr lIns="0" tIns="0" rIns="0" bIns="0"/>
          <a:lstStyle>
            <a:lvl1pPr marL="0" indent="0" algn="l">
              <a:buFont typeface="Arial" panose="020B0604020202020204" pitchFamily="34" charset="0"/>
              <a:buNone/>
              <a:defRPr kumimoji="0" lang="en-US" sz="28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panose="020B0402040204020203" pitchFamily="34" charset="0"/>
              </a:defRPr>
            </a:lvl1pPr>
          </a:lstStyle>
          <a:p>
            <a:pPr marL="457200" marR="0" lvl="0" indent="-457200" algn="l" defTabSz="932293" rtl="0" eaLnBrk="1" fontAlgn="base" latinLnBrk="0" hangingPunct="1">
              <a:lnSpc>
                <a:spcPct val="100000"/>
              </a:lnSpc>
              <a:spcBef>
                <a:spcPct val="0"/>
              </a:spcBef>
              <a:spcAft>
                <a:spcPct val="0"/>
              </a:spcAft>
              <a:buClrTx/>
              <a:buSzTx/>
              <a:tabLst/>
              <a:defRPr/>
            </a:pPr>
            <a:r>
              <a:rPr lang="en-US">
                <a:solidFill>
                  <a:schemeClr val="accent1">
                    <a:lumMod val="20000"/>
                    <a:lumOff val="80000"/>
                  </a:schemeClr>
                </a:solidFill>
                <a:latin typeface="+mj-lt"/>
                <a:cs typeface="Segoe UI Semibold" panose="020B0702040204020203" pitchFamily="34" charset="0"/>
              </a:rPr>
              <a:t>Lorem ipsum</a:t>
            </a:r>
          </a:p>
        </p:txBody>
      </p:sp>
      <p:sp>
        <p:nvSpPr>
          <p:cNvPr id="28" name="Text Placeholder 27">
            <a:extLst>
              <a:ext uri="{FF2B5EF4-FFF2-40B4-BE49-F238E27FC236}">
                <a16:creationId xmlns:a16="http://schemas.microsoft.com/office/drawing/2014/main" id="{DD25D9DA-EA15-AA53-3490-DEC0701B2CF7}"/>
              </a:ext>
            </a:extLst>
          </p:cNvPr>
          <p:cNvSpPr>
            <a:spLocks noGrp="1"/>
          </p:cNvSpPr>
          <p:nvPr>
            <p:ph type="body" sz="quarter" idx="12"/>
          </p:nvPr>
        </p:nvSpPr>
        <p:spPr>
          <a:xfrm>
            <a:off x="588263" y="3928528"/>
            <a:ext cx="2210127" cy="830997"/>
          </a:xfrm>
          <a:prstGeom prst="rect">
            <a:avLst/>
          </a:prstGeom>
        </p:spPr>
        <p:txBody>
          <a:bodyPr lIns="0" tIns="0" rIns="0" bIns="0"/>
          <a:lstStyle>
            <a:lvl1pPr marL="0" indent="0" algn="l">
              <a:buFont typeface="Arial" panose="020B0604020202020204" pitchFamily="34" charset="0"/>
              <a:buNone/>
              <a:defRPr kumimoji="0" lang="en-US" sz="1800" b="0" i="0" u="none" strike="noStrike" kern="1200" cap="none" spc="0" normalizeH="0" baseline="0" dirty="0">
                <a:ln>
                  <a:noFill/>
                </a:ln>
                <a:solidFill>
                  <a:schemeClr val="bg1"/>
                </a:solidFill>
                <a:effectLst/>
                <a:uLnTx/>
                <a:uFillTx/>
                <a:latin typeface="+mn-lt"/>
                <a:ea typeface="+mn-ea"/>
                <a:cs typeface="Segoe UI Semilight" panose="020B0402040204020203" pitchFamily="34" charset="0"/>
              </a:defRPr>
            </a:lvl1pPr>
            <a:lvl2pPr>
              <a:defRPr/>
            </a:lvl2pPr>
            <a:lvl3pPr>
              <a:defRPr/>
            </a:lvl3pPr>
            <a:lvl4pPr>
              <a:defRPr/>
            </a:lvl4pPr>
            <a:lvl5pPr>
              <a:defRPr/>
            </a:lvl5pPr>
          </a:lstStyle>
          <a:p>
            <a:pPr marL="228600" marR="0" lvl="0" indent="-228600" algn="l" defTabSz="932293" rtl="0" eaLnBrk="1" fontAlgn="base" latinLnBrk="0" hangingPunct="1">
              <a:lnSpc>
                <a:spcPct val="100000"/>
              </a:lnSpc>
              <a:spcBef>
                <a:spcPct val="0"/>
              </a:spcBef>
              <a:spcAft>
                <a:spcPct val="0"/>
              </a:spcAft>
              <a:buClrTx/>
              <a:buSzTx/>
              <a:tabLst/>
              <a:defRPr/>
            </a:pPr>
            <a:endParaRPr lang="en-US"/>
          </a:p>
        </p:txBody>
      </p:sp>
      <p:sp>
        <p:nvSpPr>
          <p:cNvPr id="30" name="Rectangle: Top Corners Rounded 29">
            <a:extLst>
              <a:ext uri="{FF2B5EF4-FFF2-40B4-BE49-F238E27FC236}">
                <a16:creationId xmlns:a16="http://schemas.microsoft.com/office/drawing/2014/main" id="{C8EE82BC-AD12-DDCB-B31C-5906579E42CC}"/>
              </a:ext>
              <a:ext uri="{C183D7F6-B498-43B3-948B-1728B52AA6E4}">
                <adec:decorative xmlns:adec="http://schemas.microsoft.com/office/drawing/2017/decorative" val="1"/>
              </a:ext>
            </a:extLst>
          </p:cNvPr>
          <p:cNvSpPr>
            <a:spLocks/>
          </p:cNvSpPr>
          <p:nvPr userDrawn="1"/>
        </p:nvSpPr>
        <p:spPr bwMode="auto">
          <a:xfrm rot="16200000">
            <a:off x="7554141" y="-420052"/>
            <a:ext cx="753063" cy="8548923"/>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1" name="Straight Connector 20">
            <a:extLst>
              <a:ext uri="{FF2B5EF4-FFF2-40B4-BE49-F238E27FC236}">
                <a16:creationId xmlns:a16="http://schemas.microsoft.com/office/drawing/2014/main" id="{08E9D973-6374-2567-22C8-2BA8F4AA437E}"/>
              </a:ext>
            </a:extLst>
          </p:cNvPr>
          <p:cNvCxnSpPr>
            <a:cxnSpLocks/>
          </p:cNvCxnSpPr>
          <p:nvPr userDrawn="1"/>
        </p:nvCxnSpPr>
        <p:spPr>
          <a:xfrm>
            <a:off x="4464050" y="3477878"/>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3" name="Text Placeholder 27">
            <a:extLst>
              <a:ext uri="{FF2B5EF4-FFF2-40B4-BE49-F238E27FC236}">
                <a16:creationId xmlns:a16="http://schemas.microsoft.com/office/drawing/2014/main" id="{FD598E1B-998A-F3CE-E0FC-9A946D69B1D1}"/>
              </a:ext>
            </a:extLst>
          </p:cNvPr>
          <p:cNvSpPr>
            <a:spLocks noGrp="1"/>
          </p:cNvSpPr>
          <p:nvPr>
            <p:ph type="body" sz="quarter" idx="13" hasCustomPrompt="1"/>
          </p:nvPr>
        </p:nvSpPr>
        <p:spPr>
          <a:xfrm>
            <a:off x="4514850" y="1967856"/>
            <a:ext cx="709193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34" name="Text Placeholder 27">
            <a:extLst>
              <a:ext uri="{FF2B5EF4-FFF2-40B4-BE49-F238E27FC236}">
                <a16:creationId xmlns:a16="http://schemas.microsoft.com/office/drawing/2014/main" id="{6E90633C-406E-7E25-8D38-5E89D9D2230C}"/>
              </a:ext>
            </a:extLst>
          </p:cNvPr>
          <p:cNvSpPr>
            <a:spLocks noGrp="1"/>
          </p:cNvSpPr>
          <p:nvPr>
            <p:ph type="body" sz="quarter" idx="14" hasCustomPrompt="1"/>
          </p:nvPr>
        </p:nvSpPr>
        <p:spPr>
          <a:xfrm>
            <a:off x="4514850" y="2864966"/>
            <a:ext cx="709193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35" name="Text Placeholder 27">
            <a:extLst>
              <a:ext uri="{FF2B5EF4-FFF2-40B4-BE49-F238E27FC236}">
                <a16:creationId xmlns:a16="http://schemas.microsoft.com/office/drawing/2014/main" id="{E310401B-D802-E8BB-6B13-21DBCB35F33E}"/>
              </a:ext>
            </a:extLst>
          </p:cNvPr>
          <p:cNvSpPr>
            <a:spLocks noGrp="1"/>
          </p:cNvSpPr>
          <p:nvPr>
            <p:ph type="body" sz="quarter" idx="15" hasCustomPrompt="1"/>
          </p:nvPr>
        </p:nvSpPr>
        <p:spPr>
          <a:xfrm>
            <a:off x="4514850" y="3762077"/>
            <a:ext cx="709193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38" name="Rectangle: Top Corners Rounded 37">
            <a:extLst>
              <a:ext uri="{FF2B5EF4-FFF2-40B4-BE49-F238E27FC236}">
                <a16:creationId xmlns:a16="http://schemas.microsoft.com/office/drawing/2014/main" id="{C7D7AD3F-495D-E152-CD80-597DAD5657ED}"/>
              </a:ext>
              <a:ext uri="{C183D7F6-B498-43B3-948B-1728B52AA6E4}">
                <adec:decorative xmlns:adec="http://schemas.microsoft.com/office/drawing/2017/decorative" val="1"/>
              </a:ext>
            </a:extLst>
          </p:cNvPr>
          <p:cNvSpPr>
            <a:spLocks/>
          </p:cNvSpPr>
          <p:nvPr userDrawn="1"/>
        </p:nvSpPr>
        <p:spPr bwMode="auto">
          <a:xfrm rot="16200000">
            <a:off x="7541441" y="1372864"/>
            <a:ext cx="752194" cy="8548928"/>
          </a:xfrm>
          <a:prstGeom prst="round2SameRect">
            <a:avLst>
              <a:gd name="adj1" fmla="val 50000"/>
              <a:gd name="adj2" fmla="val 0"/>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C4754803-4174-D135-25D1-31C62E5D3A10}"/>
              </a:ext>
              <a:ext uri="{C183D7F6-B498-43B3-948B-1728B52AA6E4}">
                <adec:decorative xmlns:adec="http://schemas.microsoft.com/office/drawing/2017/decorative" val="1"/>
              </a:ext>
            </a:extLst>
          </p:cNvPr>
          <p:cNvSpPr/>
          <p:nvPr userDrawn="1"/>
        </p:nvSpPr>
        <p:spPr bwMode="auto">
          <a:xfrm>
            <a:off x="3707595" y="1745776"/>
            <a:ext cx="627644" cy="62882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5C756B47-623C-33D3-D5C2-C3E4E55D9EC5}"/>
              </a:ext>
              <a:ext uri="{C183D7F6-B498-43B3-948B-1728B52AA6E4}">
                <adec:decorative xmlns:adec="http://schemas.microsoft.com/office/drawing/2017/decorative" val="1"/>
              </a:ext>
            </a:extLst>
          </p:cNvPr>
          <p:cNvSpPr/>
          <p:nvPr userDrawn="1"/>
        </p:nvSpPr>
        <p:spPr bwMode="auto">
          <a:xfrm>
            <a:off x="3707595" y="3541706"/>
            <a:ext cx="627644" cy="62882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Oval 12">
            <a:extLst>
              <a:ext uri="{FF2B5EF4-FFF2-40B4-BE49-F238E27FC236}">
                <a16:creationId xmlns:a16="http://schemas.microsoft.com/office/drawing/2014/main" id="{1213B7F5-5C21-123F-4A89-C9A0D1ECA791}"/>
              </a:ext>
              <a:ext uri="{C183D7F6-B498-43B3-948B-1728B52AA6E4}">
                <adec:decorative xmlns:adec="http://schemas.microsoft.com/office/drawing/2017/decorative" val="1"/>
              </a:ext>
            </a:extLst>
          </p:cNvPr>
          <p:cNvSpPr/>
          <p:nvPr userDrawn="1"/>
        </p:nvSpPr>
        <p:spPr bwMode="auto">
          <a:xfrm>
            <a:off x="3707595" y="5337634"/>
            <a:ext cx="627644" cy="62882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2" name="Oval 31">
            <a:extLst>
              <a:ext uri="{FF2B5EF4-FFF2-40B4-BE49-F238E27FC236}">
                <a16:creationId xmlns:a16="http://schemas.microsoft.com/office/drawing/2014/main" id="{D30C1B5A-7C14-AB3F-10DE-2D939571E0E8}"/>
              </a:ext>
              <a:ext uri="{C183D7F6-B498-43B3-948B-1728B52AA6E4}">
                <adec:decorative xmlns:adec="http://schemas.microsoft.com/office/drawing/2017/decorative" val="1"/>
              </a:ext>
            </a:extLst>
          </p:cNvPr>
          <p:cNvSpPr/>
          <p:nvPr userDrawn="1"/>
        </p:nvSpPr>
        <p:spPr bwMode="auto">
          <a:xfrm>
            <a:off x="3707595" y="2643741"/>
            <a:ext cx="627644" cy="62882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9" name="Oval 38">
            <a:extLst>
              <a:ext uri="{FF2B5EF4-FFF2-40B4-BE49-F238E27FC236}">
                <a16:creationId xmlns:a16="http://schemas.microsoft.com/office/drawing/2014/main" id="{E4781EC4-621F-E871-BC82-6CE078562B53}"/>
              </a:ext>
              <a:ext uri="{C183D7F6-B498-43B3-948B-1728B52AA6E4}">
                <adec:decorative xmlns:adec="http://schemas.microsoft.com/office/drawing/2017/decorative" val="1"/>
              </a:ext>
            </a:extLst>
          </p:cNvPr>
          <p:cNvSpPr/>
          <p:nvPr userDrawn="1"/>
        </p:nvSpPr>
        <p:spPr bwMode="auto">
          <a:xfrm>
            <a:off x="3707595" y="4439671"/>
            <a:ext cx="627644" cy="628826"/>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20" name="Straight Connector 19">
            <a:extLst>
              <a:ext uri="{FF2B5EF4-FFF2-40B4-BE49-F238E27FC236}">
                <a16:creationId xmlns:a16="http://schemas.microsoft.com/office/drawing/2014/main" id="{52AC148F-E42C-DAA1-3EED-9A9045E267F1}"/>
              </a:ext>
            </a:extLst>
          </p:cNvPr>
          <p:cNvCxnSpPr>
            <a:cxnSpLocks/>
          </p:cNvCxnSpPr>
          <p:nvPr userDrawn="1"/>
        </p:nvCxnSpPr>
        <p:spPr>
          <a:xfrm>
            <a:off x="4787900" y="2436719"/>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C1ED6F3-098B-3F39-9A66-E7DD5E505EDD}"/>
              </a:ext>
            </a:extLst>
          </p:cNvPr>
          <p:cNvCxnSpPr>
            <a:cxnSpLocks/>
          </p:cNvCxnSpPr>
          <p:nvPr userDrawn="1"/>
        </p:nvCxnSpPr>
        <p:spPr>
          <a:xfrm>
            <a:off x="10161411" y="2580767"/>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1928C30-8981-9CF7-E74B-123E668EB697}"/>
              </a:ext>
            </a:extLst>
          </p:cNvPr>
          <p:cNvCxnSpPr>
            <a:cxnSpLocks/>
          </p:cNvCxnSpPr>
          <p:nvPr userDrawn="1"/>
        </p:nvCxnSpPr>
        <p:spPr>
          <a:xfrm>
            <a:off x="9416824" y="4374989"/>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AA72D92-5EE3-52D8-B00D-387C68829159}"/>
              </a:ext>
            </a:extLst>
          </p:cNvPr>
          <p:cNvCxnSpPr>
            <a:cxnSpLocks/>
          </p:cNvCxnSpPr>
          <p:nvPr userDrawn="1"/>
        </p:nvCxnSpPr>
        <p:spPr>
          <a:xfrm>
            <a:off x="4787900" y="5271231"/>
            <a:ext cx="1798977"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Text Placeholder 27">
            <a:extLst>
              <a:ext uri="{FF2B5EF4-FFF2-40B4-BE49-F238E27FC236}">
                <a16:creationId xmlns:a16="http://schemas.microsoft.com/office/drawing/2014/main" id="{00E3BB57-EFC4-279E-DB60-67339CC590BE}"/>
              </a:ext>
            </a:extLst>
          </p:cNvPr>
          <p:cNvSpPr>
            <a:spLocks noGrp="1"/>
          </p:cNvSpPr>
          <p:nvPr>
            <p:ph type="body" sz="quarter" idx="16" hasCustomPrompt="1"/>
          </p:nvPr>
        </p:nvSpPr>
        <p:spPr>
          <a:xfrm>
            <a:off x="4514850" y="5554995"/>
            <a:ext cx="709193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
        <p:nvSpPr>
          <p:cNvPr id="41" name="Text Placeholder 27">
            <a:extLst>
              <a:ext uri="{FF2B5EF4-FFF2-40B4-BE49-F238E27FC236}">
                <a16:creationId xmlns:a16="http://schemas.microsoft.com/office/drawing/2014/main" id="{A6DC76B5-275C-1A0A-7FF0-52179C740DCE}"/>
              </a:ext>
            </a:extLst>
          </p:cNvPr>
          <p:cNvSpPr>
            <a:spLocks noGrp="1"/>
          </p:cNvSpPr>
          <p:nvPr>
            <p:ph type="body" sz="quarter" idx="17" hasCustomPrompt="1"/>
          </p:nvPr>
        </p:nvSpPr>
        <p:spPr>
          <a:xfrm>
            <a:off x="4514850" y="4658753"/>
            <a:ext cx="7091933" cy="184666"/>
          </a:xfrm>
          <a:prstGeom prst="rect">
            <a:avLst/>
          </a:prstGeom>
        </p:spPr>
        <p:txBody>
          <a:bodyPr wrap="square" lIns="0" tIns="0" rIns="0" bIns="0" anchor="ctr">
            <a:spAutoFit/>
          </a:bodyPr>
          <a:lstStyle>
            <a:lvl1pPr marL="0" indent="0">
              <a:buNone/>
              <a:defRPr kumimoji="0" lang="en-US" sz="1200" b="0" i="0" u="none" strike="noStrike" cap="none" normalizeH="0" dirty="0">
                <a:ln>
                  <a:noFill/>
                </a:ln>
                <a:effectLst/>
                <a:uLnTx/>
                <a:uFillTx/>
                <a:latin typeface="+mn-lt"/>
                <a:cs typeface="Segoe UI Semilight" panose="020B0402040204020203" pitchFamily="34" charset="0"/>
              </a:defRPr>
            </a:lvl1pPr>
          </a:lstStyle>
          <a:p>
            <a:pPr marL="228600" lvl="0" indent="-228600"/>
            <a:r>
              <a:rPr lang="en-US"/>
              <a:t>Lorem ipsum dolor sit </a:t>
            </a:r>
            <a:r>
              <a:rPr lang="en-US" err="1"/>
              <a:t>amet</a:t>
            </a:r>
            <a:endParaRPr lang="en-US"/>
          </a:p>
        </p:txBody>
      </p:sp>
    </p:spTree>
    <p:extLst>
      <p:ext uri="{BB962C8B-B14F-4D97-AF65-F5344CB8AC3E}">
        <p14:creationId xmlns:p14="http://schemas.microsoft.com/office/powerpoint/2010/main" val="5014026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19DDB03-6BD6-4A26-6AC2-A95368278A95}"/>
              </a:ext>
              <a:ext uri="{C183D7F6-B498-43B3-948B-1728B52AA6E4}">
                <adec:decorative xmlns:adec="http://schemas.microsoft.com/office/drawing/2017/decorative" val="1"/>
              </a:ext>
            </a:extLst>
          </p:cNvPr>
          <p:cNvSpPr>
            <a:spLocks/>
          </p:cNvSpPr>
          <p:nvPr userDrawn="1"/>
        </p:nvSpPr>
        <p:spPr bwMode="auto">
          <a:xfrm>
            <a:off x="0" y="2670054"/>
            <a:ext cx="12192000" cy="335337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16" name="Group 15">
            <a:extLst>
              <a:ext uri="{FF2B5EF4-FFF2-40B4-BE49-F238E27FC236}">
                <a16:creationId xmlns:a16="http://schemas.microsoft.com/office/drawing/2014/main" id="{0F996BCA-816D-3FE8-D7C8-63769251DE32}"/>
              </a:ext>
            </a:extLst>
          </p:cNvPr>
          <p:cNvGrpSpPr/>
          <p:nvPr userDrawn="1"/>
        </p:nvGrpSpPr>
        <p:grpSpPr>
          <a:xfrm>
            <a:off x="3236215" y="2726546"/>
            <a:ext cx="5673388" cy="3240391"/>
            <a:chOff x="3236215" y="2685327"/>
            <a:chExt cx="5673388" cy="3240391"/>
          </a:xfrm>
        </p:grpSpPr>
        <p:cxnSp>
          <p:nvCxnSpPr>
            <p:cNvPr id="17" name="Straight Connector 16">
              <a:extLst>
                <a:ext uri="{FF2B5EF4-FFF2-40B4-BE49-F238E27FC236}">
                  <a16:creationId xmlns:a16="http://schemas.microsoft.com/office/drawing/2014/main" id="{4763161D-37C5-BDBD-727C-8701E3368882}"/>
                </a:ext>
              </a:extLst>
            </p:cNvPr>
            <p:cNvCxnSpPr>
              <a:cxnSpLocks/>
            </p:cNvCxnSpPr>
            <p:nvPr/>
          </p:nvCxnSpPr>
          <p:spPr>
            <a:xfrm flipV="1">
              <a:off x="3236215" y="2685327"/>
              <a:ext cx="0" cy="3240391"/>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BE11B112-400F-A4B8-8A61-975C65F4910C}"/>
                </a:ext>
              </a:extLst>
            </p:cNvPr>
            <p:cNvCxnSpPr>
              <a:cxnSpLocks/>
            </p:cNvCxnSpPr>
            <p:nvPr/>
          </p:nvCxnSpPr>
          <p:spPr>
            <a:xfrm flipV="1">
              <a:off x="6072909" y="2685327"/>
              <a:ext cx="0" cy="3240391"/>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D4B2DBC1-0E04-9CBB-E2F5-736E1C77B3DD}"/>
                </a:ext>
              </a:extLst>
            </p:cNvPr>
            <p:cNvCxnSpPr>
              <a:cxnSpLocks/>
            </p:cNvCxnSpPr>
            <p:nvPr/>
          </p:nvCxnSpPr>
          <p:spPr>
            <a:xfrm flipV="1">
              <a:off x="8909603" y="2685327"/>
              <a:ext cx="0" cy="3240391"/>
            </a:xfrm>
            <a:prstGeom prst="line">
              <a:avLst/>
            </a:prstGeom>
            <a:noFill/>
            <a:ln w="6350" cap="rnd" cmpd="sng" algn="ctr">
              <a:solidFill>
                <a:schemeClr val="tx1">
                  <a:lumMod val="75000"/>
                  <a:lumOff val="25000"/>
                </a:schemeClr>
              </a:solidFill>
              <a:prstDash val="solid"/>
              <a:headEnd type="none"/>
              <a:tailEnd type="none"/>
            </a:ln>
            <a:effectLst/>
          </p:spPr>
        </p:cxn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9" name="Rectangle: Rounded Corners 8">
            <a:extLst>
              <a:ext uri="{FF2B5EF4-FFF2-40B4-BE49-F238E27FC236}">
                <a16:creationId xmlns:a16="http://schemas.microsoft.com/office/drawing/2014/main" id="{D1A1CF48-FDB4-2453-DEA3-DAEEEF8272D1}"/>
              </a:ext>
            </a:extLst>
          </p:cNvPr>
          <p:cNvSpPr/>
          <p:nvPr userDrawn="1"/>
        </p:nvSpPr>
        <p:spPr bwMode="auto">
          <a:xfrm>
            <a:off x="1328179"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9B52C5C2-23EF-C173-9461-D6238C0F1FDC}"/>
              </a:ext>
            </a:extLst>
          </p:cNvPr>
          <p:cNvSpPr/>
          <p:nvPr userDrawn="1"/>
        </p:nvSpPr>
        <p:spPr bwMode="auto">
          <a:xfrm>
            <a:off x="7053675"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89EDF4B8-AC2E-81D5-0A9A-C796FF896F51}"/>
              </a:ext>
            </a:extLst>
          </p:cNvPr>
          <p:cNvSpPr/>
          <p:nvPr userDrawn="1"/>
        </p:nvSpPr>
        <p:spPr bwMode="auto">
          <a:xfrm>
            <a:off x="4190927"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7" name="Text Placeholder 19">
            <a:extLst>
              <a:ext uri="{FF2B5EF4-FFF2-40B4-BE49-F238E27FC236}">
                <a16:creationId xmlns:a16="http://schemas.microsoft.com/office/drawing/2014/main" id="{38C7F1F9-41A0-3F38-6900-C40F82B4D3B0}"/>
              </a:ext>
            </a:extLst>
          </p:cNvPr>
          <p:cNvSpPr>
            <a:spLocks noGrp="1"/>
          </p:cNvSpPr>
          <p:nvPr>
            <p:ph type="body" sz="quarter" idx="14" hasCustomPrompt="1"/>
          </p:nvPr>
        </p:nvSpPr>
        <p:spPr>
          <a:xfrm>
            <a:off x="703044"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8" name="Text Placeholder 19">
            <a:extLst>
              <a:ext uri="{FF2B5EF4-FFF2-40B4-BE49-F238E27FC236}">
                <a16:creationId xmlns:a16="http://schemas.microsoft.com/office/drawing/2014/main" id="{3DC3240E-E79E-D32C-2E22-CFE47470E328}"/>
              </a:ext>
            </a:extLst>
          </p:cNvPr>
          <p:cNvSpPr>
            <a:spLocks noGrp="1"/>
          </p:cNvSpPr>
          <p:nvPr>
            <p:ph type="body" sz="quarter" idx="15" hasCustomPrompt="1"/>
          </p:nvPr>
        </p:nvSpPr>
        <p:spPr>
          <a:xfrm>
            <a:off x="3565792"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9" name="Text Placeholder 19">
            <a:extLst>
              <a:ext uri="{FF2B5EF4-FFF2-40B4-BE49-F238E27FC236}">
                <a16:creationId xmlns:a16="http://schemas.microsoft.com/office/drawing/2014/main" id="{CF99506B-EA7C-DEAE-E6FC-7D430A71D41F}"/>
              </a:ext>
            </a:extLst>
          </p:cNvPr>
          <p:cNvSpPr>
            <a:spLocks noGrp="1"/>
          </p:cNvSpPr>
          <p:nvPr>
            <p:ph type="body" sz="quarter" idx="16" hasCustomPrompt="1"/>
          </p:nvPr>
        </p:nvSpPr>
        <p:spPr>
          <a:xfrm>
            <a:off x="6428540"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6" name="Text Placeholder 19">
            <a:extLst>
              <a:ext uri="{FF2B5EF4-FFF2-40B4-BE49-F238E27FC236}">
                <a16:creationId xmlns:a16="http://schemas.microsoft.com/office/drawing/2014/main" id="{7BF2D831-7832-24DC-0645-8A050ED5DEDE}"/>
              </a:ext>
            </a:extLst>
          </p:cNvPr>
          <p:cNvSpPr>
            <a:spLocks noGrp="1"/>
          </p:cNvSpPr>
          <p:nvPr>
            <p:ph type="body" sz="quarter" idx="18" hasCustomPrompt="1"/>
          </p:nvPr>
        </p:nvSpPr>
        <p:spPr>
          <a:xfrm>
            <a:off x="9291287" y="4737206"/>
            <a:ext cx="2197669"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7" name="Rectangle: Rounded Corners 6">
            <a:extLst>
              <a:ext uri="{FF2B5EF4-FFF2-40B4-BE49-F238E27FC236}">
                <a16:creationId xmlns:a16="http://schemas.microsoft.com/office/drawing/2014/main" id="{495941A9-8720-748E-4C3B-59437BDF7D3B}"/>
              </a:ext>
            </a:extLst>
          </p:cNvPr>
          <p:cNvSpPr/>
          <p:nvPr userDrawn="1"/>
        </p:nvSpPr>
        <p:spPr bwMode="auto">
          <a:xfrm>
            <a:off x="9916423"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1" name="Text Placeholder 10">
            <a:extLst>
              <a:ext uri="{FF2B5EF4-FFF2-40B4-BE49-F238E27FC236}">
                <a16:creationId xmlns:a16="http://schemas.microsoft.com/office/drawing/2014/main" id="{3B67E975-8DC0-20E7-626F-D802C98103A6}"/>
              </a:ext>
            </a:extLst>
          </p:cNvPr>
          <p:cNvSpPr>
            <a:spLocks noGrp="1"/>
          </p:cNvSpPr>
          <p:nvPr>
            <p:ph type="body" sz="quarter" idx="19" hasCustomPrompt="1"/>
          </p:nvPr>
        </p:nvSpPr>
        <p:spPr>
          <a:xfrm>
            <a:off x="703044"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3" name="Text Placeholder 10">
            <a:extLst>
              <a:ext uri="{FF2B5EF4-FFF2-40B4-BE49-F238E27FC236}">
                <a16:creationId xmlns:a16="http://schemas.microsoft.com/office/drawing/2014/main" id="{C97ADC73-21EC-F159-BA97-87FE6C73945A}"/>
              </a:ext>
            </a:extLst>
          </p:cNvPr>
          <p:cNvSpPr>
            <a:spLocks noGrp="1"/>
          </p:cNvSpPr>
          <p:nvPr>
            <p:ph type="body" sz="quarter" idx="20" hasCustomPrompt="1"/>
          </p:nvPr>
        </p:nvSpPr>
        <p:spPr>
          <a:xfrm>
            <a:off x="3565791"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4" name="Text Placeholder 10">
            <a:extLst>
              <a:ext uri="{FF2B5EF4-FFF2-40B4-BE49-F238E27FC236}">
                <a16:creationId xmlns:a16="http://schemas.microsoft.com/office/drawing/2014/main" id="{D1E787BF-A707-655D-D30A-11044B418E8F}"/>
              </a:ext>
            </a:extLst>
          </p:cNvPr>
          <p:cNvSpPr>
            <a:spLocks noGrp="1"/>
          </p:cNvSpPr>
          <p:nvPr>
            <p:ph type="body" sz="quarter" idx="21" hasCustomPrompt="1"/>
          </p:nvPr>
        </p:nvSpPr>
        <p:spPr>
          <a:xfrm>
            <a:off x="6428538"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5" name="Text Placeholder 10">
            <a:extLst>
              <a:ext uri="{FF2B5EF4-FFF2-40B4-BE49-F238E27FC236}">
                <a16:creationId xmlns:a16="http://schemas.microsoft.com/office/drawing/2014/main" id="{22BAE3DD-F35A-114D-4C89-FBD0F67EE6C5}"/>
              </a:ext>
            </a:extLst>
          </p:cNvPr>
          <p:cNvSpPr>
            <a:spLocks noGrp="1"/>
          </p:cNvSpPr>
          <p:nvPr>
            <p:ph type="body" sz="quarter" idx="22" hasCustomPrompt="1"/>
          </p:nvPr>
        </p:nvSpPr>
        <p:spPr>
          <a:xfrm>
            <a:off x="9291285" y="4085732"/>
            <a:ext cx="2197669"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22" name="Text Placeholder 21">
            <a:extLst>
              <a:ext uri="{FF2B5EF4-FFF2-40B4-BE49-F238E27FC236}">
                <a16:creationId xmlns:a16="http://schemas.microsoft.com/office/drawing/2014/main" id="{F6AA2DA9-12FD-D909-BE35-4C504DA4CD8A}"/>
              </a:ext>
            </a:extLst>
          </p:cNvPr>
          <p:cNvSpPr>
            <a:spLocks noGrp="1"/>
          </p:cNvSpPr>
          <p:nvPr>
            <p:ph type="body" sz="quarter" idx="23" hasCustomPrompt="1"/>
          </p:nvPr>
        </p:nvSpPr>
        <p:spPr>
          <a:xfrm>
            <a:off x="703044" y="3372193"/>
            <a:ext cx="2197669"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
        <p:nvSpPr>
          <p:cNvPr id="23" name="Text Placeholder 21">
            <a:extLst>
              <a:ext uri="{FF2B5EF4-FFF2-40B4-BE49-F238E27FC236}">
                <a16:creationId xmlns:a16="http://schemas.microsoft.com/office/drawing/2014/main" id="{B7604B90-12A3-DA13-4242-D50E28696462}"/>
              </a:ext>
            </a:extLst>
          </p:cNvPr>
          <p:cNvSpPr>
            <a:spLocks noGrp="1"/>
          </p:cNvSpPr>
          <p:nvPr>
            <p:ph type="body" sz="quarter" idx="24" hasCustomPrompt="1"/>
          </p:nvPr>
        </p:nvSpPr>
        <p:spPr>
          <a:xfrm>
            <a:off x="3565791" y="3372193"/>
            <a:ext cx="2197669"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
        <p:nvSpPr>
          <p:cNvPr id="26" name="Text Placeholder 21">
            <a:extLst>
              <a:ext uri="{FF2B5EF4-FFF2-40B4-BE49-F238E27FC236}">
                <a16:creationId xmlns:a16="http://schemas.microsoft.com/office/drawing/2014/main" id="{1A984381-3273-BF62-5083-4A2D19FC9CB5}"/>
              </a:ext>
            </a:extLst>
          </p:cNvPr>
          <p:cNvSpPr>
            <a:spLocks noGrp="1"/>
          </p:cNvSpPr>
          <p:nvPr>
            <p:ph type="body" sz="quarter" idx="25" hasCustomPrompt="1"/>
          </p:nvPr>
        </p:nvSpPr>
        <p:spPr>
          <a:xfrm>
            <a:off x="6428538" y="3372193"/>
            <a:ext cx="2197669"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
        <p:nvSpPr>
          <p:cNvPr id="30" name="Text Placeholder 21">
            <a:extLst>
              <a:ext uri="{FF2B5EF4-FFF2-40B4-BE49-F238E27FC236}">
                <a16:creationId xmlns:a16="http://schemas.microsoft.com/office/drawing/2014/main" id="{0B16A294-1908-F54E-B0D1-E35A27601C8F}"/>
              </a:ext>
            </a:extLst>
          </p:cNvPr>
          <p:cNvSpPr>
            <a:spLocks noGrp="1"/>
          </p:cNvSpPr>
          <p:nvPr>
            <p:ph type="body" sz="quarter" idx="26" hasCustomPrompt="1"/>
          </p:nvPr>
        </p:nvSpPr>
        <p:spPr>
          <a:xfrm>
            <a:off x="9291285" y="3372193"/>
            <a:ext cx="2197669"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Tree>
    <p:extLst>
      <p:ext uri="{BB962C8B-B14F-4D97-AF65-F5344CB8AC3E}">
        <p14:creationId xmlns:p14="http://schemas.microsoft.com/office/powerpoint/2010/main" val="3577049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519DDB03-6BD6-4A26-6AC2-A95368278A95}"/>
              </a:ext>
              <a:ext uri="{C183D7F6-B498-43B3-948B-1728B52AA6E4}">
                <adec:decorative xmlns:adec="http://schemas.microsoft.com/office/drawing/2017/decorative" val="1"/>
              </a:ext>
            </a:extLst>
          </p:cNvPr>
          <p:cNvSpPr>
            <a:spLocks/>
          </p:cNvSpPr>
          <p:nvPr userDrawn="1"/>
        </p:nvSpPr>
        <p:spPr bwMode="auto">
          <a:xfrm>
            <a:off x="0" y="2670054"/>
            <a:ext cx="12192000" cy="335337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7" name="Straight Connector 16">
            <a:extLst>
              <a:ext uri="{FF2B5EF4-FFF2-40B4-BE49-F238E27FC236}">
                <a16:creationId xmlns:a16="http://schemas.microsoft.com/office/drawing/2014/main" id="{4763161D-37C5-BDBD-727C-8701E3368882}"/>
              </a:ext>
            </a:extLst>
          </p:cNvPr>
          <p:cNvCxnSpPr>
            <a:cxnSpLocks/>
          </p:cNvCxnSpPr>
          <p:nvPr/>
        </p:nvCxnSpPr>
        <p:spPr>
          <a:xfrm flipV="1">
            <a:off x="4096883" y="2726546"/>
            <a:ext cx="0" cy="3240391"/>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D4B2DBC1-0E04-9CBB-E2F5-736E1C77B3DD}"/>
              </a:ext>
            </a:extLst>
          </p:cNvPr>
          <p:cNvCxnSpPr>
            <a:cxnSpLocks/>
          </p:cNvCxnSpPr>
          <p:nvPr/>
        </p:nvCxnSpPr>
        <p:spPr>
          <a:xfrm flipV="1">
            <a:off x="8095115" y="2726546"/>
            <a:ext cx="0" cy="3240391"/>
          </a:xfrm>
          <a:prstGeom prst="line">
            <a:avLst/>
          </a:prstGeom>
          <a:noFill/>
          <a:ln w="6350" cap="rnd" cmpd="sng" algn="ctr">
            <a:solidFill>
              <a:schemeClr val="tx1">
                <a:lumMod val="75000"/>
                <a:lumOff val="25000"/>
              </a:schemeClr>
            </a:solidFill>
            <a:prstDash val="solid"/>
            <a:headEnd type="none"/>
            <a:tailEnd type="none"/>
          </a:ln>
          <a:effectLst/>
        </p:spPr>
      </p:cxnSp>
      <p:sp>
        <p:nvSpPr>
          <p:cNvPr id="2" name="Title 1">
            <a:extLst>
              <a:ext uri="{FF2B5EF4-FFF2-40B4-BE49-F238E27FC236}">
                <a16:creationId xmlns:a16="http://schemas.microsoft.com/office/drawing/2014/main" id="{D0AAD849-7CFE-4AF7-A7C5-6BBD50C88C1A}"/>
              </a:ext>
            </a:extLst>
          </p:cNvPr>
          <p:cNvSpPr>
            <a:spLocks noGrp="1"/>
          </p:cNvSpPr>
          <p:nvPr userDrawn="1">
            <p:ph type="title"/>
          </p:nvPr>
        </p:nvSpPr>
        <p:spPr>
          <a:xfrm>
            <a:off x="588263" y="457200"/>
            <a:ext cx="11018520" cy="553998"/>
          </a:xfrm>
        </p:spPr>
        <p:txBody>
          <a:bodyPr/>
          <a:lstStyle/>
          <a:p>
            <a:r>
              <a:rPr lang="en-US"/>
              <a:t>Click to edit Master title style</a:t>
            </a:r>
          </a:p>
        </p:txBody>
      </p:sp>
      <p:sp>
        <p:nvSpPr>
          <p:cNvPr id="9" name="Rectangle: Rounded Corners 8">
            <a:extLst>
              <a:ext uri="{FF2B5EF4-FFF2-40B4-BE49-F238E27FC236}">
                <a16:creationId xmlns:a16="http://schemas.microsoft.com/office/drawing/2014/main" id="{D1A1CF48-FDB4-2453-DEA3-DAEEEF8272D1}"/>
              </a:ext>
            </a:extLst>
          </p:cNvPr>
          <p:cNvSpPr/>
          <p:nvPr userDrawn="1"/>
        </p:nvSpPr>
        <p:spPr bwMode="auto">
          <a:xfrm>
            <a:off x="1624068"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2" name="Rectangle: Rounded Corners 11">
            <a:extLst>
              <a:ext uri="{FF2B5EF4-FFF2-40B4-BE49-F238E27FC236}">
                <a16:creationId xmlns:a16="http://schemas.microsoft.com/office/drawing/2014/main" id="{89EDF4B8-AC2E-81D5-0A9A-C796FF896F51}"/>
              </a:ext>
            </a:extLst>
          </p:cNvPr>
          <p:cNvSpPr/>
          <p:nvPr userDrawn="1"/>
        </p:nvSpPr>
        <p:spPr bwMode="auto">
          <a:xfrm>
            <a:off x="5622300"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27" name="Text Placeholder 19">
            <a:extLst>
              <a:ext uri="{FF2B5EF4-FFF2-40B4-BE49-F238E27FC236}">
                <a16:creationId xmlns:a16="http://schemas.microsoft.com/office/drawing/2014/main" id="{38C7F1F9-41A0-3F38-6900-C40F82B4D3B0}"/>
              </a:ext>
            </a:extLst>
          </p:cNvPr>
          <p:cNvSpPr>
            <a:spLocks noGrp="1"/>
          </p:cNvSpPr>
          <p:nvPr userDrawn="1">
            <p:ph type="body" sz="quarter" idx="14" hasCustomPrompt="1"/>
          </p:nvPr>
        </p:nvSpPr>
        <p:spPr>
          <a:xfrm>
            <a:off x="703043" y="4737206"/>
            <a:ext cx="2789448"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28" name="Text Placeholder 19">
            <a:extLst>
              <a:ext uri="{FF2B5EF4-FFF2-40B4-BE49-F238E27FC236}">
                <a16:creationId xmlns:a16="http://schemas.microsoft.com/office/drawing/2014/main" id="{3DC3240E-E79E-D32C-2E22-CFE47470E328}"/>
              </a:ext>
            </a:extLst>
          </p:cNvPr>
          <p:cNvSpPr>
            <a:spLocks noGrp="1"/>
          </p:cNvSpPr>
          <p:nvPr userDrawn="1">
            <p:ph type="body" sz="quarter" idx="15" hasCustomPrompt="1"/>
          </p:nvPr>
        </p:nvSpPr>
        <p:spPr>
          <a:xfrm>
            <a:off x="4701276" y="4737206"/>
            <a:ext cx="2789448"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6" name="Text Placeholder 19">
            <a:extLst>
              <a:ext uri="{FF2B5EF4-FFF2-40B4-BE49-F238E27FC236}">
                <a16:creationId xmlns:a16="http://schemas.microsoft.com/office/drawing/2014/main" id="{7BF2D831-7832-24DC-0645-8A050ED5DEDE}"/>
              </a:ext>
            </a:extLst>
          </p:cNvPr>
          <p:cNvSpPr>
            <a:spLocks noGrp="1"/>
          </p:cNvSpPr>
          <p:nvPr userDrawn="1">
            <p:ph type="body" sz="quarter" idx="18" hasCustomPrompt="1"/>
          </p:nvPr>
        </p:nvSpPr>
        <p:spPr>
          <a:xfrm>
            <a:off x="8699509" y="4737206"/>
            <a:ext cx="2789448" cy="913591"/>
          </a:xfrm>
          <a:prstGeom prst="rect">
            <a:avLst/>
          </a:prstGeom>
        </p:spPr>
        <p:txBody>
          <a:bodyPr lIns="0" tIns="0" rIns="0" bIns="0"/>
          <a:lstStyle>
            <a:lvl1pPr marL="0" indent="0" algn="ctr">
              <a:buNone/>
              <a:defRPr kumimoji="0" lang="en-US" sz="1400" b="0" i="0" u="none" strike="noStrike" kern="1200" cap="none" spc="0" normalizeH="0" baseline="0" dirty="0">
                <a:ln>
                  <a:noFill/>
                </a:ln>
                <a:solidFill>
                  <a:srgbClr val="FFFFFF"/>
                </a:solidFill>
                <a:effectLst/>
                <a:uLnTx/>
                <a:uFillTx/>
                <a:latin typeface="+mj-lt"/>
                <a:ea typeface="+mn-ea"/>
                <a:cs typeface="Segoe UI Semilight"/>
              </a:defRPr>
            </a:lvl1pPr>
          </a:lstStyle>
          <a:p>
            <a:pPr marL="228600" marR="0" lvl="0" indent="-228600" algn="ctr" defTabSz="914400" rtl="0" eaLnBrk="1" fontAlgn="auto" latinLnBrk="0" hangingPunct="1">
              <a:spcBef>
                <a:spcPts val="600"/>
              </a:spcBef>
              <a:spcAft>
                <a:spcPts val="1200"/>
              </a:spcAft>
              <a:buClrTx/>
              <a:buSzTx/>
              <a:tabLst/>
              <a:defRPr/>
            </a:pPr>
            <a:r>
              <a:rPr lang="en-US"/>
              <a:t>Click to edit text</a:t>
            </a:r>
          </a:p>
        </p:txBody>
      </p:sp>
      <p:sp>
        <p:nvSpPr>
          <p:cNvPr id="7" name="Rectangle: Rounded Corners 6">
            <a:extLst>
              <a:ext uri="{FF2B5EF4-FFF2-40B4-BE49-F238E27FC236}">
                <a16:creationId xmlns:a16="http://schemas.microsoft.com/office/drawing/2014/main" id="{495941A9-8720-748E-4C3B-59437BDF7D3B}"/>
              </a:ext>
            </a:extLst>
          </p:cNvPr>
          <p:cNvSpPr/>
          <p:nvPr userDrawn="1"/>
        </p:nvSpPr>
        <p:spPr bwMode="auto">
          <a:xfrm>
            <a:off x="9620532"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1" name="Text Placeholder 10">
            <a:extLst>
              <a:ext uri="{FF2B5EF4-FFF2-40B4-BE49-F238E27FC236}">
                <a16:creationId xmlns:a16="http://schemas.microsoft.com/office/drawing/2014/main" id="{3B67E975-8DC0-20E7-626F-D802C98103A6}"/>
              </a:ext>
            </a:extLst>
          </p:cNvPr>
          <p:cNvSpPr>
            <a:spLocks noGrp="1"/>
          </p:cNvSpPr>
          <p:nvPr userDrawn="1">
            <p:ph type="body" sz="quarter" idx="19" hasCustomPrompt="1"/>
          </p:nvPr>
        </p:nvSpPr>
        <p:spPr>
          <a:xfrm>
            <a:off x="703043" y="4085732"/>
            <a:ext cx="2789448"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3" name="Text Placeholder 10">
            <a:extLst>
              <a:ext uri="{FF2B5EF4-FFF2-40B4-BE49-F238E27FC236}">
                <a16:creationId xmlns:a16="http://schemas.microsoft.com/office/drawing/2014/main" id="{C97ADC73-21EC-F159-BA97-87FE6C73945A}"/>
              </a:ext>
            </a:extLst>
          </p:cNvPr>
          <p:cNvSpPr>
            <a:spLocks noGrp="1"/>
          </p:cNvSpPr>
          <p:nvPr userDrawn="1">
            <p:ph type="body" sz="quarter" idx="20" hasCustomPrompt="1"/>
          </p:nvPr>
        </p:nvSpPr>
        <p:spPr>
          <a:xfrm>
            <a:off x="4701275" y="4085732"/>
            <a:ext cx="2789448" cy="492443"/>
          </a:xfrm>
          <a:prstGeom prst="rect">
            <a:avLst/>
          </a:prstGeom>
        </p:spPr>
        <p:txBody>
          <a:bodyPr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15" name="Text Placeholder 10">
            <a:extLst>
              <a:ext uri="{FF2B5EF4-FFF2-40B4-BE49-F238E27FC236}">
                <a16:creationId xmlns:a16="http://schemas.microsoft.com/office/drawing/2014/main" id="{22BAE3DD-F35A-114D-4C89-FBD0F67EE6C5}"/>
              </a:ext>
            </a:extLst>
          </p:cNvPr>
          <p:cNvSpPr>
            <a:spLocks noGrp="1"/>
          </p:cNvSpPr>
          <p:nvPr userDrawn="1">
            <p:ph type="body" sz="quarter" idx="22" hasCustomPrompt="1"/>
          </p:nvPr>
        </p:nvSpPr>
        <p:spPr>
          <a:xfrm>
            <a:off x="8699507" y="4085732"/>
            <a:ext cx="2789448" cy="492443"/>
          </a:xfrm>
          <a:prstGeom prst="rect">
            <a:avLst/>
          </a:prstGeom>
        </p:spPr>
        <p:txBody>
          <a:bodyPr wrap="square" lIns="0" tIns="0" rIns="0" bIns="0">
            <a:spAutoFit/>
          </a:bodyPr>
          <a:lstStyle>
            <a:lvl1pPr marL="0" indent="0" algn="ctr" defTabSz="932742" rtl="0" eaLnBrk="1" latinLnBrk="0" hangingPunct="1">
              <a:lnSpc>
                <a:spcPct val="100000"/>
              </a:lnSpc>
              <a:spcBef>
                <a:spcPct val="0"/>
              </a:spcBef>
              <a:buNone/>
              <a:defRPr kumimoji="0" lang="en-US" sz="32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2pPr>
            <a:lvl3pPr marL="457200"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3pPr>
            <a:lvl4pPr marL="661988" indent="0" algn="l" defTabSz="932742" rtl="0" eaLnBrk="1" latinLnBrk="0" hangingPunct="1">
              <a:lnSpc>
                <a:spcPct val="100000"/>
              </a:lnSpc>
              <a:spcBef>
                <a:spcPct val="0"/>
              </a:spcBef>
              <a:buNone/>
              <a:defRPr kumimoji="0" lang="en-US" sz="3600" b="0" i="0" u="none" strike="noStrike" kern="1200" cap="none" spc="0" normalizeH="0" baseline="0" dirty="0" smtClean="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4pPr>
            <a:lvl5pPr marL="855663"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5pPr>
          </a:lstStyle>
          <a:p>
            <a:pPr lvl="0"/>
            <a:r>
              <a:rPr lang="en-IN"/>
              <a:t>XX%</a:t>
            </a:r>
            <a:endParaRPr lang="en-US"/>
          </a:p>
        </p:txBody>
      </p:sp>
      <p:sp>
        <p:nvSpPr>
          <p:cNvPr id="22" name="Text Placeholder 21">
            <a:extLst>
              <a:ext uri="{FF2B5EF4-FFF2-40B4-BE49-F238E27FC236}">
                <a16:creationId xmlns:a16="http://schemas.microsoft.com/office/drawing/2014/main" id="{F6AA2DA9-12FD-D909-BE35-4C504DA4CD8A}"/>
              </a:ext>
            </a:extLst>
          </p:cNvPr>
          <p:cNvSpPr>
            <a:spLocks noGrp="1"/>
          </p:cNvSpPr>
          <p:nvPr userDrawn="1">
            <p:ph type="body" sz="quarter" idx="23" hasCustomPrompt="1"/>
          </p:nvPr>
        </p:nvSpPr>
        <p:spPr>
          <a:xfrm>
            <a:off x="703043" y="3372193"/>
            <a:ext cx="2789448"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
        <p:nvSpPr>
          <p:cNvPr id="23" name="Text Placeholder 21">
            <a:extLst>
              <a:ext uri="{FF2B5EF4-FFF2-40B4-BE49-F238E27FC236}">
                <a16:creationId xmlns:a16="http://schemas.microsoft.com/office/drawing/2014/main" id="{B7604B90-12A3-DA13-4242-D50E28696462}"/>
              </a:ext>
            </a:extLst>
          </p:cNvPr>
          <p:cNvSpPr>
            <a:spLocks noGrp="1"/>
          </p:cNvSpPr>
          <p:nvPr userDrawn="1">
            <p:ph type="body" sz="quarter" idx="24" hasCustomPrompt="1"/>
          </p:nvPr>
        </p:nvSpPr>
        <p:spPr>
          <a:xfrm>
            <a:off x="4701275" y="3372193"/>
            <a:ext cx="2789448"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
        <p:nvSpPr>
          <p:cNvPr id="30" name="Text Placeholder 21">
            <a:extLst>
              <a:ext uri="{FF2B5EF4-FFF2-40B4-BE49-F238E27FC236}">
                <a16:creationId xmlns:a16="http://schemas.microsoft.com/office/drawing/2014/main" id="{0B16A294-1908-F54E-B0D1-E35A27601C8F}"/>
              </a:ext>
            </a:extLst>
          </p:cNvPr>
          <p:cNvSpPr>
            <a:spLocks noGrp="1"/>
          </p:cNvSpPr>
          <p:nvPr userDrawn="1">
            <p:ph type="body" sz="quarter" idx="26" hasCustomPrompt="1"/>
          </p:nvPr>
        </p:nvSpPr>
        <p:spPr>
          <a:xfrm>
            <a:off x="8699507" y="3372193"/>
            <a:ext cx="2789448" cy="553998"/>
          </a:xfrm>
          <a:prstGeom prst="rect">
            <a:avLst/>
          </a:prstGeom>
        </p:spPr>
        <p:txBody>
          <a:bodyPr lIns="0" tIns="0" rIns="0" bIns="0"/>
          <a:lstStyle>
            <a:lvl1pPr marL="0" indent="0" algn="ctr">
              <a:buNone/>
              <a:defRPr kumimoji="0" lang="en-US" sz="1600" b="0" i="0" u="none" strike="noStrike" cap="none" normalizeH="0" smtClean="0">
                <a:ln>
                  <a:noFill/>
                </a:ln>
                <a:solidFill>
                  <a:schemeClr val="accent1">
                    <a:lumMod val="60000"/>
                    <a:lumOff val="40000"/>
                  </a:schemeClr>
                </a:solidFill>
                <a:effectLst/>
                <a:uLnTx/>
                <a:uFillTx/>
                <a:latin typeface="+mj-lt"/>
                <a:cs typeface="Segoe UI Semilight"/>
              </a:defRPr>
            </a:lvl1pPr>
            <a:lvl2pPr>
              <a:defRPr lang="en-US" smtClean="0"/>
            </a:lvl2pPr>
            <a:lvl3pPr>
              <a:defRPr lang="en-US" smtClean="0"/>
            </a:lvl3pPr>
            <a:lvl4pPr>
              <a:defRPr lang="en-US" smtClean="0"/>
            </a:lvl4pPr>
            <a:lvl5pPr>
              <a:defRPr lang="en-US"/>
            </a:lvl5pPr>
          </a:lstStyle>
          <a:p>
            <a:pPr marL="228600" lvl="0" indent="-228600" algn="ctr" defTabSz="914400">
              <a:spcBef>
                <a:spcPts val="0"/>
              </a:spcBef>
              <a:spcAft>
                <a:spcPts val="1200"/>
              </a:spcAft>
              <a:buSzTx/>
            </a:pPr>
            <a:r>
              <a:rPr lang="en-US"/>
              <a:t>Lorem Ipsum</a:t>
            </a:r>
          </a:p>
        </p:txBody>
      </p:sp>
    </p:spTree>
    <p:extLst>
      <p:ext uri="{BB962C8B-B14F-4D97-AF65-F5344CB8AC3E}">
        <p14:creationId xmlns:p14="http://schemas.microsoft.com/office/powerpoint/2010/main" val="72951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w/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C8AD704C-5418-B03A-9C44-EC5A4D3701D3}"/>
              </a:ext>
            </a:extLst>
          </p:cNvPr>
          <p:cNvCxnSpPr>
            <a:cxnSpLocks/>
          </p:cNvCxnSpPr>
          <p:nvPr userDrawn="1"/>
        </p:nvCxnSpPr>
        <p:spPr>
          <a:xfrm flipH="1">
            <a:off x="917745" y="5857874"/>
            <a:ext cx="279400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86513C79-A013-B0B6-BD4F-7C2CE60F83E5}"/>
              </a:ext>
            </a:extLst>
          </p:cNvPr>
          <p:cNvCxnSpPr>
            <a:cxnSpLocks/>
          </p:cNvCxnSpPr>
          <p:nvPr userDrawn="1"/>
        </p:nvCxnSpPr>
        <p:spPr>
          <a:xfrm flipH="1">
            <a:off x="4699795" y="5857874"/>
            <a:ext cx="279400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79918EB4-0FCF-B6F3-96C7-36B7A12C74A9}"/>
              </a:ext>
            </a:extLst>
          </p:cNvPr>
          <p:cNvCxnSpPr>
            <a:cxnSpLocks/>
          </p:cNvCxnSpPr>
          <p:nvPr userDrawn="1"/>
        </p:nvCxnSpPr>
        <p:spPr>
          <a:xfrm flipH="1">
            <a:off x="8481844" y="5857874"/>
            <a:ext cx="279400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5022ACEC-26E2-1D41-E561-EF8831010B7F}"/>
              </a:ext>
              <a:ext uri="{C183D7F6-B498-43B3-948B-1728B52AA6E4}">
                <adec:decorative xmlns:adec="http://schemas.microsoft.com/office/drawing/2017/decorative" val="1"/>
              </a:ext>
            </a:extLst>
          </p:cNvPr>
          <p:cNvSpPr>
            <a:spLocks/>
          </p:cNvSpPr>
          <p:nvPr userDrawn="1"/>
        </p:nvSpPr>
        <p:spPr bwMode="auto">
          <a:xfrm>
            <a:off x="584200" y="1436687"/>
            <a:ext cx="3461089" cy="4421187"/>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7" name="Rectangle: Rounded Corners 6">
            <a:extLst>
              <a:ext uri="{FF2B5EF4-FFF2-40B4-BE49-F238E27FC236}">
                <a16:creationId xmlns:a16="http://schemas.microsoft.com/office/drawing/2014/main" id="{F3036BD4-7E0B-0FBD-282E-61CFD297F070}"/>
              </a:ext>
              <a:ext uri="{C183D7F6-B498-43B3-948B-1728B52AA6E4}">
                <adec:decorative xmlns:adec="http://schemas.microsoft.com/office/drawing/2017/decorative" val="1"/>
              </a:ext>
            </a:extLst>
          </p:cNvPr>
          <p:cNvSpPr>
            <a:spLocks/>
          </p:cNvSpPr>
          <p:nvPr userDrawn="1"/>
        </p:nvSpPr>
        <p:spPr bwMode="auto">
          <a:xfrm>
            <a:off x="4366250" y="1436687"/>
            <a:ext cx="3461089" cy="4421187"/>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8" name="Rectangle: Rounded Corners 7">
            <a:extLst>
              <a:ext uri="{FF2B5EF4-FFF2-40B4-BE49-F238E27FC236}">
                <a16:creationId xmlns:a16="http://schemas.microsoft.com/office/drawing/2014/main" id="{C97C4353-3E45-1C82-62AE-82EA14AB395D}"/>
              </a:ext>
              <a:ext uri="{C183D7F6-B498-43B3-948B-1728B52AA6E4}">
                <adec:decorative xmlns:adec="http://schemas.microsoft.com/office/drawing/2017/decorative" val="1"/>
              </a:ext>
            </a:extLst>
          </p:cNvPr>
          <p:cNvSpPr>
            <a:spLocks/>
          </p:cNvSpPr>
          <p:nvPr userDrawn="1"/>
        </p:nvSpPr>
        <p:spPr bwMode="auto">
          <a:xfrm>
            <a:off x="8148299" y="1436687"/>
            <a:ext cx="3461089" cy="4421187"/>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9" name="Oval 8">
            <a:extLst>
              <a:ext uri="{FF2B5EF4-FFF2-40B4-BE49-F238E27FC236}">
                <a16:creationId xmlns:a16="http://schemas.microsoft.com/office/drawing/2014/main" id="{6F6A8C35-A9AC-8935-A8DA-6F7740462D9F}"/>
              </a:ext>
              <a:ext uri="{C183D7F6-B498-43B3-948B-1728B52AA6E4}">
                <adec:decorative xmlns:adec="http://schemas.microsoft.com/office/drawing/2017/decorative" val="1"/>
              </a:ext>
            </a:extLst>
          </p:cNvPr>
          <p:cNvSpPr/>
          <p:nvPr userDrawn="1"/>
        </p:nvSpPr>
        <p:spPr bwMode="auto">
          <a:xfrm>
            <a:off x="764013" y="1665665"/>
            <a:ext cx="883186" cy="8848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048FDA6A-1430-1C49-BBA1-FBEF881C9CEF}"/>
              </a:ext>
              <a:ext uri="{C183D7F6-B498-43B3-948B-1728B52AA6E4}">
                <adec:decorative xmlns:adec="http://schemas.microsoft.com/office/drawing/2017/decorative" val="1"/>
              </a:ext>
            </a:extLst>
          </p:cNvPr>
          <p:cNvSpPr/>
          <p:nvPr userDrawn="1"/>
        </p:nvSpPr>
        <p:spPr bwMode="auto">
          <a:xfrm>
            <a:off x="4546064" y="1665665"/>
            <a:ext cx="883186" cy="8848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C8F45DD1-3424-29F2-456D-295B4744358D}"/>
              </a:ext>
              <a:ext uri="{C183D7F6-B498-43B3-948B-1728B52AA6E4}">
                <adec:decorative xmlns:adec="http://schemas.microsoft.com/office/drawing/2017/decorative" val="1"/>
              </a:ext>
            </a:extLst>
          </p:cNvPr>
          <p:cNvSpPr/>
          <p:nvPr userDrawn="1"/>
        </p:nvSpPr>
        <p:spPr bwMode="auto">
          <a:xfrm>
            <a:off x="8328113" y="1665665"/>
            <a:ext cx="883186" cy="884844"/>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Text Placeholder 5">
            <a:extLst>
              <a:ext uri="{FF2B5EF4-FFF2-40B4-BE49-F238E27FC236}">
                <a16:creationId xmlns:a16="http://schemas.microsoft.com/office/drawing/2014/main" id="{368E500A-6635-74EE-D8FC-CAF074D901F2}"/>
              </a:ext>
            </a:extLst>
          </p:cNvPr>
          <p:cNvSpPr>
            <a:spLocks noGrp="1"/>
          </p:cNvSpPr>
          <p:nvPr>
            <p:ph type="body" sz="quarter" idx="21" hasCustomPrompt="1"/>
          </p:nvPr>
        </p:nvSpPr>
        <p:spPr>
          <a:xfrm>
            <a:off x="764013" y="2780828"/>
            <a:ext cx="3140330" cy="27699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20" name="Text Placeholder 5">
            <a:extLst>
              <a:ext uri="{FF2B5EF4-FFF2-40B4-BE49-F238E27FC236}">
                <a16:creationId xmlns:a16="http://schemas.microsoft.com/office/drawing/2014/main" id="{1C6AC8A0-C175-25D5-3799-EEB875860CA4}"/>
              </a:ext>
            </a:extLst>
          </p:cNvPr>
          <p:cNvSpPr>
            <a:spLocks noGrp="1"/>
          </p:cNvSpPr>
          <p:nvPr>
            <p:ph type="body" sz="quarter" idx="19" hasCustomPrompt="1"/>
          </p:nvPr>
        </p:nvSpPr>
        <p:spPr>
          <a:xfrm>
            <a:off x="4546064" y="2780828"/>
            <a:ext cx="3140330" cy="27699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18" name="Text Placeholder 5">
            <a:extLst>
              <a:ext uri="{FF2B5EF4-FFF2-40B4-BE49-F238E27FC236}">
                <a16:creationId xmlns:a16="http://schemas.microsoft.com/office/drawing/2014/main" id="{AE39ECF6-7A3D-0D93-47D7-74F2645ABB02}"/>
              </a:ext>
            </a:extLst>
          </p:cNvPr>
          <p:cNvSpPr>
            <a:spLocks noGrp="1"/>
          </p:cNvSpPr>
          <p:nvPr>
            <p:ph type="body" sz="quarter" idx="17" hasCustomPrompt="1"/>
          </p:nvPr>
        </p:nvSpPr>
        <p:spPr>
          <a:xfrm>
            <a:off x="8328113" y="2780828"/>
            <a:ext cx="3140330" cy="27699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23" name="Text Placeholder 5">
            <a:extLst>
              <a:ext uri="{FF2B5EF4-FFF2-40B4-BE49-F238E27FC236}">
                <a16:creationId xmlns:a16="http://schemas.microsoft.com/office/drawing/2014/main" id="{5A44F1E8-0937-DFDD-5A94-64E32D17B92C}"/>
              </a:ext>
            </a:extLst>
          </p:cNvPr>
          <p:cNvSpPr>
            <a:spLocks noGrp="1"/>
          </p:cNvSpPr>
          <p:nvPr>
            <p:ph type="body" sz="quarter" idx="22" hasCustomPrompt="1"/>
          </p:nvPr>
        </p:nvSpPr>
        <p:spPr>
          <a:xfrm>
            <a:off x="764013" y="3249253"/>
            <a:ext cx="3140330" cy="2280690"/>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
        <p:nvSpPr>
          <p:cNvPr id="21" name="Text Placeholder 5">
            <a:extLst>
              <a:ext uri="{FF2B5EF4-FFF2-40B4-BE49-F238E27FC236}">
                <a16:creationId xmlns:a16="http://schemas.microsoft.com/office/drawing/2014/main" id="{F67CD367-9043-9C01-7B32-F42A7B2C47E7}"/>
              </a:ext>
            </a:extLst>
          </p:cNvPr>
          <p:cNvSpPr>
            <a:spLocks noGrp="1"/>
          </p:cNvSpPr>
          <p:nvPr>
            <p:ph type="body" sz="quarter" idx="20" hasCustomPrompt="1"/>
          </p:nvPr>
        </p:nvSpPr>
        <p:spPr>
          <a:xfrm>
            <a:off x="4546064" y="3249253"/>
            <a:ext cx="3140330" cy="2280690"/>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
        <p:nvSpPr>
          <p:cNvPr id="19" name="Text Placeholder 5">
            <a:extLst>
              <a:ext uri="{FF2B5EF4-FFF2-40B4-BE49-F238E27FC236}">
                <a16:creationId xmlns:a16="http://schemas.microsoft.com/office/drawing/2014/main" id="{65ADB4EA-466F-0C64-24B2-CC4D7DE97A58}"/>
              </a:ext>
            </a:extLst>
          </p:cNvPr>
          <p:cNvSpPr>
            <a:spLocks noGrp="1"/>
          </p:cNvSpPr>
          <p:nvPr>
            <p:ph type="body" sz="quarter" idx="18" hasCustomPrompt="1"/>
          </p:nvPr>
        </p:nvSpPr>
        <p:spPr>
          <a:xfrm>
            <a:off x="8328113" y="3249253"/>
            <a:ext cx="3140330" cy="2280690"/>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Tree>
    <p:extLst>
      <p:ext uri="{BB962C8B-B14F-4D97-AF65-F5344CB8AC3E}">
        <p14:creationId xmlns:p14="http://schemas.microsoft.com/office/powerpoint/2010/main" val="3925827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w/ 4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2" name="Text Placeholder 5">
            <a:extLst>
              <a:ext uri="{FF2B5EF4-FFF2-40B4-BE49-F238E27FC236}">
                <a16:creationId xmlns:a16="http://schemas.microsoft.com/office/drawing/2014/main" id="{368E500A-6635-74EE-D8FC-CAF074D901F2}"/>
              </a:ext>
            </a:extLst>
          </p:cNvPr>
          <p:cNvSpPr>
            <a:spLocks noGrp="1"/>
          </p:cNvSpPr>
          <p:nvPr>
            <p:ph type="body" sz="quarter" idx="21" hasCustomPrompt="1"/>
          </p:nvPr>
        </p:nvSpPr>
        <p:spPr>
          <a:xfrm>
            <a:off x="717230" y="2494607"/>
            <a:ext cx="2323270" cy="20492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23" name="Text Placeholder 5">
            <a:extLst>
              <a:ext uri="{FF2B5EF4-FFF2-40B4-BE49-F238E27FC236}">
                <a16:creationId xmlns:a16="http://schemas.microsoft.com/office/drawing/2014/main" id="{5A44F1E8-0937-DFDD-5A94-64E32D17B92C}"/>
              </a:ext>
            </a:extLst>
          </p:cNvPr>
          <p:cNvSpPr>
            <a:spLocks noGrp="1"/>
          </p:cNvSpPr>
          <p:nvPr>
            <p:ph type="body" sz="quarter" idx="22" hasCustomPrompt="1"/>
          </p:nvPr>
        </p:nvSpPr>
        <p:spPr>
          <a:xfrm>
            <a:off x="717230" y="2891956"/>
            <a:ext cx="2323270" cy="2565415"/>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
        <p:nvSpPr>
          <p:cNvPr id="20" name="Text Placeholder 5">
            <a:extLst>
              <a:ext uri="{FF2B5EF4-FFF2-40B4-BE49-F238E27FC236}">
                <a16:creationId xmlns:a16="http://schemas.microsoft.com/office/drawing/2014/main" id="{1C6AC8A0-C175-25D5-3799-EEB875860CA4}"/>
              </a:ext>
            </a:extLst>
          </p:cNvPr>
          <p:cNvSpPr>
            <a:spLocks noGrp="1"/>
          </p:cNvSpPr>
          <p:nvPr>
            <p:ph type="body" sz="quarter" idx="19" hasCustomPrompt="1"/>
          </p:nvPr>
        </p:nvSpPr>
        <p:spPr>
          <a:xfrm>
            <a:off x="3537900" y="2494607"/>
            <a:ext cx="2323270" cy="20492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21" name="Text Placeholder 5">
            <a:extLst>
              <a:ext uri="{FF2B5EF4-FFF2-40B4-BE49-F238E27FC236}">
                <a16:creationId xmlns:a16="http://schemas.microsoft.com/office/drawing/2014/main" id="{F67CD367-9043-9C01-7B32-F42A7B2C47E7}"/>
              </a:ext>
            </a:extLst>
          </p:cNvPr>
          <p:cNvSpPr>
            <a:spLocks noGrp="1"/>
          </p:cNvSpPr>
          <p:nvPr>
            <p:ph type="body" sz="quarter" idx="20" hasCustomPrompt="1"/>
          </p:nvPr>
        </p:nvSpPr>
        <p:spPr>
          <a:xfrm>
            <a:off x="3537900" y="2891956"/>
            <a:ext cx="2323270" cy="2565415"/>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
        <p:nvSpPr>
          <p:cNvPr id="38" name="Text Placeholder 5">
            <a:extLst>
              <a:ext uri="{FF2B5EF4-FFF2-40B4-BE49-F238E27FC236}">
                <a16:creationId xmlns:a16="http://schemas.microsoft.com/office/drawing/2014/main" id="{E1150F4E-819B-ACD1-D13E-BF9680264E36}"/>
              </a:ext>
            </a:extLst>
          </p:cNvPr>
          <p:cNvSpPr>
            <a:spLocks noGrp="1"/>
          </p:cNvSpPr>
          <p:nvPr>
            <p:ph type="body" sz="quarter" idx="23" hasCustomPrompt="1"/>
          </p:nvPr>
        </p:nvSpPr>
        <p:spPr>
          <a:xfrm>
            <a:off x="9179239" y="2494607"/>
            <a:ext cx="2323270" cy="20492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39" name="Text Placeholder 5">
            <a:extLst>
              <a:ext uri="{FF2B5EF4-FFF2-40B4-BE49-F238E27FC236}">
                <a16:creationId xmlns:a16="http://schemas.microsoft.com/office/drawing/2014/main" id="{F4C64EDB-DD1F-1ED0-6172-EB8C4750617E}"/>
              </a:ext>
            </a:extLst>
          </p:cNvPr>
          <p:cNvSpPr>
            <a:spLocks noGrp="1"/>
          </p:cNvSpPr>
          <p:nvPr>
            <p:ph type="body" sz="quarter" idx="24" hasCustomPrompt="1"/>
          </p:nvPr>
        </p:nvSpPr>
        <p:spPr>
          <a:xfrm>
            <a:off x="9179239" y="2891956"/>
            <a:ext cx="2323270" cy="2565415"/>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
        <p:nvSpPr>
          <p:cNvPr id="18" name="Text Placeholder 5">
            <a:extLst>
              <a:ext uri="{FF2B5EF4-FFF2-40B4-BE49-F238E27FC236}">
                <a16:creationId xmlns:a16="http://schemas.microsoft.com/office/drawing/2014/main" id="{AE39ECF6-7A3D-0D93-47D7-74F2645ABB02}"/>
              </a:ext>
            </a:extLst>
          </p:cNvPr>
          <p:cNvSpPr>
            <a:spLocks noGrp="1"/>
          </p:cNvSpPr>
          <p:nvPr>
            <p:ph type="body" sz="quarter" idx="17" hasCustomPrompt="1"/>
          </p:nvPr>
        </p:nvSpPr>
        <p:spPr>
          <a:xfrm>
            <a:off x="6358570" y="2494607"/>
            <a:ext cx="2323270" cy="204929"/>
          </a:xfrm>
          <a:prstGeom prst="rect">
            <a:avLst/>
          </a:prstGeom>
        </p:spPr>
        <p:txBody>
          <a:bodyPr wrap="square" lIns="0" tIns="0" rIns="0" bIns="0">
            <a:spAutoFit/>
          </a:bodyPr>
          <a:lstStyle>
            <a:lvl1pPr marL="0" indent="0" algn="l">
              <a:buNone/>
              <a:defRPr sz="1800">
                <a:solidFill>
                  <a:schemeClr val="accent1">
                    <a:lumMod val="60000"/>
                    <a:lumOff val="40000"/>
                  </a:schemeClr>
                </a:solidFill>
                <a:latin typeface="+mj-lt"/>
              </a:defRPr>
            </a:lvl1pPr>
          </a:lstStyle>
          <a:p>
            <a:pPr lvl="0"/>
            <a:r>
              <a:rPr lang="en-US"/>
              <a:t>Title goes here</a:t>
            </a:r>
          </a:p>
        </p:txBody>
      </p:sp>
      <p:sp>
        <p:nvSpPr>
          <p:cNvPr id="19" name="Text Placeholder 5">
            <a:extLst>
              <a:ext uri="{FF2B5EF4-FFF2-40B4-BE49-F238E27FC236}">
                <a16:creationId xmlns:a16="http://schemas.microsoft.com/office/drawing/2014/main" id="{65ADB4EA-466F-0C64-24B2-CC4D7DE97A58}"/>
              </a:ext>
            </a:extLst>
          </p:cNvPr>
          <p:cNvSpPr>
            <a:spLocks noGrp="1"/>
          </p:cNvSpPr>
          <p:nvPr>
            <p:ph type="body" sz="quarter" idx="18" hasCustomPrompt="1"/>
          </p:nvPr>
        </p:nvSpPr>
        <p:spPr>
          <a:xfrm>
            <a:off x="6358570" y="2891956"/>
            <a:ext cx="2323270" cy="2565415"/>
          </a:xfrm>
          <a:prstGeom prst="rect">
            <a:avLst/>
          </a:prstGeom>
        </p:spPr>
        <p:txBody>
          <a:bodyPr lIns="0" tIns="0" rIns="0" bIns="0">
            <a:noAutofit/>
          </a:bodyPr>
          <a:lstStyle>
            <a:lvl1pPr marL="0" indent="0" algn="l">
              <a:buNone/>
              <a:defRPr sz="1800">
                <a:solidFill>
                  <a:schemeClr val="bg1"/>
                </a:solidFill>
                <a:latin typeface="+mn-lt"/>
              </a:defRPr>
            </a:lvl1pPr>
          </a:lstStyle>
          <a:p>
            <a:pPr lvl="0"/>
            <a:r>
              <a:rPr lang="en-US"/>
              <a:t>Text goes here</a:t>
            </a:r>
          </a:p>
        </p:txBody>
      </p:sp>
    </p:spTree>
    <p:extLst>
      <p:ext uri="{BB962C8B-B14F-4D97-AF65-F5344CB8AC3E}">
        <p14:creationId xmlns:p14="http://schemas.microsoft.com/office/powerpoint/2010/main" val="33144287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w/ 5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6DC27FA2-6443-FC86-A864-65B1C177412F}"/>
              </a:ext>
            </a:extLst>
          </p:cNvPr>
          <p:cNvCxnSpPr>
            <a:cxnSpLocks/>
          </p:cNvCxnSpPr>
          <p:nvPr userDrawn="1"/>
        </p:nvCxnSpPr>
        <p:spPr>
          <a:xfrm flipH="1">
            <a:off x="7353989" y="6269038"/>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A8C6FEDC-C698-8E2C-6876-E8C0A71C74DB}"/>
              </a:ext>
              <a:ext uri="{C183D7F6-B498-43B3-948B-1728B52AA6E4}">
                <adec:decorative xmlns:adec="http://schemas.microsoft.com/office/drawing/2017/decorative" val="1"/>
              </a:ext>
            </a:extLst>
          </p:cNvPr>
          <p:cNvSpPr>
            <a:spLocks/>
          </p:cNvSpPr>
          <p:nvPr userDrawn="1"/>
        </p:nvSpPr>
        <p:spPr bwMode="auto">
          <a:xfrm>
            <a:off x="7317326" y="1436688"/>
            <a:ext cx="2047687" cy="4832350"/>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a:solidFill>
                <a:srgbClr val="FFFFFF"/>
              </a:solidFill>
              <a:latin typeface="Segoe UI"/>
              <a:cs typeface="Segoe UI" pitchFamily="34" charset="0"/>
            </a:endParaRPr>
          </a:p>
        </p:txBody>
      </p:sp>
      <p:sp>
        <p:nvSpPr>
          <p:cNvPr id="5" name="Oval 4">
            <a:extLst>
              <a:ext uri="{FF2B5EF4-FFF2-40B4-BE49-F238E27FC236}">
                <a16:creationId xmlns:a16="http://schemas.microsoft.com/office/drawing/2014/main" id="{65E87F5D-DD1C-E25A-84C4-2B473E9A3C99}"/>
              </a:ext>
              <a:ext uri="{C183D7F6-B498-43B3-948B-1728B52AA6E4}">
                <adec:decorative xmlns:adec="http://schemas.microsoft.com/office/drawing/2017/decorative" val="1"/>
              </a:ext>
            </a:extLst>
          </p:cNvPr>
          <p:cNvSpPr/>
          <p:nvPr userDrawn="1"/>
        </p:nvSpPr>
        <p:spPr bwMode="auto">
          <a:xfrm>
            <a:off x="7423709" y="1621999"/>
            <a:ext cx="522520" cy="5212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 name="Text Placeholder 5">
            <a:extLst>
              <a:ext uri="{FF2B5EF4-FFF2-40B4-BE49-F238E27FC236}">
                <a16:creationId xmlns:a16="http://schemas.microsoft.com/office/drawing/2014/main" id="{AE39ECF6-7A3D-0D93-47D7-74F2645ABB02}"/>
              </a:ext>
            </a:extLst>
          </p:cNvPr>
          <p:cNvSpPr>
            <a:spLocks noGrp="1"/>
          </p:cNvSpPr>
          <p:nvPr>
            <p:ph type="body" sz="quarter" idx="17" hasCustomPrompt="1"/>
          </p:nvPr>
        </p:nvSpPr>
        <p:spPr>
          <a:xfrm>
            <a:off x="7423710" y="2340002"/>
            <a:ext cx="1857917" cy="246221"/>
          </a:xfrm>
          <a:prstGeom prst="rect">
            <a:avLst/>
          </a:prstGeom>
        </p:spPr>
        <p:txBody>
          <a:bodyPr wrap="square" lIns="0" tIns="0" rIns="0" bIns="0">
            <a:spAutoFit/>
          </a:bodyPr>
          <a:lstStyle>
            <a:lvl1pPr marL="0" indent="0" algn="l">
              <a:buNone/>
              <a:defRPr sz="1600">
                <a:solidFill>
                  <a:schemeClr val="accent1">
                    <a:lumMod val="60000"/>
                    <a:lumOff val="40000"/>
                  </a:schemeClr>
                </a:solidFill>
                <a:latin typeface="+mj-lt"/>
              </a:defRPr>
            </a:lvl1pPr>
          </a:lstStyle>
          <a:p>
            <a:pPr lvl="0"/>
            <a:r>
              <a:rPr lang="en-US"/>
              <a:t>Title goes here</a:t>
            </a:r>
          </a:p>
        </p:txBody>
      </p:sp>
      <p:sp>
        <p:nvSpPr>
          <p:cNvPr id="19" name="Text Placeholder 5">
            <a:extLst>
              <a:ext uri="{FF2B5EF4-FFF2-40B4-BE49-F238E27FC236}">
                <a16:creationId xmlns:a16="http://schemas.microsoft.com/office/drawing/2014/main" id="{65ADB4EA-466F-0C64-24B2-CC4D7DE97A58}"/>
              </a:ext>
            </a:extLst>
          </p:cNvPr>
          <p:cNvSpPr>
            <a:spLocks noGrp="1"/>
          </p:cNvSpPr>
          <p:nvPr>
            <p:ph type="body" sz="quarter" idx="18" hasCustomPrompt="1"/>
          </p:nvPr>
        </p:nvSpPr>
        <p:spPr>
          <a:xfrm>
            <a:off x="7423710" y="2679283"/>
            <a:ext cx="1857917" cy="3315117"/>
          </a:xfrm>
          <a:prstGeom prst="rect">
            <a:avLst/>
          </a:prstGeom>
        </p:spPr>
        <p:txBody>
          <a:bodyPr lIns="0" tIns="0" rIns="0" bIns="0">
            <a:noAutofit/>
          </a:bodyPr>
          <a:lstStyle>
            <a:lvl1pPr marL="0" indent="0" algn="l">
              <a:buNone/>
              <a:defRPr sz="1400">
                <a:solidFill>
                  <a:schemeClr val="bg1"/>
                </a:solidFill>
                <a:latin typeface="+mn-lt"/>
              </a:defRPr>
            </a:lvl1pPr>
          </a:lstStyle>
          <a:p>
            <a:pPr lvl="0"/>
            <a:r>
              <a:rPr lang="en-US"/>
              <a:t>Text goes here</a:t>
            </a:r>
          </a:p>
        </p:txBody>
      </p:sp>
      <p:cxnSp>
        <p:nvCxnSpPr>
          <p:cNvPr id="8" name="Straight Connector 7">
            <a:extLst>
              <a:ext uri="{FF2B5EF4-FFF2-40B4-BE49-F238E27FC236}">
                <a16:creationId xmlns:a16="http://schemas.microsoft.com/office/drawing/2014/main" id="{E6F04B43-F429-2B2A-F576-08E1B098A67D}"/>
              </a:ext>
            </a:extLst>
          </p:cNvPr>
          <p:cNvCxnSpPr>
            <a:cxnSpLocks/>
          </p:cNvCxnSpPr>
          <p:nvPr userDrawn="1"/>
        </p:nvCxnSpPr>
        <p:spPr>
          <a:xfrm flipH="1">
            <a:off x="9598364" y="6269038"/>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916C156C-68C4-ACBE-E234-A93005708AC1}"/>
              </a:ext>
              <a:ext uri="{C183D7F6-B498-43B3-948B-1728B52AA6E4}">
                <adec:decorative xmlns:adec="http://schemas.microsoft.com/office/drawing/2017/decorative" val="1"/>
              </a:ext>
            </a:extLst>
          </p:cNvPr>
          <p:cNvSpPr>
            <a:spLocks/>
          </p:cNvSpPr>
          <p:nvPr userDrawn="1"/>
        </p:nvSpPr>
        <p:spPr bwMode="auto">
          <a:xfrm>
            <a:off x="9561701" y="1436688"/>
            <a:ext cx="2047687" cy="4832350"/>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a:solidFill>
                <a:srgbClr val="FFFFFF"/>
              </a:solidFill>
              <a:latin typeface="Segoe UI"/>
              <a:cs typeface="Segoe UI" pitchFamily="34" charset="0"/>
            </a:endParaRPr>
          </a:p>
        </p:txBody>
      </p:sp>
      <p:sp>
        <p:nvSpPr>
          <p:cNvPr id="10" name="Oval 9">
            <a:extLst>
              <a:ext uri="{FF2B5EF4-FFF2-40B4-BE49-F238E27FC236}">
                <a16:creationId xmlns:a16="http://schemas.microsoft.com/office/drawing/2014/main" id="{3A6C684E-8572-CED3-BFAE-43F9FE7A347B}"/>
              </a:ext>
              <a:ext uri="{C183D7F6-B498-43B3-948B-1728B52AA6E4}">
                <adec:decorative xmlns:adec="http://schemas.microsoft.com/office/drawing/2017/decorative" val="1"/>
              </a:ext>
            </a:extLst>
          </p:cNvPr>
          <p:cNvSpPr/>
          <p:nvPr userDrawn="1"/>
        </p:nvSpPr>
        <p:spPr bwMode="auto">
          <a:xfrm>
            <a:off x="9668084" y="1621999"/>
            <a:ext cx="522520" cy="5212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8" name="Text Placeholder 5">
            <a:extLst>
              <a:ext uri="{FF2B5EF4-FFF2-40B4-BE49-F238E27FC236}">
                <a16:creationId xmlns:a16="http://schemas.microsoft.com/office/drawing/2014/main" id="{E1150F4E-819B-ACD1-D13E-BF9680264E36}"/>
              </a:ext>
            </a:extLst>
          </p:cNvPr>
          <p:cNvSpPr>
            <a:spLocks noGrp="1"/>
          </p:cNvSpPr>
          <p:nvPr>
            <p:ph type="body" sz="quarter" idx="23" hasCustomPrompt="1"/>
          </p:nvPr>
        </p:nvSpPr>
        <p:spPr>
          <a:xfrm>
            <a:off x="9668085" y="2340002"/>
            <a:ext cx="1857917" cy="246221"/>
          </a:xfrm>
          <a:prstGeom prst="rect">
            <a:avLst/>
          </a:prstGeom>
        </p:spPr>
        <p:txBody>
          <a:bodyPr wrap="square" lIns="0" tIns="0" rIns="0" bIns="0">
            <a:spAutoFit/>
          </a:bodyPr>
          <a:lstStyle>
            <a:lvl1pPr marL="0" indent="0" algn="l">
              <a:buNone/>
              <a:defRPr sz="1600">
                <a:solidFill>
                  <a:schemeClr val="accent1">
                    <a:lumMod val="60000"/>
                    <a:lumOff val="40000"/>
                  </a:schemeClr>
                </a:solidFill>
                <a:latin typeface="+mj-lt"/>
              </a:defRPr>
            </a:lvl1pPr>
          </a:lstStyle>
          <a:p>
            <a:pPr lvl="0"/>
            <a:r>
              <a:rPr lang="en-US"/>
              <a:t>Title goes here</a:t>
            </a:r>
          </a:p>
        </p:txBody>
      </p:sp>
      <p:sp>
        <p:nvSpPr>
          <p:cNvPr id="39" name="Text Placeholder 5">
            <a:extLst>
              <a:ext uri="{FF2B5EF4-FFF2-40B4-BE49-F238E27FC236}">
                <a16:creationId xmlns:a16="http://schemas.microsoft.com/office/drawing/2014/main" id="{F4C64EDB-DD1F-1ED0-6172-EB8C4750617E}"/>
              </a:ext>
            </a:extLst>
          </p:cNvPr>
          <p:cNvSpPr>
            <a:spLocks noGrp="1"/>
          </p:cNvSpPr>
          <p:nvPr>
            <p:ph type="body" sz="quarter" idx="24" hasCustomPrompt="1"/>
          </p:nvPr>
        </p:nvSpPr>
        <p:spPr>
          <a:xfrm>
            <a:off x="9668085" y="2679283"/>
            <a:ext cx="1857917" cy="3315117"/>
          </a:xfrm>
          <a:prstGeom prst="rect">
            <a:avLst/>
          </a:prstGeom>
        </p:spPr>
        <p:txBody>
          <a:bodyPr lIns="0" tIns="0" rIns="0" bIns="0">
            <a:noAutofit/>
          </a:bodyPr>
          <a:lstStyle>
            <a:lvl1pPr marL="0" indent="0" algn="l">
              <a:buNone/>
              <a:defRPr sz="1400">
                <a:solidFill>
                  <a:schemeClr val="bg1"/>
                </a:solidFill>
                <a:latin typeface="+mn-lt"/>
              </a:defRPr>
            </a:lvl1pPr>
          </a:lstStyle>
          <a:p>
            <a:pPr lvl="0"/>
            <a:r>
              <a:rPr lang="en-US"/>
              <a:t>Text goes here</a:t>
            </a:r>
          </a:p>
        </p:txBody>
      </p:sp>
      <p:cxnSp>
        <p:nvCxnSpPr>
          <p:cNvPr id="25" name="Straight Connector 24">
            <a:extLst>
              <a:ext uri="{FF2B5EF4-FFF2-40B4-BE49-F238E27FC236}">
                <a16:creationId xmlns:a16="http://schemas.microsoft.com/office/drawing/2014/main" id="{584CD533-90C0-B9E4-5BA9-B28DB7A0EBD4}"/>
              </a:ext>
            </a:extLst>
          </p:cNvPr>
          <p:cNvCxnSpPr>
            <a:cxnSpLocks/>
          </p:cNvCxnSpPr>
          <p:nvPr userDrawn="1"/>
        </p:nvCxnSpPr>
        <p:spPr>
          <a:xfrm flipH="1">
            <a:off x="5109614" y="6269038"/>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56E4A43F-3FBF-E9AB-050F-421F0BD25815}"/>
              </a:ext>
              <a:ext uri="{C183D7F6-B498-43B3-948B-1728B52AA6E4}">
                <adec:decorative xmlns:adec="http://schemas.microsoft.com/office/drawing/2017/decorative" val="1"/>
              </a:ext>
            </a:extLst>
          </p:cNvPr>
          <p:cNvSpPr>
            <a:spLocks/>
          </p:cNvSpPr>
          <p:nvPr userDrawn="1"/>
        </p:nvSpPr>
        <p:spPr bwMode="auto">
          <a:xfrm>
            <a:off x="5072951" y="1436688"/>
            <a:ext cx="2047687" cy="4832350"/>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a:solidFill>
                <a:srgbClr val="FFFFFF"/>
              </a:solidFill>
              <a:latin typeface="Segoe UI"/>
              <a:cs typeface="Segoe UI" pitchFamily="34" charset="0"/>
            </a:endParaRPr>
          </a:p>
        </p:txBody>
      </p:sp>
      <p:sp>
        <p:nvSpPr>
          <p:cNvPr id="29" name="Oval 28">
            <a:extLst>
              <a:ext uri="{FF2B5EF4-FFF2-40B4-BE49-F238E27FC236}">
                <a16:creationId xmlns:a16="http://schemas.microsoft.com/office/drawing/2014/main" id="{9AA94EFC-7BAF-9FD0-7C18-84B54E549023}"/>
              </a:ext>
              <a:ext uri="{C183D7F6-B498-43B3-948B-1728B52AA6E4}">
                <adec:decorative xmlns:adec="http://schemas.microsoft.com/office/drawing/2017/decorative" val="1"/>
              </a:ext>
            </a:extLst>
          </p:cNvPr>
          <p:cNvSpPr/>
          <p:nvPr userDrawn="1"/>
        </p:nvSpPr>
        <p:spPr bwMode="auto">
          <a:xfrm>
            <a:off x="5179334" y="1621999"/>
            <a:ext cx="522520" cy="5212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0" name="Text Placeholder 5">
            <a:extLst>
              <a:ext uri="{FF2B5EF4-FFF2-40B4-BE49-F238E27FC236}">
                <a16:creationId xmlns:a16="http://schemas.microsoft.com/office/drawing/2014/main" id="{1C6AC8A0-C175-25D5-3799-EEB875860CA4}"/>
              </a:ext>
            </a:extLst>
          </p:cNvPr>
          <p:cNvSpPr>
            <a:spLocks noGrp="1"/>
          </p:cNvSpPr>
          <p:nvPr>
            <p:ph type="body" sz="quarter" idx="19" hasCustomPrompt="1"/>
          </p:nvPr>
        </p:nvSpPr>
        <p:spPr>
          <a:xfrm>
            <a:off x="5179335" y="2340002"/>
            <a:ext cx="1857917" cy="246221"/>
          </a:xfrm>
          <a:prstGeom prst="rect">
            <a:avLst/>
          </a:prstGeom>
        </p:spPr>
        <p:txBody>
          <a:bodyPr wrap="square" lIns="0" tIns="0" rIns="0" bIns="0">
            <a:spAutoFit/>
          </a:bodyPr>
          <a:lstStyle>
            <a:lvl1pPr marL="0" indent="0" algn="l">
              <a:buNone/>
              <a:defRPr sz="1600">
                <a:solidFill>
                  <a:schemeClr val="accent1">
                    <a:lumMod val="60000"/>
                    <a:lumOff val="40000"/>
                  </a:schemeClr>
                </a:solidFill>
                <a:latin typeface="+mj-lt"/>
              </a:defRPr>
            </a:lvl1pPr>
          </a:lstStyle>
          <a:p>
            <a:pPr lvl="0"/>
            <a:r>
              <a:rPr lang="en-US"/>
              <a:t>Title goes here</a:t>
            </a:r>
          </a:p>
        </p:txBody>
      </p:sp>
      <p:sp>
        <p:nvSpPr>
          <p:cNvPr id="21" name="Text Placeholder 5">
            <a:extLst>
              <a:ext uri="{FF2B5EF4-FFF2-40B4-BE49-F238E27FC236}">
                <a16:creationId xmlns:a16="http://schemas.microsoft.com/office/drawing/2014/main" id="{F67CD367-9043-9C01-7B32-F42A7B2C47E7}"/>
              </a:ext>
            </a:extLst>
          </p:cNvPr>
          <p:cNvSpPr>
            <a:spLocks noGrp="1"/>
          </p:cNvSpPr>
          <p:nvPr>
            <p:ph type="body" sz="quarter" idx="20" hasCustomPrompt="1"/>
          </p:nvPr>
        </p:nvSpPr>
        <p:spPr>
          <a:xfrm>
            <a:off x="5179335" y="2679283"/>
            <a:ext cx="1857917" cy="3315117"/>
          </a:xfrm>
          <a:prstGeom prst="rect">
            <a:avLst/>
          </a:prstGeom>
        </p:spPr>
        <p:txBody>
          <a:bodyPr lIns="0" tIns="0" rIns="0" bIns="0">
            <a:noAutofit/>
          </a:bodyPr>
          <a:lstStyle>
            <a:lvl1pPr marL="0" indent="0" algn="l">
              <a:buNone/>
              <a:defRPr sz="1400">
                <a:solidFill>
                  <a:schemeClr val="bg1"/>
                </a:solidFill>
                <a:latin typeface="+mn-lt"/>
              </a:defRPr>
            </a:lvl1pPr>
          </a:lstStyle>
          <a:p>
            <a:pPr lvl="0"/>
            <a:r>
              <a:rPr lang="en-US"/>
              <a:t>Text goes here</a:t>
            </a:r>
          </a:p>
        </p:txBody>
      </p:sp>
      <p:cxnSp>
        <p:nvCxnSpPr>
          <p:cNvPr id="36" name="Straight Connector 35">
            <a:extLst>
              <a:ext uri="{FF2B5EF4-FFF2-40B4-BE49-F238E27FC236}">
                <a16:creationId xmlns:a16="http://schemas.microsoft.com/office/drawing/2014/main" id="{0A2000CD-A59F-1DF4-F3DC-BAA76DF5139C}"/>
              </a:ext>
            </a:extLst>
          </p:cNvPr>
          <p:cNvCxnSpPr>
            <a:cxnSpLocks/>
          </p:cNvCxnSpPr>
          <p:nvPr userDrawn="1"/>
        </p:nvCxnSpPr>
        <p:spPr>
          <a:xfrm flipH="1">
            <a:off x="2865239" y="6269038"/>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7" name="Rectangle: Rounded Corners 36">
            <a:extLst>
              <a:ext uri="{FF2B5EF4-FFF2-40B4-BE49-F238E27FC236}">
                <a16:creationId xmlns:a16="http://schemas.microsoft.com/office/drawing/2014/main" id="{9BDFF971-55F6-7011-6DD6-2C666801CD91}"/>
              </a:ext>
              <a:ext uri="{C183D7F6-B498-43B3-948B-1728B52AA6E4}">
                <adec:decorative xmlns:adec="http://schemas.microsoft.com/office/drawing/2017/decorative" val="1"/>
              </a:ext>
            </a:extLst>
          </p:cNvPr>
          <p:cNvSpPr>
            <a:spLocks/>
          </p:cNvSpPr>
          <p:nvPr userDrawn="1"/>
        </p:nvSpPr>
        <p:spPr bwMode="auto">
          <a:xfrm>
            <a:off x="2828576" y="1436688"/>
            <a:ext cx="2047687" cy="4832350"/>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a:solidFill>
                <a:srgbClr val="FFFFFF"/>
              </a:solidFill>
              <a:latin typeface="Segoe UI"/>
              <a:cs typeface="Segoe UI" pitchFamily="34" charset="0"/>
            </a:endParaRPr>
          </a:p>
        </p:txBody>
      </p:sp>
      <p:sp>
        <p:nvSpPr>
          <p:cNvPr id="40" name="Oval 39">
            <a:extLst>
              <a:ext uri="{FF2B5EF4-FFF2-40B4-BE49-F238E27FC236}">
                <a16:creationId xmlns:a16="http://schemas.microsoft.com/office/drawing/2014/main" id="{09D4919F-D690-D136-21C0-573EA8AF3A75}"/>
              </a:ext>
              <a:ext uri="{C183D7F6-B498-43B3-948B-1728B52AA6E4}">
                <adec:decorative xmlns:adec="http://schemas.microsoft.com/office/drawing/2017/decorative" val="1"/>
              </a:ext>
            </a:extLst>
          </p:cNvPr>
          <p:cNvSpPr/>
          <p:nvPr userDrawn="1"/>
        </p:nvSpPr>
        <p:spPr bwMode="auto">
          <a:xfrm>
            <a:off x="2934959" y="1621999"/>
            <a:ext cx="522520" cy="5212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2" name="Text Placeholder 5">
            <a:extLst>
              <a:ext uri="{FF2B5EF4-FFF2-40B4-BE49-F238E27FC236}">
                <a16:creationId xmlns:a16="http://schemas.microsoft.com/office/drawing/2014/main" id="{368E500A-6635-74EE-D8FC-CAF074D901F2}"/>
              </a:ext>
            </a:extLst>
          </p:cNvPr>
          <p:cNvSpPr>
            <a:spLocks noGrp="1"/>
          </p:cNvSpPr>
          <p:nvPr>
            <p:ph type="body" sz="quarter" idx="21" hasCustomPrompt="1"/>
          </p:nvPr>
        </p:nvSpPr>
        <p:spPr>
          <a:xfrm>
            <a:off x="2934960" y="2340002"/>
            <a:ext cx="1857917" cy="246221"/>
          </a:xfrm>
          <a:prstGeom prst="rect">
            <a:avLst/>
          </a:prstGeom>
        </p:spPr>
        <p:txBody>
          <a:bodyPr wrap="square" lIns="0" tIns="0" rIns="0" bIns="0">
            <a:spAutoFit/>
          </a:bodyPr>
          <a:lstStyle>
            <a:lvl1pPr marL="0" indent="0" algn="l">
              <a:buNone/>
              <a:defRPr sz="1600">
                <a:solidFill>
                  <a:schemeClr val="accent1">
                    <a:lumMod val="60000"/>
                    <a:lumOff val="40000"/>
                  </a:schemeClr>
                </a:solidFill>
                <a:latin typeface="+mj-lt"/>
              </a:defRPr>
            </a:lvl1pPr>
          </a:lstStyle>
          <a:p>
            <a:pPr lvl="0"/>
            <a:r>
              <a:rPr lang="en-US"/>
              <a:t>Title goes here</a:t>
            </a:r>
          </a:p>
        </p:txBody>
      </p:sp>
      <p:sp>
        <p:nvSpPr>
          <p:cNvPr id="23" name="Text Placeholder 5">
            <a:extLst>
              <a:ext uri="{FF2B5EF4-FFF2-40B4-BE49-F238E27FC236}">
                <a16:creationId xmlns:a16="http://schemas.microsoft.com/office/drawing/2014/main" id="{5A44F1E8-0937-DFDD-5A94-64E32D17B92C}"/>
              </a:ext>
            </a:extLst>
          </p:cNvPr>
          <p:cNvSpPr>
            <a:spLocks noGrp="1"/>
          </p:cNvSpPr>
          <p:nvPr>
            <p:ph type="body" sz="quarter" idx="22" hasCustomPrompt="1"/>
          </p:nvPr>
        </p:nvSpPr>
        <p:spPr>
          <a:xfrm>
            <a:off x="2934960" y="2679283"/>
            <a:ext cx="1857917" cy="3315117"/>
          </a:xfrm>
          <a:prstGeom prst="rect">
            <a:avLst/>
          </a:prstGeom>
        </p:spPr>
        <p:txBody>
          <a:bodyPr lIns="0" tIns="0" rIns="0" bIns="0">
            <a:noAutofit/>
          </a:bodyPr>
          <a:lstStyle>
            <a:lvl1pPr marL="0" indent="0" algn="l">
              <a:buNone/>
              <a:defRPr sz="1400">
                <a:solidFill>
                  <a:schemeClr val="bg1"/>
                </a:solidFill>
                <a:latin typeface="+mn-lt"/>
              </a:defRPr>
            </a:lvl1pPr>
          </a:lstStyle>
          <a:p>
            <a:pPr lvl="0"/>
            <a:r>
              <a:rPr lang="en-US"/>
              <a:t>Text goes here</a:t>
            </a:r>
          </a:p>
        </p:txBody>
      </p:sp>
      <p:cxnSp>
        <p:nvCxnSpPr>
          <p:cNvPr id="43" name="Straight Connector 42">
            <a:extLst>
              <a:ext uri="{FF2B5EF4-FFF2-40B4-BE49-F238E27FC236}">
                <a16:creationId xmlns:a16="http://schemas.microsoft.com/office/drawing/2014/main" id="{91D06923-9591-5E1F-78A0-AB7D0A65BE25}"/>
              </a:ext>
            </a:extLst>
          </p:cNvPr>
          <p:cNvCxnSpPr>
            <a:cxnSpLocks/>
          </p:cNvCxnSpPr>
          <p:nvPr userDrawn="1"/>
        </p:nvCxnSpPr>
        <p:spPr>
          <a:xfrm flipH="1">
            <a:off x="620864" y="6269038"/>
            <a:ext cx="197436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4" name="Rectangle: Rounded Corners 43">
            <a:extLst>
              <a:ext uri="{FF2B5EF4-FFF2-40B4-BE49-F238E27FC236}">
                <a16:creationId xmlns:a16="http://schemas.microsoft.com/office/drawing/2014/main" id="{127FE7BB-5F87-7F46-ECE7-D85804242F65}"/>
              </a:ext>
              <a:ext uri="{C183D7F6-B498-43B3-948B-1728B52AA6E4}">
                <adec:decorative xmlns:adec="http://schemas.microsoft.com/office/drawing/2017/decorative" val="1"/>
              </a:ext>
            </a:extLst>
          </p:cNvPr>
          <p:cNvSpPr>
            <a:spLocks/>
          </p:cNvSpPr>
          <p:nvPr userDrawn="1"/>
        </p:nvSpPr>
        <p:spPr bwMode="auto">
          <a:xfrm>
            <a:off x="584201" y="1436688"/>
            <a:ext cx="2047687" cy="4832350"/>
          </a:xfrm>
          <a:prstGeom prst="roundRect">
            <a:avLst>
              <a:gd name="adj" fmla="val 41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1600">
              <a:solidFill>
                <a:srgbClr val="FFFFFF"/>
              </a:solidFill>
              <a:latin typeface="Segoe UI"/>
              <a:cs typeface="Segoe UI" pitchFamily="34" charset="0"/>
            </a:endParaRPr>
          </a:p>
        </p:txBody>
      </p:sp>
      <p:sp>
        <p:nvSpPr>
          <p:cNvPr id="45" name="Oval 44">
            <a:extLst>
              <a:ext uri="{FF2B5EF4-FFF2-40B4-BE49-F238E27FC236}">
                <a16:creationId xmlns:a16="http://schemas.microsoft.com/office/drawing/2014/main" id="{E72931E9-A7E6-9FEA-F907-BE58D48D84BD}"/>
              </a:ext>
              <a:ext uri="{C183D7F6-B498-43B3-948B-1728B52AA6E4}">
                <adec:decorative xmlns:adec="http://schemas.microsoft.com/office/drawing/2017/decorative" val="1"/>
              </a:ext>
            </a:extLst>
          </p:cNvPr>
          <p:cNvSpPr/>
          <p:nvPr userDrawn="1"/>
        </p:nvSpPr>
        <p:spPr bwMode="auto">
          <a:xfrm>
            <a:off x="690584" y="1621999"/>
            <a:ext cx="522520" cy="52120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8" name="Text Placeholder 5">
            <a:extLst>
              <a:ext uri="{FF2B5EF4-FFF2-40B4-BE49-F238E27FC236}">
                <a16:creationId xmlns:a16="http://schemas.microsoft.com/office/drawing/2014/main" id="{AE244130-02EA-2188-7824-A89DE45FD79D}"/>
              </a:ext>
            </a:extLst>
          </p:cNvPr>
          <p:cNvSpPr>
            <a:spLocks noGrp="1"/>
          </p:cNvSpPr>
          <p:nvPr>
            <p:ph type="body" sz="quarter" idx="25" hasCustomPrompt="1"/>
          </p:nvPr>
        </p:nvSpPr>
        <p:spPr>
          <a:xfrm>
            <a:off x="690585" y="2340002"/>
            <a:ext cx="1857917" cy="246221"/>
          </a:xfrm>
          <a:prstGeom prst="rect">
            <a:avLst/>
          </a:prstGeom>
        </p:spPr>
        <p:txBody>
          <a:bodyPr wrap="square" lIns="0" tIns="0" rIns="0" bIns="0">
            <a:spAutoFit/>
          </a:bodyPr>
          <a:lstStyle>
            <a:lvl1pPr marL="0" indent="0" algn="l">
              <a:buNone/>
              <a:defRPr sz="1600">
                <a:solidFill>
                  <a:schemeClr val="accent1">
                    <a:lumMod val="60000"/>
                    <a:lumOff val="40000"/>
                  </a:schemeClr>
                </a:solidFill>
                <a:latin typeface="+mj-lt"/>
              </a:defRPr>
            </a:lvl1pPr>
          </a:lstStyle>
          <a:p>
            <a:pPr lvl="0"/>
            <a:r>
              <a:rPr lang="en-US"/>
              <a:t>Title goes here</a:t>
            </a:r>
          </a:p>
        </p:txBody>
      </p:sp>
      <p:sp>
        <p:nvSpPr>
          <p:cNvPr id="49" name="Text Placeholder 5">
            <a:extLst>
              <a:ext uri="{FF2B5EF4-FFF2-40B4-BE49-F238E27FC236}">
                <a16:creationId xmlns:a16="http://schemas.microsoft.com/office/drawing/2014/main" id="{68B7EB89-444A-DAD1-513F-443D6A3BDF85}"/>
              </a:ext>
            </a:extLst>
          </p:cNvPr>
          <p:cNvSpPr>
            <a:spLocks noGrp="1"/>
          </p:cNvSpPr>
          <p:nvPr>
            <p:ph type="body" sz="quarter" idx="26" hasCustomPrompt="1"/>
          </p:nvPr>
        </p:nvSpPr>
        <p:spPr>
          <a:xfrm>
            <a:off x="690585" y="2679283"/>
            <a:ext cx="1857917" cy="3315117"/>
          </a:xfrm>
          <a:prstGeom prst="rect">
            <a:avLst/>
          </a:prstGeom>
        </p:spPr>
        <p:txBody>
          <a:bodyPr lIns="0" tIns="0" rIns="0" bIns="0">
            <a:noAutofit/>
          </a:bodyPr>
          <a:lstStyle>
            <a:lvl1pPr marL="0" indent="0" algn="l">
              <a:buNone/>
              <a:defRPr sz="1400">
                <a:solidFill>
                  <a:schemeClr val="bg1"/>
                </a:solidFill>
                <a:latin typeface="+mn-lt"/>
              </a:defRPr>
            </a:lvl1pPr>
          </a:lstStyle>
          <a:p>
            <a:pPr lvl="0"/>
            <a:r>
              <a:rPr lang="en-US"/>
              <a:t>Text goes here</a:t>
            </a:r>
          </a:p>
        </p:txBody>
      </p:sp>
    </p:spTree>
    <p:extLst>
      <p:ext uri="{BB962C8B-B14F-4D97-AF65-F5344CB8AC3E}">
        <p14:creationId xmlns:p14="http://schemas.microsoft.com/office/powerpoint/2010/main" val="8716557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print">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44624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3784105"/>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w/ 3 pilla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a16="http://schemas.microsoft.com/office/drawing/2014/main" id="{FE2F7386-1456-5CC6-A179-C1CA6FCF45E4}"/>
              </a:ext>
            </a:extLst>
          </p:cNvPr>
          <p:cNvCxnSpPr>
            <a:cxnSpLocks/>
          </p:cNvCxnSpPr>
          <p:nvPr userDrawn="1"/>
        </p:nvCxnSpPr>
        <p:spPr>
          <a:xfrm flipH="1">
            <a:off x="4881195" y="2741693"/>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C8EAD1E-C574-721C-B047-96C7BDFE7832}"/>
              </a:ext>
            </a:extLst>
          </p:cNvPr>
          <p:cNvCxnSpPr>
            <a:cxnSpLocks/>
          </p:cNvCxnSpPr>
          <p:nvPr userDrawn="1"/>
        </p:nvCxnSpPr>
        <p:spPr>
          <a:xfrm flipH="1">
            <a:off x="8637588" y="2741693"/>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9201AFB-61EB-30E6-F78F-DB07DA06E5A5}"/>
              </a:ext>
            </a:extLst>
          </p:cNvPr>
          <p:cNvCxnSpPr>
            <a:cxnSpLocks/>
          </p:cNvCxnSpPr>
          <p:nvPr userDrawn="1"/>
        </p:nvCxnSpPr>
        <p:spPr>
          <a:xfrm flipH="1">
            <a:off x="1091182" y="2741693"/>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7CD8F93-C0D8-E1DD-5679-C1551DF4EF0E}"/>
              </a:ext>
            </a:extLst>
          </p:cNvPr>
          <p:cNvGrpSpPr/>
          <p:nvPr userDrawn="1"/>
        </p:nvGrpSpPr>
        <p:grpSpPr>
          <a:xfrm>
            <a:off x="1779523" y="1450865"/>
            <a:ext cx="1092198" cy="1177126"/>
            <a:chOff x="916226" y="1527419"/>
            <a:chExt cx="1181098" cy="1272938"/>
          </a:xfrm>
        </p:grpSpPr>
        <p:sp>
          <p:nvSpPr>
            <p:cNvPr id="7" name="Oval 6">
              <a:extLst>
                <a:ext uri="{FF2B5EF4-FFF2-40B4-BE49-F238E27FC236}">
                  <a16:creationId xmlns:a16="http://schemas.microsoft.com/office/drawing/2014/main" id="{6B0A8E6B-6260-A8B3-7DF0-8A78CD3830A1}"/>
                </a:ext>
              </a:extLst>
            </p:cNvPr>
            <p:cNvSpPr/>
            <p:nvPr/>
          </p:nvSpPr>
          <p:spPr bwMode="auto">
            <a:xfrm>
              <a:off x="916226"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8" name="Freeform: Shape 29">
              <a:extLst>
                <a:ext uri="{FF2B5EF4-FFF2-40B4-BE49-F238E27FC236}">
                  <a16:creationId xmlns:a16="http://schemas.microsoft.com/office/drawing/2014/main" id="{0C4E394E-6F80-CC11-9D5E-947ABF66DCC6}"/>
                </a:ext>
              </a:extLst>
            </p:cNvPr>
            <p:cNvSpPr/>
            <p:nvPr/>
          </p:nvSpPr>
          <p:spPr bwMode="auto">
            <a:xfrm>
              <a:off x="1023853"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a:extLst>
              <a:ext uri="{FF2B5EF4-FFF2-40B4-BE49-F238E27FC236}">
                <a16:creationId xmlns:a16="http://schemas.microsoft.com/office/drawing/2014/main" id="{873E2F8A-C236-28CC-EB9E-181F80554179}"/>
              </a:ext>
            </a:extLst>
          </p:cNvPr>
          <p:cNvGrpSpPr/>
          <p:nvPr userDrawn="1"/>
        </p:nvGrpSpPr>
        <p:grpSpPr>
          <a:xfrm>
            <a:off x="5569536" y="1450865"/>
            <a:ext cx="1092198" cy="1177126"/>
            <a:chOff x="3210839" y="1527419"/>
            <a:chExt cx="1181098" cy="1272938"/>
          </a:xfrm>
        </p:grpSpPr>
        <p:sp>
          <p:nvSpPr>
            <p:cNvPr id="10" name="Rectangle: Rounded Corners 9">
              <a:extLst>
                <a:ext uri="{FF2B5EF4-FFF2-40B4-BE49-F238E27FC236}">
                  <a16:creationId xmlns:a16="http://schemas.microsoft.com/office/drawing/2014/main" id="{6DBB5B2F-B00B-B9EE-44AE-8BAC1555B23B}"/>
                </a:ext>
              </a:extLst>
            </p:cNvPr>
            <p:cNvSpPr>
              <a:spLocks/>
            </p:cNvSpPr>
            <p:nvPr/>
          </p:nvSpPr>
          <p:spPr bwMode="auto">
            <a:xfrm>
              <a:off x="3210839" y="1527419"/>
              <a:ext cx="1181098" cy="1181097"/>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1" name="Freeform: Shape 33">
              <a:extLst>
                <a:ext uri="{FF2B5EF4-FFF2-40B4-BE49-F238E27FC236}">
                  <a16:creationId xmlns:a16="http://schemas.microsoft.com/office/drawing/2014/main" id="{7D712B30-41FD-4179-EE8E-D97BD6A6AF88}"/>
                </a:ext>
              </a:extLst>
            </p:cNvPr>
            <p:cNvSpPr/>
            <p:nvPr/>
          </p:nvSpPr>
          <p:spPr bwMode="auto">
            <a:xfrm>
              <a:off x="3318466"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2" name="Group 11">
            <a:extLst>
              <a:ext uri="{FF2B5EF4-FFF2-40B4-BE49-F238E27FC236}">
                <a16:creationId xmlns:a16="http://schemas.microsoft.com/office/drawing/2014/main" id="{D028E1C8-8959-6615-F130-A4FAF7BF5DB7}"/>
              </a:ext>
            </a:extLst>
          </p:cNvPr>
          <p:cNvGrpSpPr/>
          <p:nvPr userDrawn="1"/>
        </p:nvGrpSpPr>
        <p:grpSpPr>
          <a:xfrm>
            <a:off x="9325928" y="1450865"/>
            <a:ext cx="1092198" cy="1177126"/>
            <a:chOff x="5505452" y="1527419"/>
            <a:chExt cx="1181098" cy="1272938"/>
          </a:xfrm>
        </p:grpSpPr>
        <p:sp>
          <p:nvSpPr>
            <p:cNvPr id="13" name="Oval 12">
              <a:extLst>
                <a:ext uri="{FF2B5EF4-FFF2-40B4-BE49-F238E27FC236}">
                  <a16:creationId xmlns:a16="http://schemas.microsoft.com/office/drawing/2014/main" id="{9A254213-5CBA-1BD1-6426-BA76211C3A8C}"/>
                </a:ext>
              </a:extLst>
            </p:cNvPr>
            <p:cNvSpPr/>
            <p:nvPr/>
          </p:nvSpPr>
          <p:spPr bwMode="auto">
            <a:xfrm>
              <a:off x="5505452"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14" name="Freeform: Shape 36">
              <a:extLst>
                <a:ext uri="{FF2B5EF4-FFF2-40B4-BE49-F238E27FC236}">
                  <a16:creationId xmlns:a16="http://schemas.microsoft.com/office/drawing/2014/main" id="{CDF92E01-D671-D599-50C7-56ECCA7BBFC8}"/>
                </a:ext>
              </a:extLst>
            </p:cNvPr>
            <p:cNvSpPr/>
            <p:nvPr/>
          </p:nvSpPr>
          <p:spPr bwMode="auto">
            <a:xfrm>
              <a:off x="5613079"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Rectangle: Rounded Corners 14">
            <a:extLst>
              <a:ext uri="{FF2B5EF4-FFF2-40B4-BE49-F238E27FC236}">
                <a16:creationId xmlns:a16="http://schemas.microsoft.com/office/drawing/2014/main" id="{41BACCB2-8E56-6534-D3E4-971D71636CF4}"/>
              </a:ext>
            </a:extLst>
          </p:cNvPr>
          <p:cNvSpPr/>
          <p:nvPr userDrawn="1"/>
        </p:nvSpPr>
        <p:spPr>
          <a:xfrm>
            <a:off x="588262" y="2741693"/>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sp>
        <p:nvSpPr>
          <p:cNvPr id="16" name="Rectangle: Rounded Corners 15">
            <a:extLst>
              <a:ext uri="{FF2B5EF4-FFF2-40B4-BE49-F238E27FC236}">
                <a16:creationId xmlns:a16="http://schemas.microsoft.com/office/drawing/2014/main" id="{D33579B0-8083-75E5-233E-D354D2115B49}"/>
              </a:ext>
            </a:extLst>
          </p:cNvPr>
          <p:cNvSpPr/>
          <p:nvPr userDrawn="1"/>
        </p:nvSpPr>
        <p:spPr>
          <a:xfrm>
            <a:off x="4378275" y="2741693"/>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sp>
        <p:nvSpPr>
          <p:cNvPr id="17" name="Rectangle: Rounded Corners 16">
            <a:extLst>
              <a:ext uri="{FF2B5EF4-FFF2-40B4-BE49-F238E27FC236}">
                <a16:creationId xmlns:a16="http://schemas.microsoft.com/office/drawing/2014/main" id="{97E9ADD3-ED1F-8D3F-3450-6DB95F38680A}"/>
              </a:ext>
            </a:extLst>
          </p:cNvPr>
          <p:cNvSpPr/>
          <p:nvPr userDrawn="1"/>
        </p:nvSpPr>
        <p:spPr>
          <a:xfrm>
            <a:off x="8134668" y="2741693"/>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nvGrpSpPr>
          <p:cNvPr id="18" name="Group 17">
            <a:extLst>
              <a:ext uri="{FF2B5EF4-FFF2-40B4-BE49-F238E27FC236}">
                <a16:creationId xmlns:a16="http://schemas.microsoft.com/office/drawing/2014/main" id="{531081B9-EA50-ED71-AC3D-6F0E85B4E007}"/>
              </a:ext>
            </a:extLst>
          </p:cNvPr>
          <p:cNvGrpSpPr/>
          <p:nvPr userDrawn="1"/>
        </p:nvGrpSpPr>
        <p:grpSpPr>
          <a:xfrm>
            <a:off x="0" y="2955226"/>
            <a:ext cx="12192000" cy="247638"/>
            <a:chOff x="0" y="2792350"/>
            <a:chExt cx="12192000" cy="247638"/>
          </a:xfrm>
        </p:grpSpPr>
        <p:cxnSp>
          <p:nvCxnSpPr>
            <p:cNvPr id="19" name="Straight Connector 18">
              <a:extLst>
                <a:ext uri="{FF2B5EF4-FFF2-40B4-BE49-F238E27FC236}">
                  <a16:creationId xmlns:a16="http://schemas.microsoft.com/office/drawing/2014/main" id="{0A4F927E-A200-02EC-AE55-1052C4639B1E}"/>
                </a:ext>
              </a:extLst>
            </p:cNvPr>
            <p:cNvCxnSpPr>
              <a:cxnSpLocks/>
            </p:cNvCxnSpPr>
            <p:nvPr/>
          </p:nvCxnSpPr>
          <p:spPr>
            <a:xfrm>
              <a:off x="0" y="2916168"/>
              <a:ext cx="12192000" cy="0"/>
            </a:xfrm>
            <a:prstGeom prst="line">
              <a:avLst/>
            </a:prstGeom>
            <a:noFill/>
            <a:ln w="76200" cap="rnd" cmpd="sng" algn="ctr">
              <a:solidFill>
                <a:schemeClr val="tx1">
                  <a:lumMod val="75000"/>
                  <a:lumOff val="25000"/>
                </a:schemeClr>
              </a:solidFill>
              <a:prstDash val="solid"/>
              <a:headEnd type="none"/>
              <a:tailEnd type="none"/>
            </a:ln>
            <a:effectLst/>
          </p:spPr>
        </p:cxnSp>
        <p:sp>
          <p:nvSpPr>
            <p:cNvPr id="20" name="Oval 19">
              <a:extLst>
                <a:ext uri="{FF2B5EF4-FFF2-40B4-BE49-F238E27FC236}">
                  <a16:creationId xmlns:a16="http://schemas.microsoft.com/office/drawing/2014/main" id="{D184CD9D-9292-8010-370B-64F452DB6C94}"/>
                </a:ext>
              </a:extLst>
            </p:cNvPr>
            <p:cNvSpPr/>
            <p:nvPr/>
          </p:nvSpPr>
          <p:spPr bwMode="auto">
            <a:xfrm>
              <a:off x="2201798" y="2792350"/>
              <a:ext cx="247648" cy="247638"/>
            </a:xfrm>
            <a:prstGeom prst="ellipse">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1" name="Oval 20">
              <a:extLst>
                <a:ext uri="{FF2B5EF4-FFF2-40B4-BE49-F238E27FC236}">
                  <a16:creationId xmlns:a16="http://schemas.microsoft.com/office/drawing/2014/main" id="{9216A34D-ED31-A71A-DC0E-67AB378DDB32}"/>
                </a:ext>
              </a:extLst>
            </p:cNvPr>
            <p:cNvSpPr/>
            <p:nvPr/>
          </p:nvSpPr>
          <p:spPr bwMode="auto">
            <a:xfrm>
              <a:off x="5991811" y="2792350"/>
              <a:ext cx="247648" cy="247638"/>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2" name="Oval 21">
              <a:extLst>
                <a:ext uri="{FF2B5EF4-FFF2-40B4-BE49-F238E27FC236}">
                  <a16:creationId xmlns:a16="http://schemas.microsoft.com/office/drawing/2014/main" id="{8BD683F5-19F3-5CF3-F9DB-EED13EB65912}"/>
                </a:ext>
              </a:extLst>
            </p:cNvPr>
            <p:cNvSpPr/>
            <p:nvPr/>
          </p:nvSpPr>
          <p:spPr bwMode="auto">
            <a:xfrm>
              <a:off x="9748203" y="2792350"/>
              <a:ext cx="247648" cy="247638"/>
            </a:xfrm>
            <a:prstGeom prst="ellipse">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23" name="Rectangle 22">
            <a:extLst>
              <a:ext uri="{FF2B5EF4-FFF2-40B4-BE49-F238E27FC236}">
                <a16:creationId xmlns:a16="http://schemas.microsoft.com/office/drawing/2014/main" id="{A862D3FE-3A90-A948-E7DE-D367F1A6A8E9}"/>
              </a:ext>
            </a:extLst>
          </p:cNvPr>
          <p:cNvSpPr/>
          <p:nvPr userDrawn="1"/>
        </p:nvSpPr>
        <p:spPr bwMode="auto">
          <a:xfrm>
            <a:off x="0" y="5740399"/>
            <a:ext cx="12192000" cy="528639"/>
          </a:xfrm>
          <a:prstGeom prst="rect">
            <a:avLst/>
          </a:prstGeom>
          <a:solidFill>
            <a:schemeClr val="accent1">
              <a:lumMod val="60000"/>
              <a:lumOff val="40000"/>
            </a:schemeClr>
          </a:solidFill>
        </p:spPr>
        <p:txBody>
          <a:bodyPr wrap="none" lIns="0" tIns="0" rIns="0" bIns="0" anchor="ctr">
            <a:noAutofit/>
          </a:bodyPr>
          <a:lstStyle/>
          <a:p>
            <a:pPr algn="ctr" defTabSz="914225">
              <a:spcBef>
                <a:spcPts val="300"/>
              </a:spcBef>
            </a:pPr>
            <a:endParaRPr lang="en-US" sz="2000" b="1">
              <a:latin typeface="+mj-lt"/>
              <a:cs typeface="Segoe UI Light" panose="020B0502040204020203" pitchFamily="34" charset="0"/>
            </a:endParaRPr>
          </a:p>
        </p:txBody>
      </p:sp>
      <p:sp>
        <p:nvSpPr>
          <p:cNvPr id="24" name="Text Placeholder 5">
            <a:extLst>
              <a:ext uri="{FF2B5EF4-FFF2-40B4-BE49-F238E27FC236}">
                <a16:creationId xmlns:a16="http://schemas.microsoft.com/office/drawing/2014/main" id="{C00BF7BD-BB37-74C4-DB15-842B75962725}"/>
              </a:ext>
            </a:extLst>
          </p:cNvPr>
          <p:cNvSpPr>
            <a:spLocks noGrp="1"/>
          </p:cNvSpPr>
          <p:nvPr>
            <p:ph type="body" sz="quarter" idx="17" hasCustomPrompt="1"/>
          </p:nvPr>
        </p:nvSpPr>
        <p:spPr>
          <a:xfrm>
            <a:off x="841243" y="3382116"/>
            <a:ext cx="296875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26" name="Text Placeholder 5">
            <a:extLst>
              <a:ext uri="{FF2B5EF4-FFF2-40B4-BE49-F238E27FC236}">
                <a16:creationId xmlns:a16="http://schemas.microsoft.com/office/drawing/2014/main" id="{AC1A12C4-2877-F689-2C58-2D07DF179326}"/>
              </a:ext>
            </a:extLst>
          </p:cNvPr>
          <p:cNvSpPr>
            <a:spLocks noGrp="1"/>
          </p:cNvSpPr>
          <p:nvPr>
            <p:ph type="body" sz="quarter" idx="18" hasCustomPrompt="1"/>
          </p:nvPr>
        </p:nvSpPr>
        <p:spPr>
          <a:xfrm>
            <a:off x="841243" y="3777344"/>
            <a:ext cx="296875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29" name="Text Placeholder 5">
            <a:extLst>
              <a:ext uri="{FF2B5EF4-FFF2-40B4-BE49-F238E27FC236}">
                <a16:creationId xmlns:a16="http://schemas.microsoft.com/office/drawing/2014/main" id="{89EA3349-7962-D06F-BC2D-DB5B9AA42AEC}"/>
              </a:ext>
            </a:extLst>
          </p:cNvPr>
          <p:cNvSpPr>
            <a:spLocks noGrp="1"/>
          </p:cNvSpPr>
          <p:nvPr>
            <p:ph type="body" sz="quarter" idx="19" hasCustomPrompt="1"/>
          </p:nvPr>
        </p:nvSpPr>
        <p:spPr>
          <a:xfrm>
            <a:off x="4631256" y="3382116"/>
            <a:ext cx="296875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0" name="Text Placeholder 5">
            <a:extLst>
              <a:ext uri="{FF2B5EF4-FFF2-40B4-BE49-F238E27FC236}">
                <a16:creationId xmlns:a16="http://schemas.microsoft.com/office/drawing/2014/main" id="{0547FCCB-EEF3-45F0-83CD-A2BFECE7AD39}"/>
              </a:ext>
            </a:extLst>
          </p:cNvPr>
          <p:cNvSpPr>
            <a:spLocks noGrp="1"/>
          </p:cNvSpPr>
          <p:nvPr>
            <p:ph type="body" sz="quarter" idx="20" hasCustomPrompt="1"/>
          </p:nvPr>
        </p:nvSpPr>
        <p:spPr>
          <a:xfrm>
            <a:off x="4631256" y="3777344"/>
            <a:ext cx="296875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1" name="Text Placeholder 5">
            <a:extLst>
              <a:ext uri="{FF2B5EF4-FFF2-40B4-BE49-F238E27FC236}">
                <a16:creationId xmlns:a16="http://schemas.microsoft.com/office/drawing/2014/main" id="{F942BA0A-48FC-1102-3A95-4355E546C8C6}"/>
              </a:ext>
            </a:extLst>
          </p:cNvPr>
          <p:cNvSpPr>
            <a:spLocks noGrp="1"/>
          </p:cNvSpPr>
          <p:nvPr>
            <p:ph type="body" sz="quarter" idx="21" hasCustomPrompt="1"/>
          </p:nvPr>
        </p:nvSpPr>
        <p:spPr>
          <a:xfrm>
            <a:off x="8387648" y="3382116"/>
            <a:ext cx="296875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2" name="Text Placeholder 5">
            <a:extLst>
              <a:ext uri="{FF2B5EF4-FFF2-40B4-BE49-F238E27FC236}">
                <a16:creationId xmlns:a16="http://schemas.microsoft.com/office/drawing/2014/main" id="{9E65D7D4-2B96-7BD6-F82E-E753745D4F4D}"/>
              </a:ext>
            </a:extLst>
          </p:cNvPr>
          <p:cNvSpPr>
            <a:spLocks noGrp="1"/>
          </p:cNvSpPr>
          <p:nvPr>
            <p:ph type="body" sz="quarter" idx="22" hasCustomPrompt="1"/>
          </p:nvPr>
        </p:nvSpPr>
        <p:spPr>
          <a:xfrm>
            <a:off x="8387648" y="3777344"/>
            <a:ext cx="296875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3" name="Text Placeholder 5">
            <a:extLst>
              <a:ext uri="{FF2B5EF4-FFF2-40B4-BE49-F238E27FC236}">
                <a16:creationId xmlns:a16="http://schemas.microsoft.com/office/drawing/2014/main" id="{BDD24F2A-6A77-18F4-079E-929B7E20A55E}"/>
              </a:ext>
            </a:extLst>
          </p:cNvPr>
          <p:cNvSpPr>
            <a:spLocks noGrp="1"/>
          </p:cNvSpPr>
          <p:nvPr>
            <p:ph type="body" sz="quarter" idx="23" hasCustomPrompt="1"/>
          </p:nvPr>
        </p:nvSpPr>
        <p:spPr>
          <a:xfrm>
            <a:off x="585217" y="5866219"/>
            <a:ext cx="11021566" cy="276999"/>
          </a:xfrm>
          <a:prstGeom prst="rect">
            <a:avLst/>
          </a:prstGeom>
        </p:spPr>
        <p:txBody>
          <a:bodyPr wrap="square" lIns="0" tIns="0" rIns="0" bIns="0">
            <a:spAutoFit/>
          </a:bodyPr>
          <a:lstStyle>
            <a:lvl1pPr marL="0" indent="0" algn="ctr">
              <a:buNone/>
              <a:defRPr sz="1800">
                <a:solidFill>
                  <a:schemeClr val="tx1"/>
                </a:solidFill>
                <a:latin typeface="+mj-lt"/>
              </a:defRPr>
            </a:lvl1pPr>
          </a:lstStyle>
          <a:p>
            <a:pPr lvl="0"/>
            <a:r>
              <a:rPr lang="en-US"/>
              <a:t>Title goes here</a:t>
            </a:r>
          </a:p>
        </p:txBody>
      </p:sp>
    </p:spTree>
    <p:extLst>
      <p:ext uri="{BB962C8B-B14F-4D97-AF65-F5344CB8AC3E}">
        <p14:creationId xmlns:p14="http://schemas.microsoft.com/office/powerpoint/2010/main" val="16891765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w/ 4 pillars">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36761BB1-9F1E-B26C-A563-5244ED7E478F}"/>
              </a:ext>
            </a:extLst>
          </p:cNvPr>
          <p:cNvGrpSpPr/>
          <p:nvPr userDrawn="1"/>
        </p:nvGrpSpPr>
        <p:grpSpPr>
          <a:xfrm>
            <a:off x="588263" y="2741693"/>
            <a:ext cx="2558464" cy="3047340"/>
            <a:chOff x="-3310638" y="4153808"/>
            <a:chExt cx="3474720" cy="3047340"/>
          </a:xfrm>
        </p:grpSpPr>
        <p:cxnSp>
          <p:nvCxnSpPr>
            <p:cNvPr id="27" name="Straight Connector 26">
              <a:extLst>
                <a:ext uri="{FF2B5EF4-FFF2-40B4-BE49-F238E27FC236}">
                  <a16:creationId xmlns:a16="http://schemas.microsoft.com/office/drawing/2014/main" id="{2F84F48C-1DB7-036C-353F-3C5E6A85333A}"/>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1D6352A2-D221-218F-1F14-BE5C1607DEE0}"/>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34" name="Group 33">
            <a:extLst>
              <a:ext uri="{FF2B5EF4-FFF2-40B4-BE49-F238E27FC236}">
                <a16:creationId xmlns:a16="http://schemas.microsoft.com/office/drawing/2014/main" id="{1A4A57C9-7670-14D2-E4CE-2BF2A72BFFB0}"/>
              </a:ext>
            </a:extLst>
          </p:cNvPr>
          <p:cNvGrpSpPr/>
          <p:nvPr userDrawn="1"/>
        </p:nvGrpSpPr>
        <p:grpSpPr>
          <a:xfrm>
            <a:off x="3408282" y="2741693"/>
            <a:ext cx="2558464" cy="3047340"/>
            <a:chOff x="-3310638" y="4153808"/>
            <a:chExt cx="3474720" cy="3047340"/>
          </a:xfrm>
        </p:grpSpPr>
        <p:cxnSp>
          <p:nvCxnSpPr>
            <p:cNvPr id="35" name="Straight Connector 34">
              <a:extLst>
                <a:ext uri="{FF2B5EF4-FFF2-40B4-BE49-F238E27FC236}">
                  <a16:creationId xmlns:a16="http://schemas.microsoft.com/office/drawing/2014/main" id="{EDA161DF-8B19-E87C-1D25-27B951924DA2}"/>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B549000B-ED62-C81A-AC9B-D5794E9F7F96}"/>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37" name="Group 36">
            <a:extLst>
              <a:ext uri="{FF2B5EF4-FFF2-40B4-BE49-F238E27FC236}">
                <a16:creationId xmlns:a16="http://schemas.microsoft.com/office/drawing/2014/main" id="{2ED2F93B-E525-0C70-FF72-FB806D7359A2}"/>
              </a:ext>
            </a:extLst>
          </p:cNvPr>
          <p:cNvGrpSpPr/>
          <p:nvPr userDrawn="1"/>
        </p:nvGrpSpPr>
        <p:grpSpPr>
          <a:xfrm>
            <a:off x="6228300" y="2741693"/>
            <a:ext cx="2558464" cy="3047340"/>
            <a:chOff x="-3310638" y="4153808"/>
            <a:chExt cx="3474720" cy="3047340"/>
          </a:xfrm>
        </p:grpSpPr>
        <p:cxnSp>
          <p:nvCxnSpPr>
            <p:cNvPr id="38" name="Straight Connector 37">
              <a:extLst>
                <a:ext uri="{FF2B5EF4-FFF2-40B4-BE49-F238E27FC236}">
                  <a16:creationId xmlns:a16="http://schemas.microsoft.com/office/drawing/2014/main" id="{2A02989E-D491-6A75-6C3E-D82D61DCD3F4}"/>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57E0933B-D07C-FA12-EEC6-C33E6F919178}"/>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40" name="Group 39">
            <a:extLst>
              <a:ext uri="{FF2B5EF4-FFF2-40B4-BE49-F238E27FC236}">
                <a16:creationId xmlns:a16="http://schemas.microsoft.com/office/drawing/2014/main" id="{4F6A1540-3207-C5B2-DD00-ED0A62448E74}"/>
              </a:ext>
            </a:extLst>
          </p:cNvPr>
          <p:cNvGrpSpPr/>
          <p:nvPr userDrawn="1"/>
        </p:nvGrpSpPr>
        <p:grpSpPr>
          <a:xfrm>
            <a:off x="9048319" y="2741693"/>
            <a:ext cx="2558464" cy="3047340"/>
            <a:chOff x="-3310638" y="4153808"/>
            <a:chExt cx="3474720" cy="3047340"/>
          </a:xfrm>
        </p:grpSpPr>
        <p:cxnSp>
          <p:nvCxnSpPr>
            <p:cNvPr id="41" name="Straight Connector 40">
              <a:extLst>
                <a:ext uri="{FF2B5EF4-FFF2-40B4-BE49-F238E27FC236}">
                  <a16:creationId xmlns:a16="http://schemas.microsoft.com/office/drawing/2014/main" id="{8B2466CF-BF93-0258-DA0A-160008C31137}"/>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2" name="Rectangle: Rounded Corners 41">
              <a:extLst>
                <a:ext uri="{FF2B5EF4-FFF2-40B4-BE49-F238E27FC236}">
                  <a16:creationId xmlns:a16="http://schemas.microsoft.com/office/drawing/2014/main" id="{643C3371-7B97-D7AA-A50C-D4BE6FE488A5}"/>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43" name="Group 42">
            <a:extLst>
              <a:ext uri="{FF2B5EF4-FFF2-40B4-BE49-F238E27FC236}">
                <a16:creationId xmlns:a16="http://schemas.microsoft.com/office/drawing/2014/main" id="{C2F83CFB-C572-1FB0-32E1-B9D217DC2327}"/>
              </a:ext>
            </a:extLst>
          </p:cNvPr>
          <p:cNvGrpSpPr/>
          <p:nvPr userDrawn="1"/>
        </p:nvGrpSpPr>
        <p:grpSpPr>
          <a:xfrm>
            <a:off x="1321396" y="1450865"/>
            <a:ext cx="1092198" cy="1177126"/>
            <a:chOff x="916226" y="1527419"/>
            <a:chExt cx="1181098" cy="1272938"/>
          </a:xfrm>
        </p:grpSpPr>
        <p:sp>
          <p:nvSpPr>
            <p:cNvPr id="44" name="Oval 43">
              <a:extLst>
                <a:ext uri="{FF2B5EF4-FFF2-40B4-BE49-F238E27FC236}">
                  <a16:creationId xmlns:a16="http://schemas.microsoft.com/office/drawing/2014/main" id="{0514FA7C-082E-8B15-365A-F817685CE3EA}"/>
                </a:ext>
              </a:extLst>
            </p:cNvPr>
            <p:cNvSpPr/>
            <p:nvPr/>
          </p:nvSpPr>
          <p:spPr bwMode="auto">
            <a:xfrm>
              <a:off x="916226"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45" name="Freeform: Shape 29">
              <a:extLst>
                <a:ext uri="{FF2B5EF4-FFF2-40B4-BE49-F238E27FC236}">
                  <a16:creationId xmlns:a16="http://schemas.microsoft.com/office/drawing/2014/main" id="{02A30C5E-5E39-9155-E5E0-07D72BEACE06}"/>
                </a:ext>
              </a:extLst>
            </p:cNvPr>
            <p:cNvSpPr/>
            <p:nvPr/>
          </p:nvSpPr>
          <p:spPr bwMode="auto">
            <a:xfrm>
              <a:off x="1023853"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6" name="Group 45">
            <a:extLst>
              <a:ext uri="{FF2B5EF4-FFF2-40B4-BE49-F238E27FC236}">
                <a16:creationId xmlns:a16="http://schemas.microsoft.com/office/drawing/2014/main" id="{FB723DEE-5DED-56E6-BD77-11731BA439E0}"/>
              </a:ext>
            </a:extLst>
          </p:cNvPr>
          <p:cNvGrpSpPr/>
          <p:nvPr userDrawn="1"/>
        </p:nvGrpSpPr>
        <p:grpSpPr>
          <a:xfrm>
            <a:off x="4141414" y="1450865"/>
            <a:ext cx="1092198" cy="1177126"/>
            <a:chOff x="3210839" y="1527419"/>
            <a:chExt cx="1181098" cy="1272938"/>
          </a:xfrm>
        </p:grpSpPr>
        <p:sp>
          <p:nvSpPr>
            <p:cNvPr id="47" name="Rectangle: Rounded Corners 46">
              <a:extLst>
                <a:ext uri="{FF2B5EF4-FFF2-40B4-BE49-F238E27FC236}">
                  <a16:creationId xmlns:a16="http://schemas.microsoft.com/office/drawing/2014/main" id="{5F8635C0-CF30-08C1-2EBC-24709FCA65B3}"/>
                </a:ext>
              </a:extLst>
            </p:cNvPr>
            <p:cNvSpPr>
              <a:spLocks/>
            </p:cNvSpPr>
            <p:nvPr/>
          </p:nvSpPr>
          <p:spPr bwMode="auto">
            <a:xfrm>
              <a:off x="3210839" y="1527419"/>
              <a:ext cx="1181098" cy="1181097"/>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48" name="Freeform: Shape 33">
              <a:extLst>
                <a:ext uri="{FF2B5EF4-FFF2-40B4-BE49-F238E27FC236}">
                  <a16:creationId xmlns:a16="http://schemas.microsoft.com/office/drawing/2014/main" id="{3AE51036-CAEF-068F-88FC-F14A65FA49AB}"/>
                </a:ext>
              </a:extLst>
            </p:cNvPr>
            <p:cNvSpPr/>
            <p:nvPr/>
          </p:nvSpPr>
          <p:spPr bwMode="auto">
            <a:xfrm>
              <a:off x="3318466"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9" name="Group 48">
            <a:extLst>
              <a:ext uri="{FF2B5EF4-FFF2-40B4-BE49-F238E27FC236}">
                <a16:creationId xmlns:a16="http://schemas.microsoft.com/office/drawing/2014/main" id="{E4FC13E4-2EBD-D79B-5730-77FAD08A3E5A}"/>
              </a:ext>
            </a:extLst>
          </p:cNvPr>
          <p:cNvGrpSpPr/>
          <p:nvPr userDrawn="1"/>
        </p:nvGrpSpPr>
        <p:grpSpPr>
          <a:xfrm>
            <a:off x="6961433" y="1450865"/>
            <a:ext cx="1092198" cy="1177126"/>
            <a:chOff x="5505452" y="1527419"/>
            <a:chExt cx="1181098" cy="1272938"/>
          </a:xfrm>
        </p:grpSpPr>
        <p:sp>
          <p:nvSpPr>
            <p:cNvPr id="50" name="Oval 49">
              <a:extLst>
                <a:ext uri="{FF2B5EF4-FFF2-40B4-BE49-F238E27FC236}">
                  <a16:creationId xmlns:a16="http://schemas.microsoft.com/office/drawing/2014/main" id="{E06E9E7D-9EBD-C4EE-1F35-7B1DC188EC5B}"/>
                </a:ext>
              </a:extLst>
            </p:cNvPr>
            <p:cNvSpPr/>
            <p:nvPr/>
          </p:nvSpPr>
          <p:spPr bwMode="auto">
            <a:xfrm>
              <a:off x="5505452"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51" name="Freeform: Shape 36">
              <a:extLst>
                <a:ext uri="{FF2B5EF4-FFF2-40B4-BE49-F238E27FC236}">
                  <a16:creationId xmlns:a16="http://schemas.microsoft.com/office/drawing/2014/main" id="{E4971808-2547-F8B7-22F2-08A6ACC53CED}"/>
                </a:ext>
              </a:extLst>
            </p:cNvPr>
            <p:cNvSpPr/>
            <p:nvPr/>
          </p:nvSpPr>
          <p:spPr bwMode="auto">
            <a:xfrm>
              <a:off x="5613079"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2" name="Group 51">
            <a:extLst>
              <a:ext uri="{FF2B5EF4-FFF2-40B4-BE49-F238E27FC236}">
                <a16:creationId xmlns:a16="http://schemas.microsoft.com/office/drawing/2014/main" id="{EDD1E2AA-A5A6-6B37-A3D9-DDF3465272D6}"/>
              </a:ext>
            </a:extLst>
          </p:cNvPr>
          <p:cNvGrpSpPr/>
          <p:nvPr userDrawn="1"/>
        </p:nvGrpSpPr>
        <p:grpSpPr>
          <a:xfrm>
            <a:off x="9781452" y="1450865"/>
            <a:ext cx="1092198" cy="1177126"/>
            <a:chOff x="7800065" y="1527419"/>
            <a:chExt cx="1181098" cy="1272938"/>
          </a:xfrm>
        </p:grpSpPr>
        <p:sp>
          <p:nvSpPr>
            <p:cNvPr id="53" name="Oval 52">
              <a:extLst>
                <a:ext uri="{FF2B5EF4-FFF2-40B4-BE49-F238E27FC236}">
                  <a16:creationId xmlns:a16="http://schemas.microsoft.com/office/drawing/2014/main" id="{81BFE598-9A98-7EA2-57DF-0BA8FE9CF355}"/>
                </a:ext>
              </a:extLst>
            </p:cNvPr>
            <p:cNvSpPr/>
            <p:nvPr/>
          </p:nvSpPr>
          <p:spPr bwMode="auto">
            <a:xfrm>
              <a:off x="7800065"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54" name="Freeform: Shape 39">
              <a:extLst>
                <a:ext uri="{FF2B5EF4-FFF2-40B4-BE49-F238E27FC236}">
                  <a16:creationId xmlns:a16="http://schemas.microsoft.com/office/drawing/2014/main" id="{B51D37A1-3746-34EF-659D-75CB7087FE5A}"/>
                </a:ext>
              </a:extLst>
            </p:cNvPr>
            <p:cNvSpPr/>
            <p:nvPr/>
          </p:nvSpPr>
          <p:spPr bwMode="auto">
            <a:xfrm>
              <a:off x="7907692"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55" name="Group 54">
            <a:extLst>
              <a:ext uri="{FF2B5EF4-FFF2-40B4-BE49-F238E27FC236}">
                <a16:creationId xmlns:a16="http://schemas.microsoft.com/office/drawing/2014/main" id="{E14D141F-C863-0B8A-1D2D-C811E48BFC9A}"/>
              </a:ext>
            </a:extLst>
          </p:cNvPr>
          <p:cNvGrpSpPr/>
          <p:nvPr userDrawn="1"/>
        </p:nvGrpSpPr>
        <p:grpSpPr>
          <a:xfrm>
            <a:off x="0" y="2955226"/>
            <a:ext cx="12192000" cy="247638"/>
            <a:chOff x="0" y="2792350"/>
            <a:chExt cx="12192000" cy="247638"/>
          </a:xfrm>
        </p:grpSpPr>
        <p:cxnSp>
          <p:nvCxnSpPr>
            <p:cNvPr id="56" name="Straight Connector 55">
              <a:extLst>
                <a:ext uri="{FF2B5EF4-FFF2-40B4-BE49-F238E27FC236}">
                  <a16:creationId xmlns:a16="http://schemas.microsoft.com/office/drawing/2014/main" id="{1D6D2D83-5021-EF63-5AD2-126E5B42FD2D}"/>
                </a:ext>
              </a:extLst>
            </p:cNvPr>
            <p:cNvCxnSpPr>
              <a:cxnSpLocks/>
            </p:cNvCxnSpPr>
            <p:nvPr/>
          </p:nvCxnSpPr>
          <p:spPr>
            <a:xfrm>
              <a:off x="0" y="2916168"/>
              <a:ext cx="12192000" cy="0"/>
            </a:xfrm>
            <a:prstGeom prst="line">
              <a:avLst/>
            </a:prstGeom>
            <a:noFill/>
            <a:ln w="76200" cap="rnd" cmpd="sng" algn="ctr">
              <a:solidFill>
                <a:schemeClr val="tx1">
                  <a:lumMod val="75000"/>
                  <a:lumOff val="25000"/>
                </a:schemeClr>
              </a:solidFill>
              <a:prstDash val="solid"/>
              <a:headEnd type="none"/>
              <a:tailEnd type="none"/>
            </a:ln>
            <a:effectLst/>
          </p:spPr>
        </p:cxnSp>
        <p:sp>
          <p:nvSpPr>
            <p:cNvPr id="57" name="Oval 56">
              <a:extLst>
                <a:ext uri="{FF2B5EF4-FFF2-40B4-BE49-F238E27FC236}">
                  <a16:creationId xmlns:a16="http://schemas.microsoft.com/office/drawing/2014/main" id="{3213DF08-3B15-E68C-1749-54EE759C9055}"/>
                </a:ext>
              </a:extLst>
            </p:cNvPr>
            <p:cNvSpPr/>
            <p:nvPr/>
          </p:nvSpPr>
          <p:spPr bwMode="auto">
            <a:xfrm>
              <a:off x="1743671" y="2792350"/>
              <a:ext cx="247648" cy="247638"/>
            </a:xfrm>
            <a:prstGeom prst="ellipse">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a16="http://schemas.microsoft.com/office/drawing/2014/main" id="{4DB376B4-C82D-D63D-C3FC-B3E76F3A201A}"/>
                </a:ext>
              </a:extLst>
            </p:cNvPr>
            <p:cNvSpPr/>
            <p:nvPr/>
          </p:nvSpPr>
          <p:spPr bwMode="auto">
            <a:xfrm>
              <a:off x="4563689" y="2792350"/>
              <a:ext cx="247648" cy="247638"/>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59" name="Oval 58">
              <a:extLst>
                <a:ext uri="{FF2B5EF4-FFF2-40B4-BE49-F238E27FC236}">
                  <a16:creationId xmlns:a16="http://schemas.microsoft.com/office/drawing/2014/main" id="{D5E2A3C4-1B4F-35F1-B34F-CDAA6442086C}"/>
                </a:ext>
              </a:extLst>
            </p:cNvPr>
            <p:cNvSpPr/>
            <p:nvPr/>
          </p:nvSpPr>
          <p:spPr bwMode="auto">
            <a:xfrm>
              <a:off x="7383708" y="2792350"/>
              <a:ext cx="247648" cy="247638"/>
            </a:xfrm>
            <a:prstGeom prst="ellipse">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0" name="Oval 59">
              <a:extLst>
                <a:ext uri="{FF2B5EF4-FFF2-40B4-BE49-F238E27FC236}">
                  <a16:creationId xmlns:a16="http://schemas.microsoft.com/office/drawing/2014/main" id="{C64D01B2-4CA9-0A2E-9300-6537C3ABA2F9}"/>
                </a:ext>
              </a:extLst>
            </p:cNvPr>
            <p:cNvSpPr/>
            <p:nvPr/>
          </p:nvSpPr>
          <p:spPr bwMode="auto">
            <a:xfrm>
              <a:off x="10203727" y="2792350"/>
              <a:ext cx="247648" cy="247638"/>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3" name="Rectangle 22">
            <a:extLst>
              <a:ext uri="{FF2B5EF4-FFF2-40B4-BE49-F238E27FC236}">
                <a16:creationId xmlns:a16="http://schemas.microsoft.com/office/drawing/2014/main" id="{A862D3FE-3A90-A948-E7DE-D367F1A6A8E9}"/>
              </a:ext>
            </a:extLst>
          </p:cNvPr>
          <p:cNvSpPr/>
          <p:nvPr userDrawn="1"/>
        </p:nvSpPr>
        <p:spPr bwMode="auto">
          <a:xfrm>
            <a:off x="0" y="5740399"/>
            <a:ext cx="12192000" cy="528639"/>
          </a:xfrm>
          <a:prstGeom prst="rect">
            <a:avLst/>
          </a:prstGeom>
          <a:solidFill>
            <a:schemeClr val="accent1">
              <a:lumMod val="60000"/>
              <a:lumOff val="40000"/>
            </a:schemeClr>
          </a:solidFill>
        </p:spPr>
        <p:txBody>
          <a:bodyPr wrap="none" lIns="0" tIns="0" rIns="0" bIns="0" anchor="ctr">
            <a:noAutofit/>
          </a:bodyPr>
          <a:lstStyle/>
          <a:p>
            <a:pPr algn="ctr" defTabSz="914225">
              <a:spcBef>
                <a:spcPts val="300"/>
              </a:spcBef>
            </a:pPr>
            <a:endParaRPr lang="en-US" sz="2000" b="1">
              <a:latin typeface="+mj-lt"/>
              <a:cs typeface="Segoe UI Light" panose="020B0502040204020203" pitchFamily="34" charset="0"/>
            </a:endParaRPr>
          </a:p>
        </p:txBody>
      </p:sp>
      <p:sp>
        <p:nvSpPr>
          <p:cNvPr id="24" name="Text Placeholder 5">
            <a:extLst>
              <a:ext uri="{FF2B5EF4-FFF2-40B4-BE49-F238E27FC236}">
                <a16:creationId xmlns:a16="http://schemas.microsoft.com/office/drawing/2014/main" id="{C00BF7BD-BB37-74C4-DB15-842B75962725}"/>
              </a:ext>
            </a:extLst>
          </p:cNvPr>
          <p:cNvSpPr>
            <a:spLocks noGrp="1"/>
          </p:cNvSpPr>
          <p:nvPr>
            <p:ph type="body" sz="quarter" idx="17" hasCustomPrompt="1"/>
          </p:nvPr>
        </p:nvSpPr>
        <p:spPr>
          <a:xfrm>
            <a:off x="734576" y="3382116"/>
            <a:ext cx="226583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26" name="Text Placeholder 5">
            <a:extLst>
              <a:ext uri="{FF2B5EF4-FFF2-40B4-BE49-F238E27FC236}">
                <a16:creationId xmlns:a16="http://schemas.microsoft.com/office/drawing/2014/main" id="{AC1A12C4-2877-F689-2C58-2D07DF179326}"/>
              </a:ext>
            </a:extLst>
          </p:cNvPr>
          <p:cNvSpPr>
            <a:spLocks noGrp="1"/>
          </p:cNvSpPr>
          <p:nvPr>
            <p:ph type="body" sz="quarter" idx="18" hasCustomPrompt="1"/>
          </p:nvPr>
        </p:nvSpPr>
        <p:spPr>
          <a:xfrm>
            <a:off x="734576" y="3777344"/>
            <a:ext cx="226583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29" name="Text Placeholder 5">
            <a:extLst>
              <a:ext uri="{FF2B5EF4-FFF2-40B4-BE49-F238E27FC236}">
                <a16:creationId xmlns:a16="http://schemas.microsoft.com/office/drawing/2014/main" id="{89EA3349-7962-D06F-BC2D-DB5B9AA42AEC}"/>
              </a:ext>
            </a:extLst>
          </p:cNvPr>
          <p:cNvSpPr>
            <a:spLocks noGrp="1"/>
          </p:cNvSpPr>
          <p:nvPr>
            <p:ph type="body" sz="quarter" idx="19" hasCustomPrompt="1"/>
          </p:nvPr>
        </p:nvSpPr>
        <p:spPr>
          <a:xfrm>
            <a:off x="3554595" y="3382116"/>
            <a:ext cx="226583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0" name="Text Placeholder 5">
            <a:extLst>
              <a:ext uri="{FF2B5EF4-FFF2-40B4-BE49-F238E27FC236}">
                <a16:creationId xmlns:a16="http://schemas.microsoft.com/office/drawing/2014/main" id="{0547FCCB-EEF3-45F0-83CD-A2BFECE7AD39}"/>
              </a:ext>
            </a:extLst>
          </p:cNvPr>
          <p:cNvSpPr>
            <a:spLocks noGrp="1"/>
          </p:cNvSpPr>
          <p:nvPr>
            <p:ph type="body" sz="quarter" idx="20" hasCustomPrompt="1"/>
          </p:nvPr>
        </p:nvSpPr>
        <p:spPr>
          <a:xfrm>
            <a:off x="3554595" y="3777344"/>
            <a:ext cx="226583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1" name="Text Placeholder 5">
            <a:extLst>
              <a:ext uri="{FF2B5EF4-FFF2-40B4-BE49-F238E27FC236}">
                <a16:creationId xmlns:a16="http://schemas.microsoft.com/office/drawing/2014/main" id="{F942BA0A-48FC-1102-3A95-4355E546C8C6}"/>
              </a:ext>
            </a:extLst>
          </p:cNvPr>
          <p:cNvSpPr>
            <a:spLocks noGrp="1"/>
          </p:cNvSpPr>
          <p:nvPr>
            <p:ph type="body" sz="quarter" idx="21" hasCustomPrompt="1"/>
          </p:nvPr>
        </p:nvSpPr>
        <p:spPr>
          <a:xfrm>
            <a:off x="6374613" y="3382116"/>
            <a:ext cx="226583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2" name="Text Placeholder 5">
            <a:extLst>
              <a:ext uri="{FF2B5EF4-FFF2-40B4-BE49-F238E27FC236}">
                <a16:creationId xmlns:a16="http://schemas.microsoft.com/office/drawing/2014/main" id="{9E65D7D4-2B96-7BD6-F82E-E753745D4F4D}"/>
              </a:ext>
            </a:extLst>
          </p:cNvPr>
          <p:cNvSpPr>
            <a:spLocks noGrp="1"/>
          </p:cNvSpPr>
          <p:nvPr>
            <p:ph type="body" sz="quarter" idx="22" hasCustomPrompt="1"/>
          </p:nvPr>
        </p:nvSpPr>
        <p:spPr>
          <a:xfrm>
            <a:off x="6374613" y="3777344"/>
            <a:ext cx="226583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3" name="Text Placeholder 5">
            <a:extLst>
              <a:ext uri="{FF2B5EF4-FFF2-40B4-BE49-F238E27FC236}">
                <a16:creationId xmlns:a16="http://schemas.microsoft.com/office/drawing/2014/main" id="{BDD24F2A-6A77-18F4-079E-929B7E20A55E}"/>
              </a:ext>
            </a:extLst>
          </p:cNvPr>
          <p:cNvSpPr>
            <a:spLocks noGrp="1"/>
          </p:cNvSpPr>
          <p:nvPr>
            <p:ph type="body" sz="quarter" idx="23" hasCustomPrompt="1"/>
          </p:nvPr>
        </p:nvSpPr>
        <p:spPr>
          <a:xfrm>
            <a:off x="585217" y="5866219"/>
            <a:ext cx="11021566" cy="276999"/>
          </a:xfrm>
          <a:prstGeom prst="rect">
            <a:avLst/>
          </a:prstGeom>
        </p:spPr>
        <p:txBody>
          <a:bodyPr wrap="square" lIns="0" tIns="0" rIns="0" bIns="0">
            <a:spAutoFit/>
          </a:bodyPr>
          <a:lstStyle>
            <a:lvl1pPr marL="0" indent="0" algn="ctr">
              <a:buNone/>
              <a:defRPr sz="1800">
                <a:solidFill>
                  <a:schemeClr val="tx1"/>
                </a:solidFill>
                <a:latin typeface="+mj-lt"/>
              </a:defRPr>
            </a:lvl1pPr>
          </a:lstStyle>
          <a:p>
            <a:pPr lvl="0"/>
            <a:r>
              <a:rPr lang="en-US"/>
              <a:t>Title goes here</a:t>
            </a:r>
          </a:p>
        </p:txBody>
      </p:sp>
      <p:sp>
        <p:nvSpPr>
          <p:cNvPr id="61" name="Text Placeholder 5">
            <a:extLst>
              <a:ext uri="{FF2B5EF4-FFF2-40B4-BE49-F238E27FC236}">
                <a16:creationId xmlns:a16="http://schemas.microsoft.com/office/drawing/2014/main" id="{4749B426-7B5C-039D-6CDE-BCF564F0BE0D}"/>
              </a:ext>
            </a:extLst>
          </p:cNvPr>
          <p:cNvSpPr>
            <a:spLocks noGrp="1"/>
          </p:cNvSpPr>
          <p:nvPr>
            <p:ph type="body" sz="quarter" idx="24" hasCustomPrompt="1"/>
          </p:nvPr>
        </p:nvSpPr>
        <p:spPr>
          <a:xfrm>
            <a:off x="9194632" y="3382116"/>
            <a:ext cx="2265838"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62" name="Text Placeholder 5">
            <a:extLst>
              <a:ext uri="{FF2B5EF4-FFF2-40B4-BE49-F238E27FC236}">
                <a16:creationId xmlns:a16="http://schemas.microsoft.com/office/drawing/2014/main" id="{E7A495FC-D3D9-D7B8-F094-AA16972D687E}"/>
              </a:ext>
            </a:extLst>
          </p:cNvPr>
          <p:cNvSpPr>
            <a:spLocks noGrp="1"/>
          </p:cNvSpPr>
          <p:nvPr>
            <p:ph type="body" sz="quarter" idx="25" hasCustomPrompt="1"/>
          </p:nvPr>
        </p:nvSpPr>
        <p:spPr>
          <a:xfrm>
            <a:off x="9194632" y="3777344"/>
            <a:ext cx="2265838"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Tree>
    <p:extLst>
      <p:ext uri="{BB962C8B-B14F-4D97-AF65-F5344CB8AC3E}">
        <p14:creationId xmlns:p14="http://schemas.microsoft.com/office/powerpoint/2010/main" val="13616978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w/ 5 pillars">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FC7F617-BA97-378F-38DA-36D6F6D2391D}"/>
              </a:ext>
            </a:extLst>
          </p:cNvPr>
          <p:cNvGrpSpPr/>
          <p:nvPr userDrawn="1"/>
        </p:nvGrpSpPr>
        <p:grpSpPr>
          <a:xfrm>
            <a:off x="588263" y="2741693"/>
            <a:ext cx="2037582" cy="3047340"/>
            <a:chOff x="-3310638" y="4153808"/>
            <a:chExt cx="3474720" cy="3047340"/>
          </a:xfrm>
        </p:grpSpPr>
        <p:cxnSp>
          <p:nvCxnSpPr>
            <p:cNvPr id="4" name="Straight Connector 3">
              <a:extLst>
                <a:ext uri="{FF2B5EF4-FFF2-40B4-BE49-F238E27FC236}">
                  <a16:creationId xmlns:a16="http://schemas.microsoft.com/office/drawing/2014/main" id="{3C23868E-454F-77D4-AB2A-F66A12181BEB}"/>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Rounded Corners 4">
              <a:extLst>
                <a:ext uri="{FF2B5EF4-FFF2-40B4-BE49-F238E27FC236}">
                  <a16:creationId xmlns:a16="http://schemas.microsoft.com/office/drawing/2014/main" id="{378AAD90-6241-ADAC-B89D-E379628755F1}"/>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6" name="Group 5">
            <a:extLst>
              <a:ext uri="{FF2B5EF4-FFF2-40B4-BE49-F238E27FC236}">
                <a16:creationId xmlns:a16="http://schemas.microsoft.com/office/drawing/2014/main" id="{8E025360-1521-DA07-B753-F2C749D02C67}"/>
              </a:ext>
            </a:extLst>
          </p:cNvPr>
          <p:cNvGrpSpPr/>
          <p:nvPr userDrawn="1"/>
        </p:nvGrpSpPr>
        <p:grpSpPr>
          <a:xfrm>
            <a:off x="2834149" y="2741693"/>
            <a:ext cx="2037582" cy="3047340"/>
            <a:chOff x="-3310638" y="4153808"/>
            <a:chExt cx="3474720" cy="3047340"/>
          </a:xfrm>
        </p:grpSpPr>
        <p:cxnSp>
          <p:nvCxnSpPr>
            <p:cNvPr id="7" name="Straight Connector 6">
              <a:extLst>
                <a:ext uri="{FF2B5EF4-FFF2-40B4-BE49-F238E27FC236}">
                  <a16:creationId xmlns:a16="http://schemas.microsoft.com/office/drawing/2014/main" id="{6D9DDA3C-358C-AB0F-7B67-60024C78830D}"/>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FAD39AD6-52F5-323D-A268-5783489ADEFC}"/>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9" name="Group 8">
            <a:extLst>
              <a:ext uri="{FF2B5EF4-FFF2-40B4-BE49-F238E27FC236}">
                <a16:creationId xmlns:a16="http://schemas.microsoft.com/office/drawing/2014/main" id="{1F828786-87C4-782F-FC34-A244FC642627}"/>
              </a:ext>
            </a:extLst>
          </p:cNvPr>
          <p:cNvGrpSpPr/>
          <p:nvPr userDrawn="1"/>
        </p:nvGrpSpPr>
        <p:grpSpPr>
          <a:xfrm>
            <a:off x="7325921" y="2741693"/>
            <a:ext cx="2037582" cy="3047340"/>
            <a:chOff x="-3310638" y="4153808"/>
            <a:chExt cx="3474720" cy="3047340"/>
          </a:xfrm>
        </p:grpSpPr>
        <p:cxnSp>
          <p:nvCxnSpPr>
            <p:cNvPr id="10" name="Straight Connector 9">
              <a:extLst>
                <a:ext uri="{FF2B5EF4-FFF2-40B4-BE49-F238E27FC236}">
                  <a16:creationId xmlns:a16="http://schemas.microsoft.com/office/drawing/2014/main" id="{4CEDB6AB-B0BF-C741-C06A-6346CEBBA707}"/>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39B25147-C49A-02F4-6125-B1242B79AF18}"/>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12" name="Group 11">
            <a:extLst>
              <a:ext uri="{FF2B5EF4-FFF2-40B4-BE49-F238E27FC236}">
                <a16:creationId xmlns:a16="http://schemas.microsoft.com/office/drawing/2014/main" id="{3F2D1A33-5BE2-F102-5BDD-89CFC77DB6EC}"/>
              </a:ext>
            </a:extLst>
          </p:cNvPr>
          <p:cNvGrpSpPr/>
          <p:nvPr userDrawn="1"/>
        </p:nvGrpSpPr>
        <p:grpSpPr>
          <a:xfrm>
            <a:off x="5080035" y="2741693"/>
            <a:ext cx="2037582" cy="3047340"/>
            <a:chOff x="-3310638" y="4153808"/>
            <a:chExt cx="3474720" cy="3047340"/>
          </a:xfrm>
        </p:grpSpPr>
        <p:cxnSp>
          <p:nvCxnSpPr>
            <p:cNvPr id="13" name="Straight Connector 12">
              <a:extLst>
                <a:ext uri="{FF2B5EF4-FFF2-40B4-BE49-F238E27FC236}">
                  <a16:creationId xmlns:a16="http://schemas.microsoft.com/office/drawing/2014/main" id="{120755B3-1573-7C84-FE5A-02FC0BA22506}"/>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7C06218C-250A-F7D8-AEDC-EEB637F613D9}"/>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15" name="Group 14">
            <a:extLst>
              <a:ext uri="{FF2B5EF4-FFF2-40B4-BE49-F238E27FC236}">
                <a16:creationId xmlns:a16="http://schemas.microsoft.com/office/drawing/2014/main" id="{49041243-FB08-C423-E920-F6F1D5036AC2}"/>
              </a:ext>
            </a:extLst>
          </p:cNvPr>
          <p:cNvGrpSpPr/>
          <p:nvPr userDrawn="1"/>
        </p:nvGrpSpPr>
        <p:grpSpPr>
          <a:xfrm>
            <a:off x="9571807" y="2741693"/>
            <a:ext cx="2037582" cy="3047340"/>
            <a:chOff x="-3310638" y="4153808"/>
            <a:chExt cx="3474720" cy="3047340"/>
          </a:xfrm>
        </p:grpSpPr>
        <p:cxnSp>
          <p:nvCxnSpPr>
            <p:cNvPr id="16" name="Straight Connector 15">
              <a:extLst>
                <a:ext uri="{FF2B5EF4-FFF2-40B4-BE49-F238E27FC236}">
                  <a16:creationId xmlns:a16="http://schemas.microsoft.com/office/drawing/2014/main" id="{590F7AA1-596F-11A6-C840-20164C96A176}"/>
                </a:ext>
              </a:extLst>
            </p:cNvPr>
            <p:cNvCxnSpPr>
              <a:cxnSpLocks/>
            </p:cNvCxnSpPr>
            <p:nvPr/>
          </p:nvCxnSpPr>
          <p:spPr>
            <a:xfrm flipH="1">
              <a:off x="-2807718" y="4153808"/>
              <a:ext cx="2468880"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66371FCB-09CA-D9A0-D050-5D53E85E86E1}"/>
                </a:ext>
              </a:extLst>
            </p:cNvPr>
            <p:cNvSpPr/>
            <p:nvPr/>
          </p:nvSpPr>
          <p:spPr>
            <a:xfrm>
              <a:off x="-3310638" y="4153808"/>
              <a:ext cx="3474720" cy="3047340"/>
            </a:xfrm>
            <a:prstGeom prst="roundRect">
              <a:avLst>
                <a:gd name="adj" fmla="val 470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solidFill>
                    <a:srgbClr val="FFFFFF"/>
                  </a:solidFill>
                  <a:latin typeface="Segoe UI"/>
                  <a:cs typeface="Segoe UI" pitchFamily="34" charset="0"/>
                </a:rPr>
                <a:t> </a:t>
              </a:r>
            </a:p>
          </p:txBody>
        </p:sp>
      </p:grpSp>
      <p:grpSp>
        <p:nvGrpSpPr>
          <p:cNvPr id="18" name="Group 17">
            <a:extLst>
              <a:ext uri="{FF2B5EF4-FFF2-40B4-BE49-F238E27FC236}">
                <a16:creationId xmlns:a16="http://schemas.microsoft.com/office/drawing/2014/main" id="{9B40B5E3-854B-A249-7B7E-89A272756785}"/>
              </a:ext>
            </a:extLst>
          </p:cNvPr>
          <p:cNvGrpSpPr/>
          <p:nvPr userDrawn="1"/>
        </p:nvGrpSpPr>
        <p:grpSpPr>
          <a:xfrm>
            <a:off x="1060955" y="1450865"/>
            <a:ext cx="1092198" cy="1177126"/>
            <a:chOff x="916226" y="1527419"/>
            <a:chExt cx="1181098" cy="1272938"/>
          </a:xfrm>
        </p:grpSpPr>
        <p:sp>
          <p:nvSpPr>
            <p:cNvPr id="19" name="Oval 18">
              <a:extLst>
                <a:ext uri="{FF2B5EF4-FFF2-40B4-BE49-F238E27FC236}">
                  <a16:creationId xmlns:a16="http://schemas.microsoft.com/office/drawing/2014/main" id="{80179DBE-F893-F13B-2509-4394AED58C53}"/>
                </a:ext>
              </a:extLst>
            </p:cNvPr>
            <p:cNvSpPr/>
            <p:nvPr/>
          </p:nvSpPr>
          <p:spPr bwMode="auto">
            <a:xfrm>
              <a:off x="916226"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20" name="Freeform: Shape 29">
              <a:extLst>
                <a:ext uri="{FF2B5EF4-FFF2-40B4-BE49-F238E27FC236}">
                  <a16:creationId xmlns:a16="http://schemas.microsoft.com/office/drawing/2014/main" id="{73E20C3E-D139-A52A-43BA-1F14A1C8A10B}"/>
                </a:ext>
              </a:extLst>
            </p:cNvPr>
            <p:cNvSpPr/>
            <p:nvPr/>
          </p:nvSpPr>
          <p:spPr bwMode="auto">
            <a:xfrm>
              <a:off x="1023853"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1" name="Group 20">
            <a:extLst>
              <a:ext uri="{FF2B5EF4-FFF2-40B4-BE49-F238E27FC236}">
                <a16:creationId xmlns:a16="http://schemas.microsoft.com/office/drawing/2014/main" id="{0A7BC8B1-6100-C3C5-2761-EA761D773550}"/>
              </a:ext>
            </a:extLst>
          </p:cNvPr>
          <p:cNvGrpSpPr/>
          <p:nvPr userDrawn="1"/>
        </p:nvGrpSpPr>
        <p:grpSpPr>
          <a:xfrm>
            <a:off x="3306841" y="1450865"/>
            <a:ext cx="1092198" cy="1177126"/>
            <a:chOff x="3210839" y="1527419"/>
            <a:chExt cx="1181098" cy="1272938"/>
          </a:xfrm>
        </p:grpSpPr>
        <p:sp>
          <p:nvSpPr>
            <p:cNvPr id="22" name="Rectangle: Rounded Corners 21">
              <a:extLst>
                <a:ext uri="{FF2B5EF4-FFF2-40B4-BE49-F238E27FC236}">
                  <a16:creationId xmlns:a16="http://schemas.microsoft.com/office/drawing/2014/main" id="{79F6ABB3-D23C-DD6E-D6B1-E781A792F2AD}"/>
                </a:ext>
              </a:extLst>
            </p:cNvPr>
            <p:cNvSpPr>
              <a:spLocks/>
            </p:cNvSpPr>
            <p:nvPr/>
          </p:nvSpPr>
          <p:spPr bwMode="auto">
            <a:xfrm>
              <a:off x="3210839" y="1527419"/>
              <a:ext cx="1181098" cy="1181097"/>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63" name="Freeform: Shape 33">
              <a:extLst>
                <a:ext uri="{FF2B5EF4-FFF2-40B4-BE49-F238E27FC236}">
                  <a16:creationId xmlns:a16="http://schemas.microsoft.com/office/drawing/2014/main" id="{587B912E-CCA0-87F6-060E-48FD5BE3AE75}"/>
                </a:ext>
              </a:extLst>
            </p:cNvPr>
            <p:cNvSpPr/>
            <p:nvPr/>
          </p:nvSpPr>
          <p:spPr bwMode="auto">
            <a:xfrm>
              <a:off x="3318466"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4" name="Group 63">
            <a:extLst>
              <a:ext uri="{FF2B5EF4-FFF2-40B4-BE49-F238E27FC236}">
                <a16:creationId xmlns:a16="http://schemas.microsoft.com/office/drawing/2014/main" id="{BB37DB6F-DAFF-E4D0-01BC-F9CF751F6F0F}"/>
              </a:ext>
            </a:extLst>
          </p:cNvPr>
          <p:cNvGrpSpPr/>
          <p:nvPr userDrawn="1"/>
        </p:nvGrpSpPr>
        <p:grpSpPr>
          <a:xfrm>
            <a:off x="5552727" y="1450865"/>
            <a:ext cx="1092198" cy="1177126"/>
            <a:chOff x="5505452" y="1527419"/>
            <a:chExt cx="1181098" cy="1272938"/>
          </a:xfrm>
        </p:grpSpPr>
        <p:sp>
          <p:nvSpPr>
            <p:cNvPr id="65" name="Oval 64">
              <a:extLst>
                <a:ext uri="{FF2B5EF4-FFF2-40B4-BE49-F238E27FC236}">
                  <a16:creationId xmlns:a16="http://schemas.microsoft.com/office/drawing/2014/main" id="{F1B3E828-E752-57E2-12DB-40A42C58C67D}"/>
                </a:ext>
              </a:extLst>
            </p:cNvPr>
            <p:cNvSpPr/>
            <p:nvPr/>
          </p:nvSpPr>
          <p:spPr bwMode="auto">
            <a:xfrm>
              <a:off x="5505452"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66" name="Freeform: Shape 36">
              <a:extLst>
                <a:ext uri="{FF2B5EF4-FFF2-40B4-BE49-F238E27FC236}">
                  <a16:creationId xmlns:a16="http://schemas.microsoft.com/office/drawing/2014/main" id="{1BEB90B2-6EAA-376E-CD85-251B72D31F1F}"/>
                </a:ext>
              </a:extLst>
            </p:cNvPr>
            <p:cNvSpPr/>
            <p:nvPr/>
          </p:nvSpPr>
          <p:spPr bwMode="auto">
            <a:xfrm>
              <a:off x="5613079"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67" name="Group 66">
            <a:extLst>
              <a:ext uri="{FF2B5EF4-FFF2-40B4-BE49-F238E27FC236}">
                <a16:creationId xmlns:a16="http://schemas.microsoft.com/office/drawing/2014/main" id="{79BB1F84-6422-F3AD-5B34-342A83174294}"/>
              </a:ext>
            </a:extLst>
          </p:cNvPr>
          <p:cNvGrpSpPr/>
          <p:nvPr userDrawn="1"/>
        </p:nvGrpSpPr>
        <p:grpSpPr>
          <a:xfrm>
            <a:off x="7798613" y="1450865"/>
            <a:ext cx="1092198" cy="1177126"/>
            <a:chOff x="7800065" y="1527419"/>
            <a:chExt cx="1181098" cy="1272938"/>
          </a:xfrm>
        </p:grpSpPr>
        <p:sp>
          <p:nvSpPr>
            <p:cNvPr id="68" name="Oval 67">
              <a:extLst>
                <a:ext uri="{FF2B5EF4-FFF2-40B4-BE49-F238E27FC236}">
                  <a16:creationId xmlns:a16="http://schemas.microsoft.com/office/drawing/2014/main" id="{87FAFC3E-0BC2-9785-C177-A950FDF4908A}"/>
                </a:ext>
              </a:extLst>
            </p:cNvPr>
            <p:cNvSpPr/>
            <p:nvPr/>
          </p:nvSpPr>
          <p:spPr bwMode="auto">
            <a:xfrm>
              <a:off x="7800065"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69" name="Freeform: Shape 39">
              <a:extLst>
                <a:ext uri="{FF2B5EF4-FFF2-40B4-BE49-F238E27FC236}">
                  <a16:creationId xmlns:a16="http://schemas.microsoft.com/office/drawing/2014/main" id="{34A3631F-D187-0A1E-826C-4AEE2C024947}"/>
                </a:ext>
              </a:extLst>
            </p:cNvPr>
            <p:cNvSpPr/>
            <p:nvPr/>
          </p:nvSpPr>
          <p:spPr bwMode="auto">
            <a:xfrm>
              <a:off x="7907692"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0" name="Group 69">
            <a:extLst>
              <a:ext uri="{FF2B5EF4-FFF2-40B4-BE49-F238E27FC236}">
                <a16:creationId xmlns:a16="http://schemas.microsoft.com/office/drawing/2014/main" id="{16772C85-C22A-9DC4-A8F7-98B6779AF29B}"/>
              </a:ext>
            </a:extLst>
          </p:cNvPr>
          <p:cNvGrpSpPr/>
          <p:nvPr userDrawn="1"/>
        </p:nvGrpSpPr>
        <p:grpSpPr>
          <a:xfrm>
            <a:off x="10044499" y="1450865"/>
            <a:ext cx="1092198" cy="1177126"/>
            <a:chOff x="10094676" y="1527419"/>
            <a:chExt cx="1181098" cy="1272938"/>
          </a:xfrm>
        </p:grpSpPr>
        <p:sp>
          <p:nvSpPr>
            <p:cNvPr id="71" name="Oval 70">
              <a:extLst>
                <a:ext uri="{FF2B5EF4-FFF2-40B4-BE49-F238E27FC236}">
                  <a16:creationId xmlns:a16="http://schemas.microsoft.com/office/drawing/2014/main" id="{1D23CD91-4220-90F0-2E86-885E5ED04F02}"/>
                </a:ext>
              </a:extLst>
            </p:cNvPr>
            <p:cNvSpPr/>
            <p:nvPr/>
          </p:nvSpPr>
          <p:spPr bwMode="auto">
            <a:xfrm>
              <a:off x="10094676" y="1527419"/>
              <a:ext cx="1181098" cy="1181097"/>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FFFFF"/>
                </a:solidFill>
                <a:latin typeface="Segoe UI"/>
                <a:cs typeface="Segoe UI" pitchFamily="34" charset="0"/>
              </a:endParaRPr>
            </a:p>
          </p:txBody>
        </p:sp>
        <p:sp>
          <p:nvSpPr>
            <p:cNvPr id="72" name="Freeform: Shape 42">
              <a:extLst>
                <a:ext uri="{FF2B5EF4-FFF2-40B4-BE49-F238E27FC236}">
                  <a16:creationId xmlns:a16="http://schemas.microsoft.com/office/drawing/2014/main" id="{4060539D-EE17-9676-E5F1-E50077C2B739}"/>
                </a:ext>
              </a:extLst>
            </p:cNvPr>
            <p:cNvSpPr/>
            <p:nvPr/>
          </p:nvSpPr>
          <p:spPr bwMode="auto">
            <a:xfrm>
              <a:off x="10197610" y="1635046"/>
              <a:ext cx="965844" cy="1165311"/>
            </a:xfrm>
            <a:custGeom>
              <a:avLst/>
              <a:gdLst>
                <a:gd name="connsiteX0" fmla="*/ 751114 w 1502228"/>
                <a:gd name="connsiteY0" fmla="*/ 0 h 1812471"/>
                <a:gd name="connsiteX1" fmla="*/ 1502228 w 1502228"/>
                <a:gd name="connsiteY1" fmla="*/ 751114 h 1812471"/>
                <a:gd name="connsiteX2" fmla="*/ 1043482 w 1502228"/>
                <a:gd name="connsiteY2" fmla="*/ 1443202 h 1812471"/>
                <a:gd name="connsiteX3" fmla="*/ 957045 w 1502228"/>
                <a:gd name="connsiteY3" fmla="*/ 1470033 h 1812471"/>
                <a:gd name="connsiteX4" fmla="*/ 751114 w 1502228"/>
                <a:gd name="connsiteY4" fmla="*/ 1812471 h 1812471"/>
                <a:gd name="connsiteX5" fmla="*/ 545183 w 1502228"/>
                <a:gd name="connsiteY5" fmla="*/ 1470033 h 1812471"/>
                <a:gd name="connsiteX6" fmla="*/ 458746 w 1502228"/>
                <a:gd name="connsiteY6" fmla="*/ 1443202 h 1812471"/>
                <a:gd name="connsiteX7" fmla="*/ 0 w 1502228"/>
                <a:gd name="connsiteY7" fmla="*/ 751114 h 1812471"/>
                <a:gd name="connsiteX8" fmla="*/ 751114 w 1502228"/>
                <a:gd name="connsiteY8" fmla="*/ 0 h 18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02228" h="1812471">
                  <a:moveTo>
                    <a:pt x="751114" y="0"/>
                  </a:moveTo>
                  <a:cubicBezTo>
                    <a:pt x="1165943" y="0"/>
                    <a:pt x="1502228" y="336285"/>
                    <a:pt x="1502228" y="751114"/>
                  </a:cubicBezTo>
                  <a:cubicBezTo>
                    <a:pt x="1502228" y="1062236"/>
                    <a:pt x="1313068" y="1329177"/>
                    <a:pt x="1043482" y="1443202"/>
                  </a:cubicBezTo>
                  <a:lnTo>
                    <a:pt x="957045" y="1470033"/>
                  </a:lnTo>
                  <a:lnTo>
                    <a:pt x="751114" y="1812471"/>
                  </a:lnTo>
                  <a:lnTo>
                    <a:pt x="545183" y="1470033"/>
                  </a:lnTo>
                  <a:lnTo>
                    <a:pt x="458746" y="1443202"/>
                  </a:lnTo>
                  <a:cubicBezTo>
                    <a:pt x="189160" y="1329177"/>
                    <a:pt x="0" y="1062236"/>
                    <a:pt x="0" y="751114"/>
                  </a:cubicBezTo>
                  <a:cubicBezTo>
                    <a:pt x="0" y="336285"/>
                    <a:pt x="336285" y="0"/>
                    <a:pt x="751114" y="0"/>
                  </a:cubicBezTo>
                  <a:close/>
                </a:path>
              </a:pathLst>
            </a:custGeom>
            <a:solidFill>
              <a:schemeClr val="tx1">
                <a:lumMod val="85000"/>
                <a:lumOff val="15000"/>
              </a:schemeClr>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73" name="Group 72">
            <a:extLst>
              <a:ext uri="{FF2B5EF4-FFF2-40B4-BE49-F238E27FC236}">
                <a16:creationId xmlns:a16="http://schemas.microsoft.com/office/drawing/2014/main" id="{6290F05B-A17B-6308-D545-F692E5D4E100}"/>
              </a:ext>
            </a:extLst>
          </p:cNvPr>
          <p:cNvGrpSpPr/>
          <p:nvPr userDrawn="1"/>
        </p:nvGrpSpPr>
        <p:grpSpPr>
          <a:xfrm>
            <a:off x="0" y="2955226"/>
            <a:ext cx="12192000" cy="247638"/>
            <a:chOff x="0" y="2792350"/>
            <a:chExt cx="12192000" cy="247638"/>
          </a:xfrm>
        </p:grpSpPr>
        <p:cxnSp>
          <p:nvCxnSpPr>
            <p:cNvPr id="74" name="Straight Connector 73">
              <a:extLst>
                <a:ext uri="{FF2B5EF4-FFF2-40B4-BE49-F238E27FC236}">
                  <a16:creationId xmlns:a16="http://schemas.microsoft.com/office/drawing/2014/main" id="{F22E7A84-FB8E-C400-88C5-BB1B6DBBA2E3}"/>
                </a:ext>
              </a:extLst>
            </p:cNvPr>
            <p:cNvCxnSpPr>
              <a:cxnSpLocks/>
            </p:cNvCxnSpPr>
            <p:nvPr/>
          </p:nvCxnSpPr>
          <p:spPr>
            <a:xfrm>
              <a:off x="0" y="2916168"/>
              <a:ext cx="12192000" cy="0"/>
            </a:xfrm>
            <a:prstGeom prst="line">
              <a:avLst/>
            </a:prstGeom>
            <a:noFill/>
            <a:ln w="76200" cap="rnd" cmpd="sng" algn="ctr">
              <a:solidFill>
                <a:schemeClr val="tx1">
                  <a:lumMod val="75000"/>
                  <a:lumOff val="25000"/>
                </a:schemeClr>
              </a:solidFill>
              <a:prstDash val="solid"/>
              <a:headEnd type="none"/>
              <a:tailEnd type="none"/>
            </a:ln>
            <a:effectLst/>
          </p:spPr>
        </p:cxnSp>
        <p:sp>
          <p:nvSpPr>
            <p:cNvPr id="75" name="Oval 74">
              <a:extLst>
                <a:ext uri="{FF2B5EF4-FFF2-40B4-BE49-F238E27FC236}">
                  <a16:creationId xmlns:a16="http://schemas.microsoft.com/office/drawing/2014/main" id="{73F6A19C-927D-D19E-12AD-128309726C54}"/>
                </a:ext>
              </a:extLst>
            </p:cNvPr>
            <p:cNvSpPr/>
            <p:nvPr/>
          </p:nvSpPr>
          <p:spPr bwMode="auto">
            <a:xfrm>
              <a:off x="1483230" y="2792350"/>
              <a:ext cx="247648" cy="247638"/>
            </a:xfrm>
            <a:prstGeom prst="ellipse">
              <a:avLst/>
            </a:prstGeom>
            <a:solidFill>
              <a:srgbClr val="C3E5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6" name="Oval 75">
              <a:extLst>
                <a:ext uri="{FF2B5EF4-FFF2-40B4-BE49-F238E27FC236}">
                  <a16:creationId xmlns:a16="http://schemas.microsoft.com/office/drawing/2014/main" id="{930D9200-D639-FBC1-E50E-3A7B4827D3A9}"/>
                </a:ext>
              </a:extLst>
            </p:cNvPr>
            <p:cNvSpPr/>
            <p:nvPr/>
          </p:nvSpPr>
          <p:spPr bwMode="auto">
            <a:xfrm>
              <a:off x="3729116" y="2792350"/>
              <a:ext cx="247648" cy="247638"/>
            </a:xfrm>
            <a:prstGeom prst="ellipse">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7" name="Oval 76">
              <a:extLst>
                <a:ext uri="{FF2B5EF4-FFF2-40B4-BE49-F238E27FC236}">
                  <a16:creationId xmlns:a16="http://schemas.microsoft.com/office/drawing/2014/main" id="{AF6D3067-9798-3428-C652-7D82D345607B}"/>
                </a:ext>
              </a:extLst>
            </p:cNvPr>
            <p:cNvSpPr/>
            <p:nvPr/>
          </p:nvSpPr>
          <p:spPr bwMode="auto">
            <a:xfrm>
              <a:off x="5975002" y="2792350"/>
              <a:ext cx="247648" cy="247638"/>
            </a:xfrm>
            <a:prstGeom prst="ellipse">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8" name="Oval 77">
              <a:extLst>
                <a:ext uri="{FF2B5EF4-FFF2-40B4-BE49-F238E27FC236}">
                  <a16:creationId xmlns:a16="http://schemas.microsoft.com/office/drawing/2014/main" id="{715EA411-1CBA-18E4-9251-60222808149C}"/>
                </a:ext>
              </a:extLst>
            </p:cNvPr>
            <p:cNvSpPr/>
            <p:nvPr/>
          </p:nvSpPr>
          <p:spPr bwMode="auto">
            <a:xfrm>
              <a:off x="8220888" y="2792350"/>
              <a:ext cx="247648" cy="247638"/>
            </a:xfrm>
            <a:prstGeom prst="ellipse">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79" name="Oval 78">
              <a:extLst>
                <a:ext uri="{FF2B5EF4-FFF2-40B4-BE49-F238E27FC236}">
                  <a16:creationId xmlns:a16="http://schemas.microsoft.com/office/drawing/2014/main" id="{A6B61781-E16F-9642-6B99-0BEDFB3900AE}"/>
                </a:ext>
              </a:extLst>
            </p:cNvPr>
            <p:cNvSpPr/>
            <p:nvPr/>
          </p:nvSpPr>
          <p:spPr bwMode="auto">
            <a:xfrm>
              <a:off x="10466774" y="2792350"/>
              <a:ext cx="247648" cy="24763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23" name="Rectangle 22">
            <a:extLst>
              <a:ext uri="{FF2B5EF4-FFF2-40B4-BE49-F238E27FC236}">
                <a16:creationId xmlns:a16="http://schemas.microsoft.com/office/drawing/2014/main" id="{A862D3FE-3A90-A948-E7DE-D367F1A6A8E9}"/>
              </a:ext>
            </a:extLst>
          </p:cNvPr>
          <p:cNvSpPr/>
          <p:nvPr userDrawn="1"/>
        </p:nvSpPr>
        <p:spPr bwMode="auto">
          <a:xfrm>
            <a:off x="0" y="5740399"/>
            <a:ext cx="12192000" cy="528639"/>
          </a:xfrm>
          <a:prstGeom prst="rect">
            <a:avLst/>
          </a:prstGeom>
          <a:solidFill>
            <a:schemeClr val="accent1">
              <a:lumMod val="60000"/>
              <a:lumOff val="40000"/>
            </a:schemeClr>
          </a:solidFill>
        </p:spPr>
        <p:txBody>
          <a:bodyPr wrap="none" lIns="0" tIns="0" rIns="0" bIns="0" anchor="ctr">
            <a:noAutofit/>
          </a:bodyPr>
          <a:lstStyle/>
          <a:p>
            <a:pPr algn="ctr" defTabSz="914225">
              <a:spcBef>
                <a:spcPts val="300"/>
              </a:spcBef>
            </a:pPr>
            <a:endParaRPr lang="en-US" sz="2000" b="1">
              <a:latin typeface="+mj-lt"/>
              <a:cs typeface="Segoe UI Light" panose="020B0502040204020203" pitchFamily="34" charset="0"/>
            </a:endParaRPr>
          </a:p>
        </p:txBody>
      </p:sp>
      <p:sp>
        <p:nvSpPr>
          <p:cNvPr id="24" name="Text Placeholder 5">
            <a:extLst>
              <a:ext uri="{FF2B5EF4-FFF2-40B4-BE49-F238E27FC236}">
                <a16:creationId xmlns:a16="http://schemas.microsoft.com/office/drawing/2014/main" id="{C00BF7BD-BB37-74C4-DB15-842B75962725}"/>
              </a:ext>
            </a:extLst>
          </p:cNvPr>
          <p:cNvSpPr>
            <a:spLocks noGrp="1"/>
          </p:cNvSpPr>
          <p:nvPr>
            <p:ph type="body" sz="quarter" idx="17" hasCustomPrompt="1"/>
          </p:nvPr>
        </p:nvSpPr>
        <p:spPr>
          <a:xfrm>
            <a:off x="746998" y="3382116"/>
            <a:ext cx="1720111"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26" name="Text Placeholder 5">
            <a:extLst>
              <a:ext uri="{FF2B5EF4-FFF2-40B4-BE49-F238E27FC236}">
                <a16:creationId xmlns:a16="http://schemas.microsoft.com/office/drawing/2014/main" id="{AC1A12C4-2877-F689-2C58-2D07DF179326}"/>
              </a:ext>
            </a:extLst>
          </p:cNvPr>
          <p:cNvSpPr>
            <a:spLocks noGrp="1"/>
          </p:cNvSpPr>
          <p:nvPr>
            <p:ph type="body" sz="quarter" idx="18" hasCustomPrompt="1"/>
          </p:nvPr>
        </p:nvSpPr>
        <p:spPr>
          <a:xfrm>
            <a:off x="746998" y="3777344"/>
            <a:ext cx="1720111"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29" name="Text Placeholder 5">
            <a:extLst>
              <a:ext uri="{FF2B5EF4-FFF2-40B4-BE49-F238E27FC236}">
                <a16:creationId xmlns:a16="http://schemas.microsoft.com/office/drawing/2014/main" id="{89EA3349-7962-D06F-BC2D-DB5B9AA42AEC}"/>
              </a:ext>
            </a:extLst>
          </p:cNvPr>
          <p:cNvSpPr>
            <a:spLocks noGrp="1"/>
          </p:cNvSpPr>
          <p:nvPr>
            <p:ph type="body" sz="quarter" idx="19" hasCustomPrompt="1"/>
          </p:nvPr>
        </p:nvSpPr>
        <p:spPr>
          <a:xfrm>
            <a:off x="2992884" y="3382116"/>
            <a:ext cx="1720111"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0" name="Text Placeholder 5">
            <a:extLst>
              <a:ext uri="{FF2B5EF4-FFF2-40B4-BE49-F238E27FC236}">
                <a16:creationId xmlns:a16="http://schemas.microsoft.com/office/drawing/2014/main" id="{0547FCCB-EEF3-45F0-83CD-A2BFECE7AD39}"/>
              </a:ext>
            </a:extLst>
          </p:cNvPr>
          <p:cNvSpPr>
            <a:spLocks noGrp="1"/>
          </p:cNvSpPr>
          <p:nvPr>
            <p:ph type="body" sz="quarter" idx="20" hasCustomPrompt="1"/>
          </p:nvPr>
        </p:nvSpPr>
        <p:spPr>
          <a:xfrm>
            <a:off x="2992884" y="3777344"/>
            <a:ext cx="1720111"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1" name="Text Placeholder 5">
            <a:extLst>
              <a:ext uri="{FF2B5EF4-FFF2-40B4-BE49-F238E27FC236}">
                <a16:creationId xmlns:a16="http://schemas.microsoft.com/office/drawing/2014/main" id="{F942BA0A-48FC-1102-3A95-4355E546C8C6}"/>
              </a:ext>
            </a:extLst>
          </p:cNvPr>
          <p:cNvSpPr>
            <a:spLocks noGrp="1"/>
          </p:cNvSpPr>
          <p:nvPr>
            <p:ph type="body" sz="quarter" idx="21" hasCustomPrompt="1"/>
          </p:nvPr>
        </p:nvSpPr>
        <p:spPr>
          <a:xfrm>
            <a:off x="5238770" y="3382116"/>
            <a:ext cx="1720111"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32" name="Text Placeholder 5">
            <a:extLst>
              <a:ext uri="{FF2B5EF4-FFF2-40B4-BE49-F238E27FC236}">
                <a16:creationId xmlns:a16="http://schemas.microsoft.com/office/drawing/2014/main" id="{9E65D7D4-2B96-7BD6-F82E-E753745D4F4D}"/>
              </a:ext>
            </a:extLst>
          </p:cNvPr>
          <p:cNvSpPr>
            <a:spLocks noGrp="1"/>
          </p:cNvSpPr>
          <p:nvPr>
            <p:ph type="body" sz="quarter" idx="22" hasCustomPrompt="1"/>
          </p:nvPr>
        </p:nvSpPr>
        <p:spPr>
          <a:xfrm>
            <a:off x="5238770" y="3777344"/>
            <a:ext cx="1720111"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33" name="Text Placeholder 5">
            <a:extLst>
              <a:ext uri="{FF2B5EF4-FFF2-40B4-BE49-F238E27FC236}">
                <a16:creationId xmlns:a16="http://schemas.microsoft.com/office/drawing/2014/main" id="{BDD24F2A-6A77-18F4-079E-929B7E20A55E}"/>
              </a:ext>
            </a:extLst>
          </p:cNvPr>
          <p:cNvSpPr>
            <a:spLocks noGrp="1"/>
          </p:cNvSpPr>
          <p:nvPr>
            <p:ph type="body" sz="quarter" idx="23" hasCustomPrompt="1"/>
          </p:nvPr>
        </p:nvSpPr>
        <p:spPr>
          <a:xfrm>
            <a:off x="585217" y="5866219"/>
            <a:ext cx="11021566" cy="276999"/>
          </a:xfrm>
          <a:prstGeom prst="rect">
            <a:avLst/>
          </a:prstGeom>
        </p:spPr>
        <p:txBody>
          <a:bodyPr wrap="square" lIns="0" tIns="0" rIns="0" bIns="0">
            <a:spAutoFit/>
          </a:bodyPr>
          <a:lstStyle>
            <a:lvl1pPr marL="0" indent="0" algn="ctr">
              <a:buNone/>
              <a:defRPr sz="1800">
                <a:solidFill>
                  <a:schemeClr val="tx1"/>
                </a:solidFill>
                <a:latin typeface="+mj-lt"/>
              </a:defRPr>
            </a:lvl1pPr>
          </a:lstStyle>
          <a:p>
            <a:pPr lvl="0"/>
            <a:r>
              <a:rPr lang="en-US"/>
              <a:t>Title goes here</a:t>
            </a:r>
          </a:p>
        </p:txBody>
      </p:sp>
      <p:sp>
        <p:nvSpPr>
          <p:cNvPr id="61" name="Text Placeholder 5">
            <a:extLst>
              <a:ext uri="{FF2B5EF4-FFF2-40B4-BE49-F238E27FC236}">
                <a16:creationId xmlns:a16="http://schemas.microsoft.com/office/drawing/2014/main" id="{4749B426-7B5C-039D-6CDE-BCF564F0BE0D}"/>
              </a:ext>
            </a:extLst>
          </p:cNvPr>
          <p:cNvSpPr>
            <a:spLocks noGrp="1"/>
          </p:cNvSpPr>
          <p:nvPr>
            <p:ph type="body" sz="quarter" idx="24" hasCustomPrompt="1"/>
          </p:nvPr>
        </p:nvSpPr>
        <p:spPr>
          <a:xfrm>
            <a:off x="9730543" y="3382116"/>
            <a:ext cx="1720111"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62" name="Text Placeholder 5">
            <a:extLst>
              <a:ext uri="{FF2B5EF4-FFF2-40B4-BE49-F238E27FC236}">
                <a16:creationId xmlns:a16="http://schemas.microsoft.com/office/drawing/2014/main" id="{E7A495FC-D3D9-D7B8-F094-AA16972D687E}"/>
              </a:ext>
            </a:extLst>
          </p:cNvPr>
          <p:cNvSpPr>
            <a:spLocks noGrp="1"/>
          </p:cNvSpPr>
          <p:nvPr>
            <p:ph type="body" sz="quarter" idx="25" hasCustomPrompt="1"/>
          </p:nvPr>
        </p:nvSpPr>
        <p:spPr>
          <a:xfrm>
            <a:off x="9730543" y="3777344"/>
            <a:ext cx="1720111"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
        <p:nvSpPr>
          <p:cNvPr id="80" name="Text Placeholder 5">
            <a:extLst>
              <a:ext uri="{FF2B5EF4-FFF2-40B4-BE49-F238E27FC236}">
                <a16:creationId xmlns:a16="http://schemas.microsoft.com/office/drawing/2014/main" id="{0C923A10-B99D-7E44-7E33-BBD682409443}"/>
              </a:ext>
            </a:extLst>
          </p:cNvPr>
          <p:cNvSpPr>
            <a:spLocks noGrp="1"/>
          </p:cNvSpPr>
          <p:nvPr>
            <p:ph type="body" sz="quarter" idx="26" hasCustomPrompt="1"/>
          </p:nvPr>
        </p:nvSpPr>
        <p:spPr>
          <a:xfrm>
            <a:off x="7484656" y="3382116"/>
            <a:ext cx="1720111" cy="276999"/>
          </a:xfrm>
          <a:prstGeom prst="rect">
            <a:avLst/>
          </a:prstGeom>
        </p:spPr>
        <p:txBody>
          <a:bodyPr wrap="square" lIns="0" tIns="0" rIns="0" bIns="0">
            <a:spAutoFit/>
          </a:bodyPr>
          <a:lstStyle>
            <a:lvl1pPr marL="0" indent="0" algn="ctr">
              <a:buNone/>
              <a:defRPr sz="1800">
                <a:solidFill>
                  <a:schemeClr val="accent1">
                    <a:lumMod val="60000"/>
                    <a:lumOff val="40000"/>
                  </a:schemeClr>
                </a:solidFill>
                <a:latin typeface="+mj-lt"/>
              </a:defRPr>
            </a:lvl1pPr>
          </a:lstStyle>
          <a:p>
            <a:pPr lvl="0"/>
            <a:r>
              <a:rPr lang="en-US"/>
              <a:t>Title goes here</a:t>
            </a:r>
          </a:p>
        </p:txBody>
      </p:sp>
      <p:sp>
        <p:nvSpPr>
          <p:cNvPr id="81" name="Text Placeholder 5">
            <a:extLst>
              <a:ext uri="{FF2B5EF4-FFF2-40B4-BE49-F238E27FC236}">
                <a16:creationId xmlns:a16="http://schemas.microsoft.com/office/drawing/2014/main" id="{B311C71C-7A18-43DA-BE3C-0D01834F103D}"/>
              </a:ext>
            </a:extLst>
          </p:cNvPr>
          <p:cNvSpPr>
            <a:spLocks noGrp="1"/>
          </p:cNvSpPr>
          <p:nvPr>
            <p:ph type="body" sz="quarter" idx="27" hasCustomPrompt="1"/>
          </p:nvPr>
        </p:nvSpPr>
        <p:spPr>
          <a:xfrm>
            <a:off x="7484656" y="3777344"/>
            <a:ext cx="1720111" cy="1752151"/>
          </a:xfrm>
          <a:prstGeom prst="rect">
            <a:avLst/>
          </a:prstGeom>
        </p:spPr>
        <p:txBody>
          <a:bodyPr lIns="0" tIns="0" rIns="0" bIns="0">
            <a:noAutofit/>
          </a:bodyPr>
          <a:lstStyle>
            <a:lvl1pPr marL="0" indent="0" algn="ctr">
              <a:buNone/>
              <a:defRPr sz="1800">
                <a:solidFill>
                  <a:schemeClr val="bg1"/>
                </a:solidFill>
                <a:latin typeface="+mn-lt"/>
              </a:defRPr>
            </a:lvl1pPr>
          </a:lstStyle>
          <a:p>
            <a:pPr lvl="0"/>
            <a:r>
              <a:rPr lang="en-US"/>
              <a:t>Text goes here</a:t>
            </a:r>
          </a:p>
        </p:txBody>
      </p:sp>
    </p:spTree>
    <p:extLst>
      <p:ext uri="{BB962C8B-B14F-4D97-AF65-F5344CB8AC3E}">
        <p14:creationId xmlns:p14="http://schemas.microsoft.com/office/powerpoint/2010/main" val="161995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2 Title and conten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D246A81-2EE7-EA19-FC66-D662FFF4CB14}"/>
              </a:ext>
            </a:extLst>
          </p:cNvPr>
          <p:cNvCxnSpPr>
            <a:cxnSpLocks/>
          </p:cNvCxnSpPr>
          <p:nvPr userDrawn="1"/>
        </p:nvCxnSpPr>
        <p:spPr>
          <a:xfrm rot="5400000" flipH="1">
            <a:off x="2673286" y="2548128"/>
            <a:ext cx="4791456"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Rectangle: Single Corner Rounded 7">
            <a:extLst>
              <a:ext uri="{FF2B5EF4-FFF2-40B4-BE49-F238E27FC236}">
                <a16:creationId xmlns:a16="http://schemas.microsoft.com/office/drawing/2014/main" id="{6E321D9C-2618-42BF-C821-1082000BC8EB}"/>
              </a:ext>
              <a:ext uri="{C183D7F6-B498-43B3-948B-1728B52AA6E4}">
                <adec:decorative xmlns:adec="http://schemas.microsoft.com/office/drawing/2017/decorative" val="1"/>
              </a:ext>
            </a:extLst>
          </p:cNvPr>
          <p:cNvSpPr>
            <a:spLocks/>
          </p:cNvSpPr>
          <p:nvPr userDrawn="1"/>
        </p:nvSpPr>
        <p:spPr bwMode="auto">
          <a:xfrm flipV="1">
            <a:off x="-2" y="0"/>
            <a:ext cx="5069016" cy="6071728"/>
          </a:xfrm>
          <a:prstGeom prst="round1Rect">
            <a:avLst>
              <a:gd name="adj" fmla="val 330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34" name="Text Placeholder 5">
            <a:extLst>
              <a:ext uri="{FF2B5EF4-FFF2-40B4-BE49-F238E27FC236}">
                <a16:creationId xmlns:a16="http://schemas.microsoft.com/office/drawing/2014/main" id="{A64E6D4C-BF5D-5C85-72E1-5F27FA994B02}"/>
              </a:ext>
            </a:extLst>
          </p:cNvPr>
          <p:cNvSpPr>
            <a:spLocks noGrp="1"/>
          </p:cNvSpPr>
          <p:nvPr>
            <p:ph type="body" sz="quarter" idx="16"/>
          </p:nvPr>
        </p:nvSpPr>
        <p:spPr>
          <a:xfrm>
            <a:off x="588263" y="4046354"/>
            <a:ext cx="3786166" cy="1661993"/>
          </a:xfrm>
          <a:prstGeom prst="rect">
            <a:avLst/>
          </a:prstGeom>
        </p:spPr>
        <p:txBody>
          <a:bodyPr lIns="0" tIns="0" rIns="0" bIns="0"/>
          <a:lstStyle>
            <a:lvl1pPr marL="0" indent="0" algn="l">
              <a:buNone/>
              <a:defRPr sz="2400">
                <a:solidFill>
                  <a:schemeClr val="bg1"/>
                </a:solidFill>
                <a:latin typeface="+mj-lt"/>
              </a:defRPr>
            </a:lvl1pPr>
            <a:lvl2pPr>
              <a:defRPr kumimoji="0" lang="en-US" sz="1800" b="0" i="0" u="none" strike="noStrike" kern="1200" cap="none" spc="0" normalizeH="0" baseline="0" dirty="0">
                <a:ln>
                  <a:noFill/>
                </a:ln>
                <a:solidFill>
                  <a:srgbClr val="FFFFFF"/>
                </a:solidFill>
                <a:effectLst/>
                <a:uLnTx/>
                <a:uFillTx/>
                <a:latin typeface="+mn-lt"/>
                <a:ea typeface="+mn-ea"/>
                <a:cs typeface="Segoe UI" panose="020B0502040204020203" pitchFamily="34" charset="0"/>
              </a:defRPr>
            </a:lvl2pPr>
          </a:lstStyle>
          <a:p>
            <a:pPr marL="0" marR="0" lvl="1"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lang="en-US"/>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220393"/>
            <a:ext cx="3786164" cy="1661993"/>
          </a:xfrm>
        </p:spPr>
        <p:txBody>
          <a:bodyPr/>
          <a:lstStyle/>
          <a:p>
            <a:r>
              <a:rPr lang="en-US"/>
              <a:t>Click to edit Master title style</a:t>
            </a:r>
          </a:p>
        </p:txBody>
      </p:sp>
      <p:sp>
        <p:nvSpPr>
          <p:cNvPr id="32" name="Rectangle: Top Corners Rounded 31">
            <a:extLst>
              <a:ext uri="{FF2B5EF4-FFF2-40B4-BE49-F238E27FC236}">
                <a16:creationId xmlns:a16="http://schemas.microsoft.com/office/drawing/2014/main" id="{E82CD29E-9D7D-A47E-5D97-B3E51B9E707A}"/>
              </a:ext>
              <a:ext uri="{C183D7F6-B498-43B3-948B-1728B52AA6E4}">
                <adec:decorative xmlns:adec="http://schemas.microsoft.com/office/drawing/2017/decorative" val="1"/>
              </a:ext>
            </a:extLst>
          </p:cNvPr>
          <p:cNvSpPr>
            <a:spLocks/>
          </p:cNvSpPr>
          <p:nvPr userDrawn="1"/>
        </p:nvSpPr>
        <p:spPr bwMode="auto">
          <a:xfrm rot="5400000">
            <a:off x="318030" y="-24710"/>
            <a:ext cx="1798914" cy="2434978"/>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27030799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1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7B40140-2EC2-05D5-D6F6-9A2391A33EA2}"/>
              </a:ext>
            </a:extLst>
          </p:cNvPr>
          <p:cNvGrpSpPr/>
          <p:nvPr userDrawn="1"/>
        </p:nvGrpSpPr>
        <p:grpSpPr>
          <a:xfrm>
            <a:off x="-1" y="1010079"/>
            <a:ext cx="12192001" cy="4837842"/>
            <a:chOff x="-1" y="1432554"/>
            <a:chExt cx="12192001" cy="4837842"/>
          </a:xfrm>
        </p:grpSpPr>
        <p:grpSp>
          <p:nvGrpSpPr>
            <p:cNvPr id="11" name="Group 10">
              <a:extLst>
                <a:ext uri="{FF2B5EF4-FFF2-40B4-BE49-F238E27FC236}">
                  <a16:creationId xmlns:a16="http://schemas.microsoft.com/office/drawing/2014/main" id="{FF0F2C59-5B5E-6602-4E69-874901028F76}"/>
                </a:ext>
              </a:extLst>
            </p:cNvPr>
            <p:cNvGrpSpPr/>
            <p:nvPr/>
          </p:nvGrpSpPr>
          <p:grpSpPr>
            <a:xfrm>
              <a:off x="0" y="1436688"/>
              <a:ext cx="12192000" cy="4833708"/>
              <a:chOff x="0" y="1436688"/>
              <a:chExt cx="12192000" cy="4833708"/>
            </a:xfrm>
          </p:grpSpPr>
          <p:cxnSp>
            <p:nvCxnSpPr>
              <p:cNvPr id="13" name="Straight Connector 12">
                <a:extLst>
                  <a:ext uri="{FF2B5EF4-FFF2-40B4-BE49-F238E27FC236}">
                    <a16:creationId xmlns:a16="http://schemas.microsoft.com/office/drawing/2014/main" id="{FFAE91B3-8F62-02B8-5F58-A36A7B293AB3}"/>
                  </a:ext>
                </a:extLst>
              </p:cNvPr>
              <p:cNvCxnSpPr>
                <a:cxnSpLocks/>
              </p:cNvCxnSpPr>
              <p:nvPr/>
            </p:nvCxnSpPr>
            <p:spPr>
              <a:xfrm>
                <a:off x="7403648" y="6270396"/>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2C2FA7D-9D8A-84A7-AC98-EE47A3E3C592}"/>
                  </a:ext>
                </a:extLst>
              </p:cNvPr>
              <p:cNvCxnSpPr>
                <a:cxnSpLocks/>
              </p:cNvCxnSpPr>
              <p:nvPr/>
            </p:nvCxnSpPr>
            <p:spPr>
              <a:xfrm>
                <a:off x="0" y="1436688"/>
                <a:ext cx="4788352" cy="0"/>
              </a:xfrm>
              <a:prstGeom prst="line">
                <a:avLst/>
              </a:prstGeom>
              <a:ln w="38100">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F3AFE6B7-E9B4-CAA8-FF29-EF5A34654D4E}"/>
                </a:ext>
              </a:extLst>
            </p:cNvPr>
            <p:cNvSpPr>
              <a:spLocks/>
            </p:cNvSpPr>
            <p:nvPr/>
          </p:nvSpPr>
          <p:spPr bwMode="auto">
            <a:xfrm>
              <a:off x="-1" y="1432554"/>
              <a:ext cx="12192001" cy="4833708"/>
            </a:xfrm>
            <a:prstGeom prst="rect">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
        <p:nvSpPr>
          <p:cNvPr id="16" name="Text Placeholder 15">
            <a:extLst>
              <a:ext uri="{FF2B5EF4-FFF2-40B4-BE49-F238E27FC236}">
                <a16:creationId xmlns:a16="http://schemas.microsoft.com/office/drawing/2014/main" id="{C0AB1503-5C46-A634-8606-E0F5DE9C77C4}"/>
              </a:ext>
            </a:extLst>
          </p:cNvPr>
          <p:cNvSpPr>
            <a:spLocks noGrp="1"/>
          </p:cNvSpPr>
          <p:nvPr>
            <p:ph type="body" sz="quarter" idx="13" hasCustomPrompt="1"/>
          </p:nvPr>
        </p:nvSpPr>
        <p:spPr>
          <a:xfrm>
            <a:off x="584200" y="3107618"/>
            <a:ext cx="11025188" cy="1930400"/>
          </a:xfrm>
          <a:prstGeom prst="rect">
            <a:avLst/>
          </a:prstGeom>
        </p:spPr>
        <p:txBody>
          <a:bodyPr lIns="0" tIns="0" rIns="0" bIns="0"/>
          <a:lstStyle>
            <a:lvl1pPr marL="0" indent="0"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a:r>
              <a:rPr lang="en-GB"/>
              <a:t>Quote slide</a:t>
            </a:r>
            <a:endParaRPr lang="en-US"/>
          </a:p>
        </p:txBody>
      </p:sp>
    </p:spTree>
    <p:extLst>
      <p:ext uri="{BB962C8B-B14F-4D97-AF65-F5344CB8AC3E}">
        <p14:creationId xmlns:p14="http://schemas.microsoft.com/office/powerpoint/2010/main" val="17842730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689B6-8627-5B77-B240-CC506BB375A6}"/>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0881B9A-2E75-F0C9-AA09-BDEC30875202}"/>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16839AD7-9537-D374-E62A-6CBF0E444DF1}"/>
              </a:ext>
            </a:extLst>
          </p:cNvPr>
          <p:cNvSpPr>
            <a:spLocks noGrp="1"/>
          </p:cNvSpPr>
          <p:nvPr>
            <p:ph type="sldNum" sz="quarter" idx="12"/>
          </p:nvPr>
        </p:nvSpPr>
        <p:spPr/>
        <p:txBody>
          <a:bodyPr/>
          <a:lstStyle/>
          <a:p>
            <a:fld id="{3EACB2C3-DD36-421B-9698-D751C1BD7E45}" type="slidenum">
              <a:rPr lang="en-US" smtClean="0"/>
              <a:t>‹#›</a:t>
            </a:fld>
            <a:endParaRPr lang="en-US"/>
          </a:p>
        </p:txBody>
      </p:sp>
    </p:spTree>
    <p:extLst>
      <p:ext uri="{BB962C8B-B14F-4D97-AF65-F5344CB8AC3E}">
        <p14:creationId xmlns:p14="http://schemas.microsoft.com/office/powerpoint/2010/main" val="322528076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EA5404D-AD32-084F-EEF6-3BCF0A7E13AD}"/>
              </a:ext>
            </a:extLst>
          </p:cNvPr>
          <p:cNvSpPr/>
          <p:nvPr userDrawn="1"/>
        </p:nvSpPr>
        <p:spPr bwMode="auto">
          <a:xfrm>
            <a:off x="0" y="4711700"/>
            <a:ext cx="12192000" cy="21463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9" name="Picture 18" descr="See the source image">
            <a:extLst>
              <a:ext uri="{FF2B5EF4-FFF2-40B4-BE49-F238E27FC236}">
                <a16:creationId xmlns:a16="http://schemas.microsoft.com/office/drawing/2014/main" id="{94601C65-3153-A162-AF47-2EC6820BE57D}"/>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2622547" y="2622547"/>
            <a:ext cx="6857997" cy="1612902"/>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Top Corners Rounded 15">
            <a:extLst>
              <a:ext uri="{FF2B5EF4-FFF2-40B4-BE49-F238E27FC236}">
                <a16:creationId xmlns:a16="http://schemas.microsoft.com/office/drawing/2014/main" id="{3E9DCC3A-CF8D-1664-9B85-5FB0537B3EDC}"/>
              </a:ext>
            </a:extLst>
          </p:cNvPr>
          <p:cNvSpPr>
            <a:spLocks/>
          </p:cNvSpPr>
          <p:nvPr userDrawn="1"/>
        </p:nvSpPr>
        <p:spPr bwMode="auto">
          <a:xfrm rot="5400000">
            <a:off x="2313088" y="1527812"/>
            <a:ext cx="852604" cy="5478780"/>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 name="Rectangle: Top Corners Rounded 14">
            <a:extLst>
              <a:ext uri="{FF2B5EF4-FFF2-40B4-BE49-F238E27FC236}">
                <a16:creationId xmlns:a16="http://schemas.microsoft.com/office/drawing/2014/main" id="{1A8DF33E-3BAE-E965-42F3-5312697BCDE2}"/>
              </a:ext>
            </a:extLst>
          </p:cNvPr>
          <p:cNvSpPr>
            <a:spLocks/>
          </p:cNvSpPr>
          <p:nvPr userDrawn="1"/>
        </p:nvSpPr>
        <p:spPr bwMode="auto">
          <a:xfrm rot="16200000" flipH="1">
            <a:off x="8852842" y="-322057"/>
            <a:ext cx="852604" cy="5825712"/>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2" name="Rectangle: Top Corners Rounded 11">
            <a:extLst>
              <a:ext uri="{FF2B5EF4-FFF2-40B4-BE49-F238E27FC236}">
                <a16:creationId xmlns:a16="http://schemas.microsoft.com/office/drawing/2014/main" id="{5DA2F829-818B-D576-0C60-BCB3C8D9CDEB}"/>
              </a:ext>
            </a:extLst>
          </p:cNvPr>
          <p:cNvSpPr>
            <a:spLocks/>
          </p:cNvSpPr>
          <p:nvPr userDrawn="1"/>
        </p:nvSpPr>
        <p:spPr bwMode="auto">
          <a:xfrm rot="16200000">
            <a:off x="5626510" y="-2298291"/>
            <a:ext cx="1676400" cy="11454581"/>
          </a:xfrm>
          <a:prstGeom prst="round2SameRect">
            <a:avLst>
              <a:gd name="adj1" fmla="val 50000"/>
              <a:gd name="adj2" fmla="val 0"/>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F9689B6-8627-5B77-B240-CC506BB375A6}"/>
              </a:ext>
            </a:extLst>
          </p:cNvPr>
          <p:cNvSpPr>
            <a:spLocks noGrp="1"/>
          </p:cNvSpPr>
          <p:nvPr>
            <p:ph type="title"/>
          </p:nvPr>
        </p:nvSpPr>
        <p:spPr>
          <a:xfrm>
            <a:off x="2692400" y="2875002"/>
            <a:ext cx="6565900" cy="1107996"/>
          </a:xfrm>
        </p:spPr>
        <p:txBody>
          <a:bodyPr anchor="ctr"/>
          <a:lstStyle/>
          <a:p>
            <a:r>
              <a:rPr lang="en-US"/>
              <a:t>Click to edit Master title style</a:t>
            </a:r>
          </a:p>
        </p:txBody>
      </p:sp>
      <p:sp>
        <p:nvSpPr>
          <p:cNvPr id="5" name="Footer Placeholder 4">
            <a:extLst>
              <a:ext uri="{FF2B5EF4-FFF2-40B4-BE49-F238E27FC236}">
                <a16:creationId xmlns:a16="http://schemas.microsoft.com/office/drawing/2014/main" id="{40881B9A-2E75-F0C9-AA09-BDEC30875202}"/>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16839AD7-9537-D374-E62A-6CBF0E444DF1}"/>
              </a:ext>
            </a:extLst>
          </p:cNvPr>
          <p:cNvSpPr>
            <a:spLocks noGrp="1"/>
          </p:cNvSpPr>
          <p:nvPr>
            <p:ph type="sldNum" sz="quarter" idx="12"/>
          </p:nvPr>
        </p:nvSpPr>
        <p:spPr/>
        <p:txBody>
          <a:bodyPr/>
          <a:lstStyle/>
          <a:p>
            <a:fld id="{3EACB2C3-DD36-421B-9698-D751C1BD7E45}" type="slidenum">
              <a:rPr lang="en-US" smtClean="0"/>
              <a:t>‹#›</a:t>
            </a:fld>
            <a:endParaRPr lang="en-US"/>
          </a:p>
        </p:txBody>
      </p:sp>
      <p:sp>
        <p:nvSpPr>
          <p:cNvPr id="17" name="Oval 16">
            <a:extLst>
              <a:ext uri="{FF2B5EF4-FFF2-40B4-BE49-F238E27FC236}">
                <a16:creationId xmlns:a16="http://schemas.microsoft.com/office/drawing/2014/main" id="{E8455FD6-2EC5-5D90-EEA8-5C1436BE5A81}"/>
              </a:ext>
              <a:ext uri="{C183D7F6-B498-43B3-948B-1728B52AA6E4}">
                <adec:decorative xmlns:adec="http://schemas.microsoft.com/office/drawing/2017/decorative" val="1"/>
              </a:ext>
            </a:extLst>
          </p:cNvPr>
          <p:cNvSpPr/>
          <p:nvPr userDrawn="1"/>
        </p:nvSpPr>
        <p:spPr bwMode="auto">
          <a:xfrm>
            <a:off x="911780" y="2743200"/>
            <a:ext cx="1369022" cy="1371598"/>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47886635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30A021-3284-87D7-C3D0-C510E63ED306}"/>
              </a:ext>
            </a:extLst>
          </p:cNvPr>
          <p:cNvSpPr/>
          <p:nvPr userDrawn="1"/>
        </p:nvSpPr>
        <p:spPr bwMode="auto">
          <a:xfrm>
            <a:off x="9484608" y="0"/>
            <a:ext cx="2707392" cy="6857999"/>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11C86D7D-E6FC-9C8E-62BD-08FA562E8F50}"/>
              </a:ext>
            </a:extLst>
          </p:cNvPr>
          <p:cNvSpPr/>
          <p:nvPr userDrawn="1"/>
        </p:nvSpPr>
        <p:spPr bwMode="auto">
          <a:xfrm>
            <a:off x="0" y="4711700"/>
            <a:ext cx="12192000" cy="21463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descr="See the source image">
            <a:extLst>
              <a:ext uri="{FF2B5EF4-FFF2-40B4-BE49-F238E27FC236}">
                <a16:creationId xmlns:a16="http://schemas.microsoft.com/office/drawing/2014/main" id="{FF2A3AC9-333A-E7A7-6AE6-4738E852BD40}"/>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5400000">
            <a:off x="7956551" y="2622547"/>
            <a:ext cx="6857997" cy="16129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See the source image">
            <a:extLst>
              <a:ext uri="{FF2B5EF4-FFF2-40B4-BE49-F238E27FC236}">
                <a16:creationId xmlns:a16="http://schemas.microsoft.com/office/drawing/2014/main" id="{C4C00CE8-C508-EB68-F9CF-5C1D6462B31D}"/>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2622547" y="2622547"/>
            <a:ext cx="6857997" cy="161290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B3AC6768-42AD-97CE-DF87-123067A73549}"/>
              </a:ext>
            </a:extLst>
          </p:cNvPr>
          <p:cNvSpPr/>
          <p:nvPr userDrawn="1"/>
        </p:nvSpPr>
        <p:spPr bwMode="auto">
          <a:xfrm>
            <a:off x="584200" y="1054100"/>
            <a:ext cx="11023602" cy="4749800"/>
          </a:xfrm>
          <a:prstGeom prst="roundRect">
            <a:avLst>
              <a:gd name="adj" fmla="val 3414"/>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latin typeface="Segoe UI"/>
              <a:cs typeface="Segoe UI" pitchFamily="34" charset="0"/>
            </a:endParaRPr>
          </a:p>
        </p:txBody>
      </p:sp>
      <p:cxnSp>
        <p:nvCxnSpPr>
          <p:cNvPr id="9" name="Straight Connector 8">
            <a:extLst>
              <a:ext uri="{FF2B5EF4-FFF2-40B4-BE49-F238E27FC236}">
                <a16:creationId xmlns:a16="http://schemas.microsoft.com/office/drawing/2014/main" id="{484B6095-709D-9097-12C0-7AE60905F95C}"/>
              </a:ext>
            </a:extLst>
          </p:cNvPr>
          <p:cNvCxnSpPr>
            <a:cxnSpLocks/>
          </p:cNvCxnSpPr>
          <p:nvPr userDrawn="1"/>
        </p:nvCxnSpPr>
        <p:spPr>
          <a:xfrm flipH="1">
            <a:off x="3233112" y="5803900"/>
            <a:ext cx="5725778" cy="0"/>
          </a:xfrm>
          <a:prstGeom prst="line">
            <a:avLst/>
          </a:prstGeom>
          <a:ln w="9525">
            <a:gradFill flip="none" rotWithShape="1">
              <a:gsLst>
                <a:gs pos="0">
                  <a:schemeClr val="accent1">
                    <a:lumMod val="40000"/>
                    <a:lumOff val="60000"/>
                    <a:alpha val="0"/>
                  </a:schemeClr>
                </a:gs>
                <a:gs pos="50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Freeform: Shape 2">
            <a:extLst>
              <a:ext uri="{FF2B5EF4-FFF2-40B4-BE49-F238E27FC236}">
                <a16:creationId xmlns:a16="http://schemas.microsoft.com/office/drawing/2014/main" id="{7E82D30B-554B-FF74-BFE3-4B4E0928804F}"/>
              </a:ext>
            </a:extLst>
          </p:cNvPr>
          <p:cNvSpPr/>
          <p:nvPr userDrawn="1"/>
        </p:nvSpPr>
        <p:spPr>
          <a:xfrm rot="10800000">
            <a:off x="1080138" y="1540008"/>
            <a:ext cx="787402" cy="472942"/>
          </a:xfrm>
          <a:custGeom>
            <a:avLst/>
            <a:gdLst>
              <a:gd name="connsiteX0" fmla="*/ 147606 w 787402"/>
              <a:gd name="connsiteY0" fmla="*/ 472863 h 472942"/>
              <a:gd name="connsiteX1" fmla="*/ 136820 w 787402"/>
              <a:gd name="connsiteY1" fmla="*/ 452436 h 472942"/>
              <a:gd name="connsiteX2" fmla="*/ 167422 w 787402"/>
              <a:gd name="connsiteY2" fmla="*/ 357843 h 472942"/>
              <a:gd name="connsiteX3" fmla="*/ 0 w 787402"/>
              <a:gd name="connsiteY3" fmla="*/ 179108 h 472942"/>
              <a:gd name="connsiteX4" fmla="*/ 179109 w 787402"/>
              <a:gd name="connsiteY4" fmla="*/ 0 h 472942"/>
              <a:gd name="connsiteX5" fmla="*/ 179106 w 787402"/>
              <a:gd name="connsiteY5" fmla="*/ 5 h 472942"/>
              <a:gd name="connsiteX6" fmla="*/ 358241 w 787402"/>
              <a:gd name="connsiteY6" fmla="*/ 179113 h 472942"/>
              <a:gd name="connsiteX7" fmla="*/ 156718 w 787402"/>
              <a:gd name="connsiteY7" fmla="*/ 470512 h 472942"/>
              <a:gd name="connsiteX8" fmla="*/ 147606 w 787402"/>
              <a:gd name="connsiteY8" fmla="*/ 472863 h 472942"/>
              <a:gd name="connsiteX9" fmla="*/ 576786 w 787402"/>
              <a:gd name="connsiteY9" fmla="*/ 472863 h 472942"/>
              <a:gd name="connsiteX10" fmla="*/ 565978 w 787402"/>
              <a:gd name="connsiteY10" fmla="*/ 452436 h 472942"/>
              <a:gd name="connsiteX11" fmla="*/ 596580 w 787402"/>
              <a:gd name="connsiteY11" fmla="*/ 357843 h 472942"/>
              <a:gd name="connsiteX12" fmla="*/ 429158 w 787402"/>
              <a:gd name="connsiteY12" fmla="*/ 179108 h 472942"/>
              <a:gd name="connsiteX13" fmla="*/ 608293 w 787402"/>
              <a:gd name="connsiteY13" fmla="*/ 0 h 472942"/>
              <a:gd name="connsiteX14" fmla="*/ 608294 w 787402"/>
              <a:gd name="connsiteY14" fmla="*/ 5 h 472942"/>
              <a:gd name="connsiteX15" fmla="*/ 787402 w 787402"/>
              <a:gd name="connsiteY15" fmla="*/ 179113 h 472942"/>
              <a:gd name="connsiteX16" fmla="*/ 585899 w 787402"/>
              <a:gd name="connsiteY16" fmla="*/ 470512 h 472942"/>
              <a:gd name="connsiteX17" fmla="*/ 576786 w 787402"/>
              <a:gd name="connsiteY17" fmla="*/ 472863 h 47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7402" h="472942">
                <a:moveTo>
                  <a:pt x="147606" y="472863"/>
                </a:moveTo>
                <a:cubicBezTo>
                  <a:pt x="138720" y="471880"/>
                  <a:pt x="131666" y="461940"/>
                  <a:pt x="136820" y="452436"/>
                </a:cubicBezTo>
                <a:cubicBezTo>
                  <a:pt x="153304" y="421960"/>
                  <a:pt x="164636" y="390603"/>
                  <a:pt x="167422" y="357843"/>
                </a:cubicBezTo>
                <a:cubicBezTo>
                  <a:pt x="73944" y="351809"/>
                  <a:pt x="0" y="274102"/>
                  <a:pt x="0" y="179108"/>
                </a:cubicBezTo>
                <a:cubicBezTo>
                  <a:pt x="0" y="80178"/>
                  <a:pt x="80204" y="0"/>
                  <a:pt x="179109" y="0"/>
                </a:cubicBezTo>
                <a:lnTo>
                  <a:pt x="179106" y="5"/>
                </a:lnTo>
                <a:cubicBezTo>
                  <a:pt x="278037" y="5"/>
                  <a:pt x="358241" y="80189"/>
                  <a:pt x="358241" y="179113"/>
                </a:cubicBezTo>
                <a:cubicBezTo>
                  <a:pt x="358241" y="319514"/>
                  <a:pt x="261784" y="399613"/>
                  <a:pt x="156718" y="470512"/>
                </a:cubicBezTo>
                <a:cubicBezTo>
                  <a:pt x="153733" y="472523"/>
                  <a:pt x="150568" y="473190"/>
                  <a:pt x="147606" y="472863"/>
                </a:cubicBezTo>
                <a:close/>
                <a:moveTo>
                  <a:pt x="576786" y="472863"/>
                </a:moveTo>
                <a:cubicBezTo>
                  <a:pt x="567899" y="471880"/>
                  <a:pt x="560841" y="461940"/>
                  <a:pt x="565978" y="452436"/>
                </a:cubicBezTo>
                <a:cubicBezTo>
                  <a:pt x="582462" y="421960"/>
                  <a:pt x="593817" y="390603"/>
                  <a:pt x="596580" y="357843"/>
                </a:cubicBezTo>
                <a:cubicBezTo>
                  <a:pt x="503122" y="351809"/>
                  <a:pt x="429158" y="274102"/>
                  <a:pt x="429158" y="179108"/>
                </a:cubicBezTo>
                <a:cubicBezTo>
                  <a:pt x="429158" y="80178"/>
                  <a:pt x="509362" y="0"/>
                  <a:pt x="608293" y="0"/>
                </a:cubicBezTo>
                <a:lnTo>
                  <a:pt x="608294" y="5"/>
                </a:lnTo>
                <a:cubicBezTo>
                  <a:pt x="707198" y="5"/>
                  <a:pt x="787402" y="80189"/>
                  <a:pt x="787402" y="179113"/>
                </a:cubicBezTo>
                <a:cubicBezTo>
                  <a:pt x="787402" y="319514"/>
                  <a:pt x="690965" y="399613"/>
                  <a:pt x="585899" y="470512"/>
                </a:cubicBezTo>
                <a:cubicBezTo>
                  <a:pt x="582914" y="472523"/>
                  <a:pt x="579748" y="473190"/>
                  <a:pt x="576786" y="472863"/>
                </a:cubicBezTo>
                <a:close/>
              </a:path>
            </a:pathLst>
          </a:custGeom>
          <a:gradFill>
            <a:gsLst>
              <a:gs pos="0">
                <a:schemeClr val="accent1"/>
              </a:gs>
              <a:gs pos="100000">
                <a:schemeClr val="accent1">
                  <a:lumMod val="20000"/>
                  <a:lumOff val="80000"/>
                </a:schemeClr>
              </a:gs>
            </a:gsLst>
            <a:lin ang="15000000" scaled="0"/>
          </a:gradFill>
          <a:ln w="20241" cap="flat">
            <a:noFill/>
            <a:prstDash val="solid"/>
            <a:miter/>
          </a:ln>
          <a:effectLst>
            <a:innerShdw blurRad="63500" dist="50800" dir="2700000">
              <a:prstClr val="black">
                <a:alpha val="50000"/>
              </a:prstClr>
            </a:inn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solidFill>
                <a:srgbClr val="000000"/>
              </a:solidFill>
              <a:latin typeface="Segoe UI"/>
            </a:endParaRPr>
          </a:p>
        </p:txBody>
      </p:sp>
      <p:cxnSp>
        <p:nvCxnSpPr>
          <p:cNvPr id="4" name="Straight Connector 3">
            <a:extLst>
              <a:ext uri="{FF2B5EF4-FFF2-40B4-BE49-F238E27FC236}">
                <a16:creationId xmlns:a16="http://schemas.microsoft.com/office/drawing/2014/main" id="{367F4995-4054-CFD3-A3E1-ECC6537DA486}"/>
              </a:ext>
            </a:extLst>
          </p:cNvPr>
          <p:cNvCxnSpPr>
            <a:cxnSpLocks/>
          </p:cNvCxnSpPr>
          <p:nvPr userDrawn="1"/>
        </p:nvCxnSpPr>
        <p:spPr>
          <a:xfrm>
            <a:off x="1080137" y="2311401"/>
            <a:ext cx="5725778" cy="0"/>
          </a:xfrm>
          <a:prstGeom prst="line">
            <a:avLst/>
          </a:prstGeom>
          <a:ln w="9525">
            <a:gradFill flip="none" rotWithShape="1">
              <a:gsLst>
                <a:gs pos="21000">
                  <a:schemeClr val="accent1">
                    <a:lumMod val="40000"/>
                    <a:lumOff val="60000"/>
                  </a:schemeClr>
                </a:gs>
                <a:gs pos="100000">
                  <a:schemeClr val="accent1">
                    <a:lumMod val="40000"/>
                    <a:lumOff val="60000"/>
                    <a:alpha val="0"/>
                  </a:schemeClr>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08DD59B-80B1-8CB8-3FCA-A8E4B1E38C29}"/>
              </a:ext>
            </a:extLst>
          </p:cNvPr>
          <p:cNvSpPr>
            <a:spLocks noGrp="1"/>
          </p:cNvSpPr>
          <p:nvPr>
            <p:ph type="body" sz="quarter" idx="10" hasCustomPrompt="1"/>
          </p:nvPr>
        </p:nvSpPr>
        <p:spPr>
          <a:xfrm>
            <a:off x="1080137" y="2497554"/>
            <a:ext cx="10023292" cy="2252247"/>
          </a:xfrm>
          <a:prstGeom prst="rect">
            <a:avLst/>
          </a:prstGeom>
        </p:spPr>
        <p:txBody>
          <a:bodyPr lIns="0" tIns="0" rIns="0" bIns="0"/>
          <a:lstStyle>
            <a:lvl1pPr marL="0" indent="0" defTabSz="914400" rtl="0" eaLnBrk="1" latinLnBrk="0" hangingPunct="1">
              <a:spcBef>
                <a:spcPts val="600"/>
              </a:spcBef>
              <a:buNone/>
              <a:defRPr lang="en-US" sz="2000" kern="1200" dirty="0" smtClean="0">
                <a:solidFill>
                  <a:schemeClr val="bg1"/>
                </a:solidFill>
                <a:latin typeface="+mn-lt"/>
                <a:ea typeface="+mn-ea"/>
                <a:cs typeface="+mn-cs"/>
              </a:defRPr>
            </a:lvl1pPr>
            <a:lvl2pPr marL="0" defTabSz="914400" rtl="0" eaLnBrk="1" latinLnBrk="0" hangingPunct="1">
              <a:spcBef>
                <a:spcPts val="600"/>
              </a:spcBef>
              <a:defRPr lang="en-US" sz="2000" kern="1200" dirty="0" smtClean="0">
                <a:solidFill>
                  <a:schemeClr val="bg1"/>
                </a:solidFill>
                <a:latin typeface="+mn-lt"/>
                <a:ea typeface="+mn-ea"/>
                <a:cs typeface="+mn-cs"/>
              </a:defRPr>
            </a:lvl2pPr>
            <a:lvl3pPr marL="0" defTabSz="914400" rtl="0" eaLnBrk="1" latinLnBrk="0" hangingPunct="1">
              <a:spcBef>
                <a:spcPts val="600"/>
              </a:spcBef>
              <a:defRPr lang="en-US" sz="2000" kern="1200" dirty="0" smtClean="0">
                <a:solidFill>
                  <a:schemeClr val="bg1"/>
                </a:solidFill>
                <a:latin typeface="+mn-lt"/>
                <a:ea typeface="+mn-ea"/>
                <a:cs typeface="+mn-cs"/>
              </a:defRPr>
            </a:lvl3pPr>
            <a:lvl4pPr marL="0" defTabSz="914400" rtl="0" eaLnBrk="1" latinLnBrk="0" hangingPunct="1">
              <a:spcBef>
                <a:spcPts val="600"/>
              </a:spcBef>
              <a:defRPr lang="en-US" sz="2000" kern="1200" dirty="0" smtClean="0">
                <a:solidFill>
                  <a:schemeClr val="bg1"/>
                </a:solidFill>
                <a:latin typeface="+mn-lt"/>
                <a:ea typeface="+mn-ea"/>
                <a:cs typeface="+mn-cs"/>
              </a:defRPr>
            </a:lvl4pPr>
            <a:lvl5pPr marL="0" defTabSz="914400" rtl="0" eaLnBrk="1" latinLnBrk="0" hangingPunct="1">
              <a:spcBef>
                <a:spcPts val="600"/>
              </a:spcBef>
              <a:defRPr lang="en-US" sz="2000" kern="1200" dirty="0">
                <a:solidFill>
                  <a:schemeClr val="bg1"/>
                </a:solidFill>
                <a:latin typeface="+mn-lt"/>
                <a:ea typeface="+mn-ea"/>
                <a:cs typeface="+mn-cs"/>
              </a:defRPr>
            </a:lvl5pPr>
          </a:lstStyle>
          <a:p>
            <a:pPr>
              <a:spcBef>
                <a:spcPts val="600"/>
              </a:spcBef>
            </a:pPr>
            <a:r>
              <a:rPr lang="en-US" sz="2000">
                <a:solidFill>
                  <a:schemeClr val="bg1"/>
                </a:solidFill>
              </a:rPr>
              <a:t>Lorem ipsum dolor sit </a:t>
            </a:r>
            <a:r>
              <a:rPr lang="en-US" sz="2000" err="1">
                <a:solidFill>
                  <a:schemeClr val="bg1"/>
                </a:solidFill>
              </a:rPr>
              <a:t>amet</a:t>
            </a:r>
            <a:r>
              <a:rPr lang="en-US" sz="2000">
                <a:solidFill>
                  <a:schemeClr val="bg1"/>
                </a:solidFill>
              </a:rPr>
              <a:t>, </a:t>
            </a:r>
            <a:r>
              <a:rPr lang="en-US" sz="2000" err="1">
                <a:solidFill>
                  <a:schemeClr val="bg1"/>
                </a:solidFill>
              </a:rPr>
              <a:t>consectetuer</a:t>
            </a:r>
            <a:r>
              <a:rPr lang="en-US" sz="2000">
                <a:solidFill>
                  <a:schemeClr val="bg1"/>
                </a:solidFill>
              </a:rPr>
              <a:t> </a:t>
            </a:r>
            <a:r>
              <a:rPr lang="en-US" sz="2000" err="1">
                <a:solidFill>
                  <a:schemeClr val="bg1"/>
                </a:solidFill>
              </a:rPr>
              <a:t>adipiscing</a:t>
            </a:r>
            <a:r>
              <a:rPr lang="en-US" sz="2000">
                <a:solidFill>
                  <a:schemeClr val="bg1"/>
                </a:solidFill>
              </a:rPr>
              <a:t> </a:t>
            </a:r>
            <a:r>
              <a:rPr lang="en-US" sz="2000" err="1">
                <a:solidFill>
                  <a:schemeClr val="bg1"/>
                </a:solidFill>
              </a:rPr>
              <a:t>elit</a:t>
            </a:r>
            <a:r>
              <a:rPr lang="en-US" sz="2000">
                <a:solidFill>
                  <a:schemeClr val="bg1"/>
                </a:solidFill>
              </a:rPr>
              <a:t>. Maecenas </a:t>
            </a:r>
            <a:r>
              <a:rPr lang="en-US" sz="2000" err="1">
                <a:solidFill>
                  <a:schemeClr val="bg1"/>
                </a:solidFill>
              </a:rPr>
              <a:t>porttitor</a:t>
            </a:r>
            <a:r>
              <a:rPr lang="en-US" sz="2000">
                <a:solidFill>
                  <a:schemeClr val="bg1"/>
                </a:solidFill>
              </a:rPr>
              <a:t> </a:t>
            </a:r>
            <a:r>
              <a:rPr lang="en-US" sz="2000" err="1">
                <a:solidFill>
                  <a:schemeClr val="bg1"/>
                </a:solidFill>
              </a:rPr>
              <a:t>congue</a:t>
            </a:r>
            <a:r>
              <a:rPr lang="en-US" sz="2000">
                <a:solidFill>
                  <a:schemeClr val="bg1"/>
                </a:solidFill>
              </a:rPr>
              <a:t> </a:t>
            </a:r>
            <a:r>
              <a:rPr lang="en-US" sz="2000" err="1">
                <a:solidFill>
                  <a:schemeClr val="bg1"/>
                </a:solidFill>
              </a:rPr>
              <a:t>massa</a:t>
            </a:r>
            <a:r>
              <a:rPr lang="en-US" sz="2000">
                <a:solidFill>
                  <a:schemeClr val="bg1"/>
                </a:solidFill>
              </a:rPr>
              <a:t>. </a:t>
            </a:r>
            <a:r>
              <a:rPr lang="en-US" sz="2000" err="1">
                <a:solidFill>
                  <a:schemeClr val="bg1"/>
                </a:solidFill>
              </a:rPr>
              <a:t>Fusce</a:t>
            </a:r>
            <a:r>
              <a:rPr lang="en-US" sz="2000">
                <a:solidFill>
                  <a:schemeClr val="bg1"/>
                </a:solidFill>
              </a:rPr>
              <a:t> </a:t>
            </a:r>
            <a:r>
              <a:rPr lang="en-US" sz="2000" err="1">
                <a:solidFill>
                  <a:schemeClr val="bg1"/>
                </a:solidFill>
              </a:rPr>
              <a:t>posuere</a:t>
            </a:r>
            <a:r>
              <a:rPr lang="en-US" sz="2000">
                <a:solidFill>
                  <a:schemeClr val="bg1"/>
                </a:solidFill>
              </a:rPr>
              <a:t>, magna sed pulvinar </a:t>
            </a:r>
            <a:r>
              <a:rPr lang="en-US" sz="2000" err="1">
                <a:solidFill>
                  <a:schemeClr val="bg1"/>
                </a:solidFill>
              </a:rPr>
              <a:t>ultricies</a:t>
            </a:r>
            <a:r>
              <a:rPr lang="en-US" sz="2000">
                <a:solidFill>
                  <a:schemeClr val="bg1"/>
                </a:solidFill>
              </a:rPr>
              <a:t>, </a:t>
            </a:r>
            <a:r>
              <a:rPr lang="en-US" sz="2000" err="1">
                <a:solidFill>
                  <a:schemeClr val="bg1"/>
                </a:solidFill>
              </a:rPr>
              <a:t>purus</a:t>
            </a:r>
            <a:r>
              <a:rPr lang="en-US" sz="2000">
                <a:solidFill>
                  <a:schemeClr val="bg1"/>
                </a:solidFill>
              </a:rPr>
              <a:t> </a:t>
            </a:r>
            <a:r>
              <a:rPr lang="en-US" sz="2000" err="1">
                <a:solidFill>
                  <a:schemeClr val="bg1"/>
                </a:solidFill>
              </a:rPr>
              <a:t>lectus</a:t>
            </a:r>
            <a:r>
              <a:rPr lang="en-US" sz="2000">
                <a:solidFill>
                  <a:schemeClr val="bg1"/>
                </a:solidFill>
              </a:rPr>
              <a:t> </a:t>
            </a:r>
            <a:r>
              <a:rPr lang="en-US" sz="2000" err="1">
                <a:solidFill>
                  <a:schemeClr val="bg1"/>
                </a:solidFill>
              </a:rPr>
              <a:t>malesuada</a:t>
            </a:r>
            <a:r>
              <a:rPr lang="en-US" sz="2000">
                <a:solidFill>
                  <a:schemeClr val="bg1"/>
                </a:solidFill>
              </a:rPr>
              <a:t> libero, sit </a:t>
            </a:r>
            <a:r>
              <a:rPr lang="en-US" sz="2000" err="1">
                <a:solidFill>
                  <a:schemeClr val="bg1"/>
                </a:solidFill>
              </a:rPr>
              <a:t>amet</a:t>
            </a:r>
            <a:r>
              <a:rPr lang="en-US" sz="2000">
                <a:solidFill>
                  <a:schemeClr val="bg1"/>
                </a:solidFill>
              </a:rPr>
              <a:t> </a:t>
            </a:r>
            <a:r>
              <a:rPr lang="en-US" sz="2000" err="1">
                <a:solidFill>
                  <a:schemeClr val="bg1"/>
                </a:solidFill>
              </a:rPr>
              <a:t>commodo</a:t>
            </a:r>
            <a:r>
              <a:rPr lang="en-US" sz="2000">
                <a:solidFill>
                  <a:schemeClr val="bg1"/>
                </a:solidFill>
              </a:rPr>
              <a:t> magna eros </a:t>
            </a:r>
            <a:r>
              <a:rPr lang="en-US" sz="2000" err="1">
                <a:solidFill>
                  <a:schemeClr val="bg1"/>
                </a:solidFill>
              </a:rPr>
              <a:t>quis</a:t>
            </a:r>
            <a:r>
              <a:rPr lang="en-US" sz="2000">
                <a:solidFill>
                  <a:schemeClr val="bg1"/>
                </a:solidFill>
              </a:rPr>
              <a:t> </a:t>
            </a:r>
            <a:r>
              <a:rPr lang="en-US" sz="2000" err="1">
                <a:solidFill>
                  <a:schemeClr val="bg1"/>
                </a:solidFill>
              </a:rPr>
              <a:t>urna</a:t>
            </a:r>
            <a:r>
              <a:rPr lang="en-US" sz="2000">
                <a:solidFill>
                  <a:schemeClr val="bg1"/>
                </a:solidFill>
              </a:rPr>
              <a:t>.</a:t>
            </a:r>
          </a:p>
        </p:txBody>
      </p:sp>
      <p:pic>
        <p:nvPicPr>
          <p:cNvPr id="11" name="Picture 10">
            <a:extLst>
              <a:ext uri="{FF2B5EF4-FFF2-40B4-BE49-F238E27FC236}">
                <a16:creationId xmlns:a16="http://schemas.microsoft.com/office/drawing/2014/main" id="{6CFD686A-2EDC-4602-CF12-DF2156F02966}"/>
              </a:ext>
            </a:extLst>
          </p:cNvPr>
          <p:cNvPicPr>
            <a:picLocks noChangeAspect="1"/>
          </p:cNvPicPr>
          <p:nvPr userDrawn="1"/>
        </p:nvPicPr>
        <p:blipFill rotWithShape="1">
          <a:blip r:embed="rId3">
            <a:alphaModFix amt="38000"/>
          </a:blip>
          <a:srcRect t="30012" r="8105" b="59939"/>
          <a:stretch/>
        </p:blipFill>
        <p:spPr>
          <a:xfrm>
            <a:off x="4030252" y="6183703"/>
            <a:ext cx="8161748" cy="674298"/>
          </a:xfrm>
          <a:prstGeom prst="rect">
            <a:avLst/>
          </a:prstGeom>
        </p:spPr>
      </p:pic>
      <p:sp>
        <p:nvSpPr>
          <p:cNvPr id="16" name="Text Placeholder 15">
            <a:extLst>
              <a:ext uri="{FF2B5EF4-FFF2-40B4-BE49-F238E27FC236}">
                <a16:creationId xmlns:a16="http://schemas.microsoft.com/office/drawing/2014/main" id="{DB2B72C2-1A96-5906-86A5-0DC03C3800F8}"/>
              </a:ext>
            </a:extLst>
          </p:cNvPr>
          <p:cNvSpPr>
            <a:spLocks noGrp="1"/>
          </p:cNvSpPr>
          <p:nvPr>
            <p:ph type="body" sz="quarter" idx="11" hasCustomPrompt="1"/>
          </p:nvPr>
        </p:nvSpPr>
        <p:spPr>
          <a:xfrm>
            <a:off x="1080137" y="5010151"/>
            <a:ext cx="10023292" cy="433981"/>
          </a:xfrm>
          <a:prstGeom prst="rect">
            <a:avLst/>
          </a:prstGeom>
        </p:spPr>
        <p:txBody>
          <a:bodyPr lIns="0" tIns="0" rIns="0" bIns="0" anchor="b"/>
          <a:lstStyle>
            <a:lvl1pPr marL="0" indent="0" algn="r">
              <a:buNone/>
              <a:defRPr sz="2000">
                <a:solidFill>
                  <a:schemeClr val="accent1">
                    <a:lumMod val="60000"/>
                    <a:lumOff val="40000"/>
                  </a:schemeClr>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IN"/>
              <a:t>Lorem Ipsum</a:t>
            </a:r>
            <a:endParaRPr lang="en-US"/>
          </a:p>
        </p:txBody>
      </p:sp>
    </p:spTree>
    <p:extLst>
      <p:ext uri="{BB962C8B-B14F-4D97-AF65-F5344CB8AC3E}">
        <p14:creationId xmlns:p14="http://schemas.microsoft.com/office/powerpoint/2010/main" val="227728308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w/o graphic">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C86D7D-E6FC-9C8E-62BD-08FA562E8F50}"/>
              </a:ext>
            </a:extLst>
          </p:cNvPr>
          <p:cNvSpPr/>
          <p:nvPr userDrawn="1"/>
        </p:nvSpPr>
        <p:spPr bwMode="auto">
          <a:xfrm>
            <a:off x="0" y="4711700"/>
            <a:ext cx="12192000" cy="21463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7453979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blank" preserve="1">
  <p:cSld name="Screensho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8663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4126733"/>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Screenshot slide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1C86D7D-E6FC-9C8E-62BD-08FA562E8F50}"/>
              </a:ext>
            </a:extLst>
          </p:cNvPr>
          <p:cNvSpPr/>
          <p:nvPr userDrawn="1"/>
        </p:nvSpPr>
        <p:spPr bwMode="auto">
          <a:xfrm>
            <a:off x="0" y="4711700"/>
            <a:ext cx="12192000" cy="21463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 name="Picture 1" descr="See the source image">
            <a:extLst>
              <a:ext uri="{FF2B5EF4-FFF2-40B4-BE49-F238E27FC236}">
                <a16:creationId xmlns:a16="http://schemas.microsoft.com/office/drawing/2014/main" id="{569AC2F1-4A0F-863D-0D07-0AC6E3B922EB}"/>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5400000">
            <a:off x="7956551" y="2622547"/>
            <a:ext cx="6857997" cy="161290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See the source image">
            <a:extLst>
              <a:ext uri="{FF2B5EF4-FFF2-40B4-BE49-F238E27FC236}">
                <a16:creationId xmlns:a16="http://schemas.microsoft.com/office/drawing/2014/main" id="{CF79BBE9-DE81-9869-A5BD-23C63DCB6BD4}"/>
              </a:ext>
            </a:extLst>
          </p:cNvPr>
          <p:cNvPicPr>
            <a:picLocks noChangeArrowheads="1"/>
          </p:cNvPicPr>
          <p:nvPr userDrawn="1"/>
        </p:nvPicPr>
        <p:blipFill rotWithShape="1">
          <a:blip r:embed="rId2" cstate="screen">
            <a:duotone>
              <a:schemeClr val="bg2">
                <a:shade val="45000"/>
                <a:satMod val="135000"/>
              </a:schemeClr>
              <a:prstClr val="white"/>
            </a:duotone>
            <a:extLst>
              <a:ext uri="{28A0092B-C50C-407E-A947-70E740481C1C}">
                <a14:useLocalDpi xmlns:a14="http://schemas.microsoft.com/office/drawing/2010/main"/>
              </a:ext>
            </a:extLst>
          </a:blip>
          <a:srcRect l="46756" t="-2" r="-1" b="-96585"/>
          <a:stretch/>
        </p:blipFill>
        <p:spPr bwMode="auto">
          <a:xfrm rot="16200000" flipH="1">
            <a:off x="-2622547" y="2622547"/>
            <a:ext cx="6857997" cy="161290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BD27B-C6C9-5EB7-AB3F-52A212C0A4BE}"/>
              </a:ext>
            </a:extLst>
          </p:cNvPr>
          <p:cNvPicPr>
            <a:picLocks noChangeAspect="1"/>
          </p:cNvPicPr>
          <p:nvPr userDrawn="1"/>
        </p:nvPicPr>
        <p:blipFill rotWithShape="1">
          <a:blip r:embed="rId3">
            <a:alphaModFix amt="38000"/>
          </a:blip>
          <a:srcRect t="30012" r="8105" b="59939"/>
          <a:stretch/>
        </p:blipFill>
        <p:spPr>
          <a:xfrm>
            <a:off x="4030252" y="6183703"/>
            <a:ext cx="8161748" cy="674298"/>
          </a:xfrm>
          <a:prstGeom prst="rect">
            <a:avLst/>
          </a:prstGeom>
        </p:spPr>
      </p:pic>
    </p:spTree>
    <p:extLst>
      <p:ext uri="{BB962C8B-B14F-4D97-AF65-F5344CB8AC3E}">
        <p14:creationId xmlns:p14="http://schemas.microsoft.com/office/powerpoint/2010/main" val="394305564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rgbClr val="000000"/>
        </a:solidFill>
        <a:effectLst/>
      </p:bgPr>
    </p:bg>
    <p:spTree>
      <p:nvGrpSpPr>
        <p:cNvPr id="1" name=""/>
        <p:cNvGrpSpPr/>
        <p:nvPr/>
      </p:nvGrpSpPr>
      <p:grpSpPr>
        <a:xfrm>
          <a:off x="0" y="0"/>
          <a:ext cx="0" cy="0"/>
          <a:chOff x="0" y="0"/>
          <a:chExt cx="0" cy="0"/>
        </a:xfrm>
      </p:grpSpPr>
      <p:pic>
        <p:nvPicPr>
          <p:cNvPr id="3" name="Picture 2" descr="A picture containing outdoor object, web, night sky&#10;&#10;Description automatically generated">
            <a:extLst>
              <a:ext uri="{FF2B5EF4-FFF2-40B4-BE49-F238E27FC236}">
                <a16:creationId xmlns:a16="http://schemas.microsoft.com/office/drawing/2014/main" id="{734AF8D8-A1B1-45DD-A8F5-79CE27A555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5" name="Rectangle 4">
            <a:extLst>
              <a:ext uri="{FF2B5EF4-FFF2-40B4-BE49-F238E27FC236}">
                <a16:creationId xmlns:a16="http://schemas.microsoft.com/office/drawing/2014/main" id="{EFF2A55B-CA52-41EE-88A9-DEB4C770DF49}"/>
              </a:ext>
            </a:extLst>
          </p:cNvPr>
          <p:cNvSpPr/>
          <p:nvPr userDrawn="1"/>
        </p:nvSpPr>
        <p:spPr bwMode="auto">
          <a:xfrm>
            <a:off x="0" y="2142170"/>
            <a:ext cx="12191999" cy="4715829"/>
          </a:xfrm>
          <a:prstGeom prst="rect">
            <a:avLst/>
          </a:prstGeom>
          <a:gradFill flip="none" rotWithShape="1">
            <a:gsLst>
              <a:gs pos="0">
                <a:schemeClr val="tx1"/>
              </a:gs>
              <a:gs pos="100000">
                <a:schemeClr val="tx1">
                  <a:alpha val="1000"/>
                </a:schemeClr>
              </a:gs>
            </a:gsLst>
            <a:lin ang="16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15A54BBB-28EF-4FA8-8029-86DE5EC84EB2}"/>
              </a:ext>
            </a:extLst>
          </p:cNvPr>
          <p:cNvSpPr/>
          <p:nvPr userDrawn="1"/>
        </p:nvSpPr>
        <p:spPr bwMode="auto">
          <a:xfrm rot="5400000">
            <a:off x="2074985" y="-2074984"/>
            <a:ext cx="6857999" cy="11007974"/>
          </a:xfrm>
          <a:prstGeom prst="rect">
            <a:avLst/>
          </a:prstGeom>
          <a:gradFill flip="none" rotWithShape="1">
            <a:gsLst>
              <a:gs pos="0">
                <a:schemeClr val="tx1"/>
              </a:gs>
              <a:gs pos="100000">
                <a:schemeClr val="tx1">
                  <a:alpha val="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a:extLst>
              <a:ext uri="{FF2B5EF4-FFF2-40B4-BE49-F238E27FC236}">
                <a16:creationId xmlns:a16="http://schemas.microsoft.com/office/drawing/2014/main" id="{DC1F9C5D-BBFD-AE42-A1D5-DA2C27C2E90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1183" y="473796"/>
            <a:ext cx="1335673" cy="190278"/>
          </a:xfrm>
          <a:prstGeom prst="rect">
            <a:avLst/>
          </a:prstGeom>
        </p:spPr>
      </p:pic>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815654521"/>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strike="noStrike">
                <a:solidFill>
                  <a:srgbClr val="000000"/>
                </a:solidFill>
              </a:defRPr>
            </a:lvl1pPr>
          </a:lstStyle>
          <a:p>
            <a:r>
              <a:rPr lang="en-US"/>
              <a:t>Title</a:t>
            </a:r>
          </a:p>
        </p:txBody>
      </p:sp>
    </p:spTree>
    <p:extLst>
      <p:ext uri="{BB962C8B-B14F-4D97-AF65-F5344CB8AC3E}">
        <p14:creationId xmlns:p14="http://schemas.microsoft.com/office/powerpoint/2010/main" val="519426055"/>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rgbClr val="000000"/>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FF2A55B-CA52-41EE-88A9-DEB4C770DF49}"/>
              </a:ext>
            </a:extLst>
          </p:cNvPr>
          <p:cNvSpPr/>
          <p:nvPr userDrawn="1"/>
        </p:nvSpPr>
        <p:spPr bwMode="auto">
          <a:xfrm>
            <a:off x="0" y="2142170"/>
            <a:ext cx="12191999" cy="4715829"/>
          </a:xfrm>
          <a:prstGeom prst="rect">
            <a:avLst/>
          </a:prstGeom>
          <a:gradFill flip="none" rotWithShape="1">
            <a:gsLst>
              <a:gs pos="0">
                <a:schemeClr val="tx1"/>
              </a:gs>
              <a:gs pos="100000">
                <a:schemeClr val="tx1">
                  <a:alpha val="1000"/>
                </a:schemeClr>
              </a:gs>
            </a:gsLst>
            <a:lin ang="162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a:extLst>
              <a:ext uri="{FF2B5EF4-FFF2-40B4-BE49-F238E27FC236}">
                <a16:creationId xmlns:a16="http://schemas.microsoft.com/office/drawing/2014/main" id="{15A54BBB-28EF-4FA8-8029-86DE5EC84EB2}"/>
              </a:ext>
            </a:extLst>
          </p:cNvPr>
          <p:cNvSpPr/>
          <p:nvPr userDrawn="1"/>
        </p:nvSpPr>
        <p:spPr bwMode="auto">
          <a:xfrm rot="5400000">
            <a:off x="-801304" y="801308"/>
            <a:ext cx="6857999" cy="5255396"/>
          </a:xfrm>
          <a:prstGeom prst="rect">
            <a:avLst/>
          </a:prstGeom>
          <a:gradFill flip="none" rotWithShape="1">
            <a:gsLst>
              <a:gs pos="0">
                <a:schemeClr val="tx1"/>
              </a:gs>
              <a:gs pos="100000">
                <a:schemeClr val="tx1">
                  <a:alpha val="1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302B9254-503D-8F44-9D4B-18675DFDE809}"/>
              </a:ext>
            </a:extLst>
          </p:cNvPr>
          <p:cNvSpPr>
            <a:spLocks noGrp="1"/>
          </p:cNvSpPr>
          <p:nvPr>
            <p:ph type="title" hasCustomPrompt="1"/>
          </p:nvPr>
        </p:nvSpPr>
        <p:spPr>
          <a:xfrm>
            <a:off x="428681" y="2532448"/>
            <a:ext cx="9630389" cy="1793104"/>
          </a:xfrm>
          <a:prstGeom prst="rect">
            <a:avLst/>
          </a:prstGeom>
          <a:noFill/>
        </p:spPr>
        <p:txBody>
          <a:bodyPr lIns="0" tIns="0" rIns="0" bIns="182880" anchor="b" anchorCtr="0"/>
          <a:lstStyle>
            <a:lvl1pPr>
              <a:defRPr sz="4705" strike="noStrike" spc="-49" baseline="0">
                <a:solidFill>
                  <a:schemeClr val="bg2"/>
                </a:solidFill>
              </a:defRPr>
            </a:lvl1pPr>
          </a:lstStyle>
          <a:p>
            <a:r>
              <a:rPr lang="en-US"/>
              <a:t>Azure presentation title </a:t>
            </a:r>
            <a:br>
              <a:rPr lang="en-US"/>
            </a:br>
            <a:r>
              <a:rPr lang="en-US"/>
              <a:t>or event name</a:t>
            </a:r>
          </a:p>
        </p:txBody>
      </p:sp>
      <p:sp>
        <p:nvSpPr>
          <p:cNvPr id="12" name="Text Placeholder 10">
            <a:extLst>
              <a:ext uri="{FF2B5EF4-FFF2-40B4-BE49-F238E27FC236}">
                <a16:creationId xmlns:a16="http://schemas.microsoft.com/office/drawing/2014/main" id="{2D6C119F-8C39-DF40-90FE-09B7E3ECDBE0}"/>
              </a:ext>
            </a:extLst>
          </p:cNvPr>
          <p:cNvSpPr>
            <a:spLocks noGrp="1"/>
          </p:cNvSpPr>
          <p:nvPr>
            <p:ph type="body" sz="quarter" idx="15" hasCustomPrompt="1"/>
          </p:nvPr>
        </p:nvSpPr>
        <p:spPr>
          <a:xfrm>
            <a:off x="442466" y="4350114"/>
            <a:ext cx="9602819" cy="724246"/>
          </a:xfrm>
          <a:prstGeom prst="rect">
            <a:avLst/>
          </a:prstGeom>
        </p:spPr>
        <p:txBody>
          <a:bodyPr/>
          <a:lstStyle>
            <a:lvl1pPr>
              <a:defRPr sz="1765">
                <a:solidFill>
                  <a:schemeClr val="bg2"/>
                </a:solidFill>
              </a:defRPr>
            </a:lvl1pPr>
            <a:lvl2pPr>
              <a:defRPr sz="1765">
                <a:solidFill>
                  <a:srgbClr val="000000"/>
                </a:solidFill>
              </a:defRPr>
            </a:lvl2pPr>
            <a:lvl3pPr>
              <a:defRPr sz="1372"/>
            </a:lvl3pPr>
            <a:lvl4pPr>
              <a:defRPr sz="1372"/>
            </a:lvl4pPr>
            <a:lvl5pPr>
              <a:defRPr sz="1029"/>
            </a:lvl5pPr>
          </a:lstStyle>
          <a:p>
            <a:pPr lvl="0"/>
            <a:r>
              <a:rPr lang="en-US"/>
              <a:t>Author name</a:t>
            </a:r>
            <a:br>
              <a:rPr lang="en-US"/>
            </a:br>
            <a:r>
              <a:rPr lang="en-US"/>
              <a:t>Date</a:t>
            </a:r>
          </a:p>
        </p:txBody>
      </p:sp>
    </p:spTree>
    <p:extLst>
      <p:ext uri="{BB962C8B-B14F-4D97-AF65-F5344CB8AC3E}">
        <p14:creationId xmlns:p14="http://schemas.microsoft.com/office/powerpoint/2010/main" val="2008852211"/>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nd text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3" name="Rectangle: Rounded Corners 2">
            <a:extLst>
              <a:ext uri="{FF2B5EF4-FFF2-40B4-BE49-F238E27FC236}">
                <a16:creationId xmlns:a16="http://schemas.microsoft.com/office/drawing/2014/main" id="{2A9EBA96-7F00-5047-0539-1988A5A7B805}"/>
              </a:ext>
              <a:ext uri="{C183D7F6-B498-43B3-948B-1728B52AA6E4}">
                <adec:decorative xmlns:adec="http://schemas.microsoft.com/office/drawing/2017/decorative" val="1"/>
              </a:ext>
            </a:extLst>
          </p:cNvPr>
          <p:cNvSpPr>
            <a:spLocks/>
          </p:cNvSpPr>
          <p:nvPr userDrawn="1"/>
        </p:nvSpPr>
        <p:spPr bwMode="auto">
          <a:xfrm>
            <a:off x="0" y="2670054"/>
            <a:ext cx="12192000" cy="3353375"/>
          </a:xfrm>
          <a:prstGeom prst="roundRect">
            <a:avLst>
              <a:gd name="adj" fmla="val 2946"/>
            </a:avLst>
          </a:pr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3" name="Text Placeholder 12">
            <a:extLst>
              <a:ext uri="{FF2B5EF4-FFF2-40B4-BE49-F238E27FC236}">
                <a16:creationId xmlns:a16="http://schemas.microsoft.com/office/drawing/2014/main" id="{70CE21AC-ACF1-6E51-B70A-F269F7E99C20}"/>
              </a:ext>
            </a:extLst>
          </p:cNvPr>
          <p:cNvSpPr>
            <a:spLocks noGrp="1"/>
          </p:cNvSpPr>
          <p:nvPr>
            <p:ph type="body" sz="quarter" idx="10"/>
          </p:nvPr>
        </p:nvSpPr>
        <p:spPr>
          <a:xfrm>
            <a:off x="703045" y="3390277"/>
            <a:ext cx="2229646" cy="1692771"/>
          </a:xfrm>
          <a:prstGeom prst="rect">
            <a:avLst/>
          </a:prstGeom>
        </p:spPr>
        <p:txBody>
          <a:bodyPr lIns="0" tIns="0" rIns="0" bIns="0"/>
          <a:lstStyle>
            <a:lvl1pPr marL="0" indent="0">
              <a:buNone/>
              <a:defRPr kumimoji="0" lang="en-US" sz="16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lang="en-US"/>
          </a:p>
        </p:txBody>
      </p:sp>
      <p:sp>
        <p:nvSpPr>
          <p:cNvPr id="14" name="Text Placeholder 12">
            <a:extLst>
              <a:ext uri="{FF2B5EF4-FFF2-40B4-BE49-F238E27FC236}">
                <a16:creationId xmlns:a16="http://schemas.microsoft.com/office/drawing/2014/main" id="{4E4EB5D1-5964-348E-BD88-8AE5D8A9CBB6}"/>
              </a:ext>
            </a:extLst>
          </p:cNvPr>
          <p:cNvSpPr>
            <a:spLocks noGrp="1"/>
          </p:cNvSpPr>
          <p:nvPr>
            <p:ph type="body" sz="quarter" idx="11"/>
          </p:nvPr>
        </p:nvSpPr>
        <p:spPr>
          <a:xfrm>
            <a:off x="3539739" y="3390277"/>
            <a:ext cx="2229646" cy="1692771"/>
          </a:xfrm>
          <a:prstGeom prst="rect">
            <a:avLst/>
          </a:prstGeom>
        </p:spPr>
        <p:txBody>
          <a:bodyPr lIns="0" tIns="0" rIns="0" bIns="0"/>
          <a:lstStyle>
            <a:lvl1pPr marL="0" indent="0">
              <a:buNone/>
              <a:defRPr kumimoji="0" lang="en-US" sz="16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lang="en-US"/>
          </a:p>
        </p:txBody>
      </p:sp>
      <p:sp>
        <p:nvSpPr>
          <p:cNvPr id="15" name="Text Placeholder 12">
            <a:extLst>
              <a:ext uri="{FF2B5EF4-FFF2-40B4-BE49-F238E27FC236}">
                <a16:creationId xmlns:a16="http://schemas.microsoft.com/office/drawing/2014/main" id="{198A8AD8-CDE1-C9DB-18A9-083E379E121C}"/>
              </a:ext>
            </a:extLst>
          </p:cNvPr>
          <p:cNvSpPr>
            <a:spLocks noGrp="1"/>
          </p:cNvSpPr>
          <p:nvPr>
            <p:ph type="body" sz="quarter" idx="12"/>
          </p:nvPr>
        </p:nvSpPr>
        <p:spPr>
          <a:xfrm>
            <a:off x="6376433" y="3390277"/>
            <a:ext cx="2229646" cy="1692771"/>
          </a:xfrm>
          <a:prstGeom prst="rect">
            <a:avLst/>
          </a:prstGeom>
        </p:spPr>
        <p:txBody>
          <a:bodyPr lIns="0" tIns="0" rIns="0" bIns="0"/>
          <a:lstStyle>
            <a:lvl1pPr marL="0" indent="0">
              <a:buNone/>
              <a:defRPr kumimoji="0" lang="en-US" sz="16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lang="en-US"/>
          </a:p>
        </p:txBody>
      </p:sp>
      <p:sp>
        <p:nvSpPr>
          <p:cNvPr id="16" name="Text Placeholder 12">
            <a:extLst>
              <a:ext uri="{FF2B5EF4-FFF2-40B4-BE49-F238E27FC236}">
                <a16:creationId xmlns:a16="http://schemas.microsoft.com/office/drawing/2014/main" id="{32C2B562-3E70-2355-4316-8573CBBC0596}"/>
              </a:ext>
            </a:extLst>
          </p:cNvPr>
          <p:cNvSpPr>
            <a:spLocks noGrp="1"/>
          </p:cNvSpPr>
          <p:nvPr>
            <p:ph type="body" sz="quarter" idx="13"/>
          </p:nvPr>
        </p:nvSpPr>
        <p:spPr>
          <a:xfrm>
            <a:off x="9213128" y="3390277"/>
            <a:ext cx="2229646" cy="1692771"/>
          </a:xfrm>
          <a:prstGeom prst="rect">
            <a:avLst/>
          </a:prstGeom>
        </p:spPr>
        <p:txBody>
          <a:bodyPr lIns="0" tIns="0" rIns="0" bIns="0"/>
          <a:lstStyle>
            <a:lvl1pPr marL="0" indent="0">
              <a:buNone/>
              <a:defRPr kumimoji="0" lang="en-US" sz="1600" b="0" i="0" u="none" strike="noStrike" kern="1200" cap="none" spc="0" normalizeH="0" baseline="0" dirty="0">
                <a:ln>
                  <a:noFill/>
                </a:ln>
                <a:solidFill>
                  <a:schemeClr val="accent1">
                    <a:lumMod val="60000"/>
                    <a:lumOff val="40000"/>
                  </a:schemeClr>
                </a:solidFill>
                <a:effectLst/>
                <a:uLnTx/>
                <a:uFillTx/>
                <a:latin typeface="+mj-lt"/>
                <a:ea typeface="+mn-ea"/>
                <a:cs typeface="Segoe UI Semilight"/>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endParaRPr lang="en-US"/>
          </a:p>
        </p:txBody>
      </p:sp>
      <p:sp>
        <p:nvSpPr>
          <p:cNvPr id="8" name="Rectangle: Rounded Corners 7">
            <a:extLst>
              <a:ext uri="{FF2B5EF4-FFF2-40B4-BE49-F238E27FC236}">
                <a16:creationId xmlns:a16="http://schemas.microsoft.com/office/drawing/2014/main" id="{9B8D4C47-8FD5-1B28-69CC-5851B709FD14}"/>
              </a:ext>
            </a:extLst>
          </p:cNvPr>
          <p:cNvSpPr/>
          <p:nvPr userDrawn="1"/>
        </p:nvSpPr>
        <p:spPr bwMode="auto">
          <a:xfrm>
            <a:off x="1344169"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9" name="Rectangle: Rounded Corners 8">
            <a:extLst>
              <a:ext uri="{FF2B5EF4-FFF2-40B4-BE49-F238E27FC236}">
                <a16:creationId xmlns:a16="http://schemas.microsoft.com/office/drawing/2014/main" id="{0B56069C-583F-3233-5AAC-5C2E42D3AE11}"/>
              </a:ext>
            </a:extLst>
          </p:cNvPr>
          <p:cNvSpPr/>
          <p:nvPr userDrawn="1"/>
        </p:nvSpPr>
        <p:spPr bwMode="auto">
          <a:xfrm>
            <a:off x="7017557"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0" name="Rectangle: Rounded Corners 9">
            <a:extLst>
              <a:ext uri="{FF2B5EF4-FFF2-40B4-BE49-F238E27FC236}">
                <a16:creationId xmlns:a16="http://schemas.microsoft.com/office/drawing/2014/main" id="{ECE9310D-7DFF-2EB8-078D-9AFB4E9A1141}"/>
              </a:ext>
            </a:extLst>
          </p:cNvPr>
          <p:cNvSpPr/>
          <p:nvPr userDrawn="1"/>
        </p:nvSpPr>
        <p:spPr bwMode="auto">
          <a:xfrm>
            <a:off x="9854252"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
        <p:nvSpPr>
          <p:cNvPr id="11" name="Rectangle: Rounded Corners 10">
            <a:extLst>
              <a:ext uri="{FF2B5EF4-FFF2-40B4-BE49-F238E27FC236}">
                <a16:creationId xmlns:a16="http://schemas.microsoft.com/office/drawing/2014/main" id="{EA7D0ECE-FEB5-7072-BA65-B6A8A2D07C18}"/>
              </a:ext>
            </a:extLst>
          </p:cNvPr>
          <p:cNvSpPr/>
          <p:nvPr userDrawn="1"/>
        </p:nvSpPr>
        <p:spPr bwMode="auto">
          <a:xfrm>
            <a:off x="4180863" y="2190955"/>
            <a:ext cx="947398" cy="958198"/>
          </a:xfrm>
          <a:prstGeom prst="roundRect">
            <a:avLst>
              <a:gd name="adj" fmla="val 50000"/>
            </a:avLst>
          </a:prstGeom>
          <a:gradFill flip="none" rotWithShape="1">
            <a:gsLst>
              <a:gs pos="78000">
                <a:schemeClr val="tx1">
                  <a:lumMod val="93000"/>
                  <a:lumOff val="7000"/>
                </a:schemeClr>
              </a:gs>
              <a:gs pos="0">
                <a:srgbClr val="181719"/>
              </a:gs>
            </a:gsLst>
            <a:lin ang="5400000" scaled="1"/>
            <a:tileRect/>
          </a:gradFill>
          <a:ln w="19050">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solidFill>
              <a:effectLst/>
              <a:uLnTx/>
              <a:uFillTx/>
              <a:latin typeface="Segoe UI"/>
              <a:ea typeface="+mn-ea"/>
              <a:cs typeface="Segoe UI" pitchFamily="34" charset="0"/>
            </a:endParaRPr>
          </a:p>
        </p:txBody>
      </p:sp>
    </p:spTree>
    <p:extLst>
      <p:ext uri="{BB962C8B-B14F-4D97-AF65-F5344CB8AC3E}">
        <p14:creationId xmlns:p14="http://schemas.microsoft.com/office/powerpoint/2010/main" val="34012542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7888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8_Team">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38C6F9E-A74F-4F54-9409-B6B93DF8CE78}"/>
              </a:ext>
              <a:ext uri="{C183D7F6-B498-43B3-948B-1728B52AA6E4}">
                <adec:decorative xmlns:adec="http://schemas.microsoft.com/office/drawing/2017/decorative" val="1"/>
              </a:ext>
            </a:extLst>
          </p:cNvPr>
          <p:cNvSpPr/>
          <p:nvPr userDrawn="1"/>
        </p:nvSpPr>
        <p:spPr>
          <a:xfrm>
            <a:off x="0" y="5773729"/>
            <a:ext cx="12192000" cy="1084271"/>
          </a:xfrm>
          <a:prstGeom prst="rect">
            <a:avLst/>
          </a:prstGeom>
          <a:gradFill flip="none" rotWithShape="1">
            <a:gsLst>
              <a:gs pos="100000">
                <a:schemeClr val="bg2">
                  <a:alpha val="60000"/>
                </a:schemeClr>
              </a:gs>
              <a:gs pos="40000">
                <a:schemeClr val="bg2">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40" name="Title 5">
            <a:extLst>
              <a:ext uri="{FF2B5EF4-FFF2-40B4-BE49-F238E27FC236}">
                <a16:creationId xmlns:a16="http://schemas.microsoft.com/office/drawing/2014/main" id="{36F60F77-4CC9-4F86-B70A-85012C6588A0}"/>
              </a:ext>
            </a:extLst>
          </p:cNvPr>
          <p:cNvSpPr>
            <a:spLocks noGrp="1"/>
          </p:cNvSpPr>
          <p:nvPr>
            <p:ph type="ctrTitle" hasCustomPrompt="1"/>
          </p:nvPr>
        </p:nvSpPr>
        <p:spPr>
          <a:xfrm>
            <a:off x="548640" y="548641"/>
            <a:ext cx="8281987" cy="792798"/>
          </a:xfrm>
        </p:spPr>
        <p:txBody>
          <a:bodyPr>
            <a:noAutofit/>
          </a:bodyPr>
          <a:lstStyle/>
          <a:p>
            <a:r>
              <a:rPr lang="en-US"/>
              <a:t>Team</a:t>
            </a:r>
          </a:p>
        </p:txBody>
      </p:sp>
      <p:sp>
        <p:nvSpPr>
          <p:cNvPr id="56" name="Picture Placeholder 55">
            <a:extLst>
              <a:ext uri="{FF2B5EF4-FFF2-40B4-BE49-F238E27FC236}">
                <a16:creationId xmlns:a16="http://schemas.microsoft.com/office/drawing/2014/main" id="{8F41896B-6DDA-4F82-9F74-3EBF93A3CD58}"/>
              </a:ext>
            </a:extLst>
          </p:cNvPr>
          <p:cNvSpPr>
            <a:spLocks noGrp="1"/>
          </p:cNvSpPr>
          <p:nvPr>
            <p:ph type="pic" sz="quarter" idx="13"/>
          </p:nvPr>
        </p:nvSpPr>
        <p:spPr>
          <a:xfrm>
            <a:off x="1078992" y="1990724"/>
            <a:ext cx="1691640" cy="1435608"/>
          </a:xfrm>
          <a:solidFill>
            <a:schemeClr val="accent5"/>
          </a:solidFill>
        </p:spPr>
        <p:txBody>
          <a:bodyPr>
            <a:noAutofit/>
          </a:bodyPr>
          <a:lstStyle/>
          <a:p>
            <a:r>
              <a:rPr lang="en-US"/>
              <a:t>Click icon to add picture</a:t>
            </a:r>
          </a:p>
        </p:txBody>
      </p:sp>
      <p:sp>
        <p:nvSpPr>
          <p:cNvPr id="57" name="Picture Placeholder 55">
            <a:extLst>
              <a:ext uri="{FF2B5EF4-FFF2-40B4-BE49-F238E27FC236}">
                <a16:creationId xmlns:a16="http://schemas.microsoft.com/office/drawing/2014/main" id="{EF85499B-C29A-4C8B-922C-7CE4771E352C}"/>
              </a:ext>
            </a:extLst>
          </p:cNvPr>
          <p:cNvSpPr>
            <a:spLocks noGrp="1"/>
          </p:cNvSpPr>
          <p:nvPr>
            <p:ph type="pic" sz="quarter" idx="14"/>
          </p:nvPr>
        </p:nvSpPr>
        <p:spPr>
          <a:xfrm>
            <a:off x="3838384" y="1990724"/>
            <a:ext cx="1691640" cy="1435608"/>
          </a:xfrm>
          <a:solidFill>
            <a:schemeClr val="accent5"/>
          </a:solidFill>
        </p:spPr>
        <p:txBody>
          <a:bodyPr>
            <a:noAutofit/>
          </a:bodyPr>
          <a:lstStyle/>
          <a:p>
            <a:r>
              <a:rPr lang="en-US"/>
              <a:t>Click icon to add picture</a:t>
            </a:r>
          </a:p>
        </p:txBody>
      </p:sp>
      <p:sp>
        <p:nvSpPr>
          <p:cNvPr id="58" name="Picture Placeholder 55">
            <a:extLst>
              <a:ext uri="{FF2B5EF4-FFF2-40B4-BE49-F238E27FC236}">
                <a16:creationId xmlns:a16="http://schemas.microsoft.com/office/drawing/2014/main" id="{F82A1DB8-0AE7-4E17-B07B-FCF45B85EE17}"/>
              </a:ext>
            </a:extLst>
          </p:cNvPr>
          <p:cNvSpPr>
            <a:spLocks noGrp="1"/>
          </p:cNvSpPr>
          <p:nvPr>
            <p:ph type="pic" sz="quarter" idx="15"/>
          </p:nvPr>
        </p:nvSpPr>
        <p:spPr>
          <a:xfrm>
            <a:off x="6661976" y="1993392"/>
            <a:ext cx="1691640" cy="1435608"/>
          </a:xfrm>
          <a:solidFill>
            <a:schemeClr val="accent5"/>
          </a:solidFill>
        </p:spPr>
        <p:txBody>
          <a:bodyPr>
            <a:noAutofit/>
          </a:bodyPr>
          <a:lstStyle/>
          <a:p>
            <a:r>
              <a:rPr lang="en-US"/>
              <a:t>Click icon to add picture</a:t>
            </a:r>
          </a:p>
        </p:txBody>
      </p:sp>
      <p:sp>
        <p:nvSpPr>
          <p:cNvPr id="59" name="Picture Placeholder 55">
            <a:extLst>
              <a:ext uri="{FF2B5EF4-FFF2-40B4-BE49-F238E27FC236}">
                <a16:creationId xmlns:a16="http://schemas.microsoft.com/office/drawing/2014/main" id="{A83EEB6C-83B7-471D-B5A4-4071534048D2}"/>
              </a:ext>
            </a:extLst>
          </p:cNvPr>
          <p:cNvSpPr>
            <a:spLocks noGrp="1"/>
          </p:cNvSpPr>
          <p:nvPr>
            <p:ph type="pic" sz="quarter" idx="16"/>
          </p:nvPr>
        </p:nvSpPr>
        <p:spPr>
          <a:xfrm>
            <a:off x="9485568" y="1990724"/>
            <a:ext cx="1691640" cy="1435608"/>
          </a:xfrm>
          <a:solidFill>
            <a:schemeClr val="accent5"/>
          </a:solidFill>
        </p:spPr>
        <p:txBody>
          <a:bodyPr>
            <a:noAutofit/>
          </a:bodyPr>
          <a:lstStyle/>
          <a:p>
            <a:r>
              <a:rPr lang="en-US"/>
              <a:t>Click icon to add picture</a:t>
            </a:r>
          </a:p>
        </p:txBody>
      </p:sp>
      <p:sp>
        <p:nvSpPr>
          <p:cNvPr id="63" name="Text Placeholder 62">
            <a:extLst>
              <a:ext uri="{FF2B5EF4-FFF2-40B4-BE49-F238E27FC236}">
                <a16:creationId xmlns:a16="http://schemas.microsoft.com/office/drawing/2014/main" id="{17A96A8C-F792-485A-9BB9-4DEDCA0CE6B8}"/>
              </a:ext>
            </a:extLst>
          </p:cNvPr>
          <p:cNvSpPr>
            <a:spLocks noGrp="1"/>
          </p:cNvSpPr>
          <p:nvPr>
            <p:ph type="body" sz="quarter" idx="18" hasCustomPrompt="1"/>
          </p:nvPr>
        </p:nvSpPr>
        <p:spPr>
          <a:xfrm>
            <a:off x="1079500" y="3781425"/>
            <a:ext cx="1711325" cy="365760"/>
          </a:xfrm>
        </p:spPr>
        <p:txBody>
          <a:bodyPr>
            <a:noAutofit/>
          </a:bodyPr>
          <a:lstStyle>
            <a:lvl1pPr>
              <a:buNone/>
              <a:defRPr sz="2000" b="1"/>
            </a:lvl1pPr>
          </a:lstStyle>
          <a:p>
            <a:pPr lvl="0"/>
            <a:r>
              <a:rPr lang="en-US"/>
              <a:t>Name</a:t>
            </a:r>
          </a:p>
        </p:txBody>
      </p:sp>
      <p:sp>
        <p:nvSpPr>
          <p:cNvPr id="61" name="Text Placeholder 60">
            <a:extLst>
              <a:ext uri="{FF2B5EF4-FFF2-40B4-BE49-F238E27FC236}">
                <a16:creationId xmlns:a16="http://schemas.microsoft.com/office/drawing/2014/main" id="{6C65AE07-519E-4E3B-8521-621C8343914D}"/>
              </a:ext>
            </a:extLst>
          </p:cNvPr>
          <p:cNvSpPr>
            <a:spLocks noGrp="1"/>
          </p:cNvSpPr>
          <p:nvPr>
            <p:ph type="body" sz="quarter" idx="17" hasCustomPrompt="1"/>
          </p:nvPr>
        </p:nvSpPr>
        <p:spPr>
          <a:xfrm>
            <a:off x="1078733" y="4232949"/>
            <a:ext cx="1711572" cy="638175"/>
          </a:xfrm>
        </p:spPr>
        <p:txBody>
          <a:bodyPr>
            <a:noAutofit/>
          </a:bodyPr>
          <a:lstStyle>
            <a:lvl1pPr>
              <a:buNone/>
              <a:defRPr sz="1800"/>
            </a:lvl1pPr>
          </a:lstStyle>
          <a:p>
            <a:pPr lvl="0"/>
            <a:r>
              <a:rPr lang="en-US"/>
              <a:t>Title</a:t>
            </a:r>
          </a:p>
        </p:txBody>
      </p:sp>
      <p:sp>
        <p:nvSpPr>
          <p:cNvPr id="65" name="Text Placeholder 62">
            <a:extLst>
              <a:ext uri="{FF2B5EF4-FFF2-40B4-BE49-F238E27FC236}">
                <a16:creationId xmlns:a16="http://schemas.microsoft.com/office/drawing/2014/main" id="{FB878318-C287-428B-8105-429BC4B03F55}"/>
              </a:ext>
            </a:extLst>
          </p:cNvPr>
          <p:cNvSpPr>
            <a:spLocks noGrp="1"/>
          </p:cNvSpPr>
          <p:nvPr>
            <p:ph type="body" sz="quarter" idx="20" hasCustomPrompt="1"/>
          </p:nvPr>
        </p:nvSpPr>
        <p:spPr>
          <a:xfrm>
            <a:off x="3839151" y="3781425"/>
            <a:ext cx="1711325" cy="365760"/>
          </a:xfrm>
        </p:spPr>
        <p:txBody>
          <a:bodyPr>
            <a:noAutofit/>
          </a:bodyPr>
          <a:lstStyle>
            <a:lvl1pPr>
              <a:buNone/>
              <a:defRPr sz="2000" b="1"/>
            </a:lvl1pPr>
          </a:lstStyle>
          <a:p>
            <a:pPr lvl="0"/>
            <a:r>
              <a:rPr lang="en-US"/>
              <a:t>Name</a:t>
            </a:r>
          </a:p>
        </p:txBody>
      </p:sp>
      <p:sp>
        <p:nvSpPr>
          <p:cNvPr id="64" name="Text Placeholder 60">
            <a:extLst>
              <a:ext uri="{FF2B5EF4-FFF2-40B4-BE49-F238E27FC236}">
                <a16:creationId xmlns:a16="http://schemas.microsoft.com/office/drawing/2014/main" id="{1465E516-2CEF-4F9E-9375-7D41DCFCBB41}"/>
              </a:ext>
            </a:extLst>
          </p:cNvPr>
          <p:cNvSpPr>
            <a:spLocks noGrp="1"/>
          </p:cNvSpPr>
          <p:nvPr>
            <p:ph type="body" sz="quarter" idx="19" hasCustomPrompt="1"/>
          </p:nvPr>
        </p:nvSpPr>
        <p:spPr>
          <a:xfrm>
            <a:off x="3838384" y="4232949"/>
            <a:ext cx="1711572" cy="638175"/>
          </a:xfrm>
        </p:spPr>
        <p:txBody>
          <a:bodyPr>
            <a:noAutofit/>
          </a:bodyPr>
          <a:lstStyle>
            <a:lvl1pPr>
              <a:buNone/>
              <a:defRPr sz="1800"/>
            </a:lvl1pPr>
          </a:lstStyle>
          <a:p>
            <a:pPr lvl="0"/>
            <a:r>
              <a:rPr lang="en-US"/>
              <a:t>Title</a:t>
            </a:r>
          </a:p>
        </p:txBody>
      </p:sp>
      <p:sp>
        <p:nvSpPr>
          <p:cNvPr id="67" name="Text Placeholder 62">
            <a:extLst>
              <a:ext uri="{FF2B5EF4-FFF2-40B4-BE49-F238E27FC236}">
                <a16:creationId xmlns:a16="http://schemas.microsoft.com/office/drawing/2014/main" id="{FE012CE3-36AA-4016-A88E-27BCFFEFD69F}"/>
              </a:ext>
            </a:extLst>
          </p:cNvPr>
          <p:cNvSpPr>
            <a:spLocks noGrp="1"/>
          </p:cNvSpPr>
          <p:nvPr>
            <p:ph type="body" sz="quarter" idx="22" hasCustomPrompt="1"/>
          </p:nvPr>
        </p:nvSpPr>
        <p:spPr>
          <a:xfrm>
            <a:off x="6662743" y="3781425"/>
            <a:ext cx="1711325" cy="365760"/>
          </a:xfrm>
        </p:spPr>
        <p:txBody>
          <a:bodyPr>
            <a:noAutofit/>
          </a:bodyPr>
          <a:lstStyle>
            <a:lvl1pPr>
              <a:buNone/>
              <a:defRPr sz="2000" b="1"/>
            </a:lvl1pPr>
          </a:lstStyle>
          <a:p>
            <a:pPr lvl="0"/>
            <a:r>
              <a:rPr lang="en-US"/>
              <a:t>Name</a:t>
            </a:r>
          </a:p>
        </p:txBody>
      </p:sp>
      <p:sp>
        <p:nvSpPr>
          <p:cNvPr id="66" name="Text Placeholder 60">
            <a:extLst>
              <a:ext uri="{FF2B5EF4-FFF2-40B4-BE49-F238E27FC236}">
                <a16:creationId xmlns:a16="http://schemas.microsoft.com/office/drawing/2014/main" id="{8D5671AF-0137-4226-8A84-2784817E519C}"/>
              </a:ext>
            </a:extLst>
          </p:cNvPr>
          <p:cNvSpPr>
            <a:spLocks noGrp="1"/>
          </p:cNvSpPr>
          <p:nvPr>
            <p:ph type="body" sz="quarter" idx="21" hasCustomPrompt="1"/>
          </p:nvPr>
        </p:nvSpPr>
        <p:spPr>
          <a:xfrm>
            <a:off x="6661976" y="4232949"/>
            <a:ext cx="1711572" cy="638175"/>
          </a:xfrm>
        </p:spPr>
        <p:txBody>
          <a:bodyPr>
            <a:noAutofit/>
          </a:bodyPr>
          <a:lstStyle>
            <a:lvl1pPr>
              <a:buNone/>
              <a:defRPr sz="1800"/>
            </a:lvl1pPr>
          </a:lstStyle>
          <a:p>
            <a:pPr lvl="0"/>
            <a:r>
              <a:rPr lang="en-US"/>
              <a:t>Title</a:t>
            </a:r>
          </a:p>
        </p:txBody>
      </p:sp>
      <p:sp>
        <p:nvSpPr>
          <p:cNvPr id="69" name="Text Placeholder 62">
            <a:extLst>
              <a:ext uri="{FF2B5EF4-FFF2-40B4-BE49-F238E27FC236}">
                <a16:creationId xmlns:a16="http://schemas.microsoft.com/office/drawing/2014/main" id="{DA1587F0-23BF-4FB8-B06C-2B0AA928E931}"/>
              </a:ext>
            </a:extLst>
          </p:cNvPr>
          <p:cNvSpPr>
            <a:spLocks noGrp="1"/>
          </p:cNvSpPr>
          <p:nvPr>
            <p:ph type="body" sz="quarter" idx="24" hasCustomPrompt="1"/>
          </p:nvPr>
        </p:nvSpPr>
        <p:spPr>
          <a:xfrm>
            <a:off x="9433112" y="3787288"/>
            <a:ext cx="1711325" cy="365760"/>
          </a:xfrm>
        </p:spPr>
        <p:txBody>
          <a:bodyPr>
            <a:noAutofit/>
          </a:bodyPr>
          <a:lstStyle>
            <a:lvl1pPr>
              <a:buNone/>
              <a:defRPr sz="2000" b="1"/>
            </a:lvl1pPr>
          </a:lstStyle>
          <a:p>
            <a:pPr lvl="0"/>
            <a:r>
              <a:rPr lang="en-US"/>
              <a:t>Name</a:t>
            </a:r>
          </a:p>
        </p:txBody>
      </p:sp>
      <p:sp>
        <p:nvSpPr>
          <p:cNvPr id="68" name="Text Placeholder 60">
            <a:extLst>
              <a:ext uri="{FF2B5EF4-FFF2-40B4-BE49-F238E27FC236}">
                <a16:creationId xmlns:a16="http://schemas.microsoft.com/office/drawing/2014/main" id="{565C0B22-B5E7-44BB-A17C-7FB5BB5D82BB}"/>
              </a:ext>
            </a:extLst>
          </p:cNvPr>
          <p:cNvSpPr>
            <a:spLocks noGrp="1"/>
          </p:cNvSpPr>
          <p:nvPr>
            <p:ph type="body" sz="quarter" idx="23" hasCustomPrompt="1"/>
          </p:nvPr>
        </p:nvSpPr>
        <p:spPr>
          <a:xfrm>
            <a:off x="9432345" y="4238812"/>
            <a:ext cx="1711572" cy="638175"/>
          </a:xfrm>
        </p:spPr>
        <p:txBody>
          <a:bodyPr>
            <a:noAutofit/>
          </a:bodyPr>
          <a:lstStyle>
            <a:lvl1pPr>
              <a:buNone/>
              <a:defRPr sz="1800"/>
            </a:lvl1pPr>
          </a:lstStyle>
          <a:p>
            <a:pPr lvl="0"/>
            <a:r>
              <a:rPr lang="en-US"/>
              <a:t>Title</a:t>
            </a:r>
          </a:p>
        </p:txBody>
      </p:sp>
      <p:sp>
        <p:nvSpPr>
          <p:cNvPr id="4" name="Date Placeholder 3">
            <a:extLst>
              <a:ext uri="{FF2B5EF4-FFF2-40B4-BE49-F238E27FC236}">
                <a16:creationId xmlns:a16="http://schemas.microsoft.com/office/drawing/2014/main" id="{D8661572-1A59-4E3B-BA65-3329E9468C69}"/>
              </a:ext>
            </a:extLst>
          </p:cNvPr>
          <p:cNvSpPr>
            <a:spLocks noGrp="1"/>
          </p:cNvSpPr>
          <p:nvPr>
            <p:ph type="dt" sz="half" idx="10"/>
          </p:nvPr>
        </p:nvSpPr>
        <p:spPr/>
        <p:txBody>
          <a:bodyPr>
            <a:noAutofit/>
          </a:bodyPr>
          <a:lstStyle/>
          <a:p>
            <a:endParaRPr lang="en-US"/>
          </a:p>
        </p:txBody>
      </p:sp>
      <p:sp>
        <p:nvSpPr>
          <p:cNvPr id="5" name="Footer Placeholder 4">
            <a:extLst>
              <a:ext uri="{FF2B5EF4-FFF2-40B4-BE49-F238E27FC236}">
                <a16:creationId xmlns:a16="http://schemas.microsoft.com/office/drawing/2014/main" id="{AFEF84F1-99FE-4F0B-9E76-F581C2C1B6D9}"/>
              </a:ext>
            </a:extLst>
          </p:cNvPr>
          <p:cNvSpPr>
            <a:spLocks noGrp="1"/>
          </p:cNvSpPr>
          <p:nvPr>
            <p:ph type="ftr" sz="quarter" idx="11"/>
          </p:nvPr>
        </p:nvSpPr>
        <p:spPr/>
        <p:txBody>
          <a:bodyPr>
            <a:noAutofit/>
          </a:bodyPr>
          <a:lstStyle/>
          <a:p>
            <a:r>
              <a:rPr lang="en-US"/>
              <a:t>Microsoft Confidential</a:t>
            </a:r>
          </a:p>
        </p:txBody>
      </p:sp>
      <p:sp>
        <p:nvSpPr>
          <p:cNvPr id="6" name="Slide Number Placeholder 5">
            <a:extLst>
              <a:ext uri="{FF2B5EF4-FFF2-40B4-BE49-F238E27FC236}">
                <a16:creationId xmlns:a16="http://schemas.microsoft.com/office/drawing/2014/main" id="{97B2D769-16B1-43C4-BF14-3175533511ED}"/>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10716893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3369" y="473236"/>
            <a:ext cx="11081177" cy="1020602"/>
          </a:xfrm>
        </p:spPr>
        <p:txBody>
          <a:bodyPr/>
          <a:lstStyle/>
          <a:p>
            <a:r>
              <a:rPr lang="en-US"/>
              <a:t>Click to edit Master title style</a:t>
            </a:r>
          </a:p>
        </p:txBody>
      </p:sp>
      <p:sp>
        <p:nvSpPr>
          <p:cNvPr id="5" name="Text Placeholder 4">
            <a:extLst>
              <a:ext uri="{FF2B5EF4-FFF2-40B4-BE49-F238E27FC236}">
                <a16:creationId xmlns:a16="http://schemas.microsoft.com/office/drawing/2014/main" id="{D333F292-C901-4BF8-8C1D-47515578A6EF}"/>
              </a:ext>
            </a:extLst>
          </p:cNvPr>
          <p:cNvSpPr>
            <a:spLocks noGrp="1"/>
          </p:cNvSpPr>
          <p:nvPr>
            <p:ph type="body" sz="quarter" idx="10"/>
          </p:nvPr>
        </p:nvSpPr>
        <p:spPr>
          <a:xfrm>
            <a:off x="317500" y="18097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7A60ABA4-CDF6-48A1-8AC1-3F3B59EB536F}"/>
              </a:ext>
            </a:extLst>
          </p:cNvPr>
          <p:cNvSpPr>
            <a:spLocks noGrp="1"/>
          </p:cNvSpPr>
          <p:nvPr>
            <p:ph type="body" sz="quarter" idx="11"/>
          </p:nvPr>
        </p:nvSpPr>
        <p:spPr>
          <a:xfrm>
            <a:off x="469900" y="19621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85F893E8-3D79-40BB-A6B8-4AE6FDB4B9CA}"/>
              </a:ext>
            </a:extLst>
          </p:cNvPr>
          <p:cNvSpPr>
            <a:spLocks noGrp="1"/>
          </p:cNvSpPr>
          <p:nvPr>
            <p:ph type="body" sz="quarter" idx="12"/>
          </p:nvPr>
        </p:nvSpPr>
        <p:spPr>
          <a:xfrm>
            <a:off x="622300" y="21145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4">
            <a:extLst>
              <a:ext uri="{FF2B5EF4-FFF2-40B4-BE49-F238E27FC236}">
                <a16:creationId xmlns:a16="http://schemas.microsoft.com/office/drawing/2014/main" id="{80C844B3-B54F-44C0-B2FE-B3ADF26CA6DC}"/>
              </a:ext>
            </a:extLst>
          </p:cNvPr>
          <p:cNvSpPr>
            <a:spLocks noGrp="1"/>
          </p:cNvSpPr>
          <p:nvPr>
            <p:ph type="body" sz="quarter" idx="13"/>
          </p:nvPr>
        </p:nvSpPr>
        <p:spPr>
          <a:xfrm>
            <a:off x="774700" y="22669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a:extLst>
              <a:ext uri="{FF2B5EF4-FFF2-40B4-BE49-F238E27FC236}">
                <a16:creationId xmlns:a16="http://schemas.microsoft.com/office/drawing/2014/main" id="{84237CE1-CB96-4A89-9866-18992EB0C914}"/>
              </a:ext>
            </a:extLst>
          </p:cNvPr>
          <p:cNvSpPr>
            <a:spLocks noGrp="1"/>
          </p:cNvSpPr>
          <p:nvPr>
            <p:ph type="body" sz="quarter" idx="14"/>
          </p:nvPr>
        </p:nvSpPr>
        <p:spPr>
          <a:xfrm>
            <a:off x="927100" y="24193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43FE9084-5C12-4672-A05C-5011477D0EAC}"/>
              </a:ext>
            </a:extLst>
          </p:cNvPr>
          <p:cNvSpPr>
            <a:spLocks noGrp="1"/>
          </p:cNvSpPr>
          <p:nvPr>
            <p:ph type="body" sz="quarter" idx="15"/>
          </p:nvPr>
        </p:nvSpPr>
        <p:spPr>
          <a:xfrm>
            <a:off x="1079500" y="25717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63BECBC7-6123-4CDC-8FD3-2A9E6D63C339}"/>
              </a:ext>
            </a:extLst>
          </p:cNvPr>
          <p:cNvSpPr>
            <a:spLocks noGrp="1"/>
          </p:cNvSpPr>
          <p:nvPr>
            <p:ph type="body" sz="quarter" idx="16"/>
          </p:nvPr>
        </p:nvSpPr>
        <p:spPr>
          <a:xfrm>
            <a:off x="1231900" y="27241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20C1197C-1AF3-4C94-94AE-4EDACE232E05}"/>
              </a:ext>
            </a:extLst>
          </p:cNvPr>
          <p:cNvSpPr>
            <a:spLocks noGrp="1"/>
          </p:cNvSpPr>
          <p:nvPr>
            <p:ph type="body" sz="quarter" idx="17"/>
          </p:nvPr>
        </p:nvSpPr>
        <p:spPr>
          <a:xfrm>
            <a:off x="1384300" y="28765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a:extLst>
              <a:ext uri="{FF2B5EF4-FFF2-40B4-BE49-F238E27FC236}">
                <a16:creationId xmlns:a16="http://schemas.microsoft.com/office/drawing/2014/main" id="{A6341DF7-0A92-4FFB-844B-8B96F1052E57}"/>
              </a:ext>
            </a:extLst>
          </p:cNvPr>
          <p:cNvSpPr>
            <a:spLocks noGrp="1"/>
          </p:cNvSpPr>
          <p:nvPr>
            <p:ph type="body" sz="quarter" idx="18"/>
          </p:nvPr>
        </p:nvSpPr>
        <p:spPr>
          <a:xfrm>
            <a:off x="1536700" y="30289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a:extLst>
              <a:ext uri="{FF2B5EF4-FFF2-40B4-BE49-F238E27FC236}">
                <a16:creationId xmlns:a16="http://schemas.microsoft.com/office/drawing/2014/main" id="{13E8FCBD-6BE3-4BF2-B784-B71DEB104555}"/>
              </a:ext>
            </a:extLst>
          </p:cNvPr>
          <p:cNvSpPr>
            <a:spLocks noGrp="1"/>
          </p:cNvSpPr>
          <p:nvPr>
            <p:ph type="body" sz="quarter" idx="19"/>
          </p:nvPr>
        </p:nvSpPr>
        <p:spPr>
          <a:xfrm>
            <a:off x="1689100" y="31813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4">
            <a:extLst>
              <a:ext uri="{FF2B5EF4-FFF2-40B4-BE49-F238E27FC236}">
                <a16:creationId xmlns:a16="http://schemas.microsoft.com/office/drawing/2014/main" id="{CAA9535D-64C6-4758-ADB4-61A366B5EBF4}"/>
              </a:ext>
            </a:extLst>
          </p:cNvPr>
          <p:cNvSpPr>
            <a:spLocks noGrp="1"/>
          </p:cNvSpPr>
          <p:nvPr>
            <p:ph type="body" sz="quarter" idx="20"/>
          </p:nvPr>
        </p:nvSpPr>
        <p:spPr>
          <a:xfrm>
            <a:off x="1841500" y="33337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4">
            <a:extLst>
              <a:ext uri="{FF2B5EF4-FFF2-40B4-BE49-F238E27FC236}">
                <a16:creationId xmlns:a16="http://schemas.microsoft.com/office/drawing/2014/main" id="{25DBAE25-DE72-403F-9556-93CE0DAAA959}"/>
              </a:ext>
            </a:extLst>
          </p:cNvPr>
          <p:cNvSpPr>
            <a:spLocks noGrp="1"/>
          </p:cNvSpPr>
          <p:nvPr>
            <p:ph type="body" sz="quarter" idx="21"/>
          </p:nvPr>
        </p:nvSpPr>
        <p:spPr>
          <a:xfrm>
            <a:off x="1993900" y="34861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4">
            <a:extLst>
              <a:ext uri="{FF2B5EF4-FFF2-40B4-BE49-F238E27FC236}">
                <a16:creationId xmlns:a16="http://schemas.microsoft.com/office/drawing/2014/main" id="{612578EF-B200-4A3A-8444-8F2915DCBF4C}"/>
              </a:ext>
            </a:extLst>
          </p:cNvPr>
          <p:cNvSpPr>
            <a:spLocks noGrp="1"/>
          </p:cNvSpPr>
          <p:nvPr>
            <p:ph type="body" sz="quarter" idx="22"/>
          </p:nvPr>
        </p:nvSpPr>
        <p:spPr>
          <a:xfrm>
            <a:off x="2146300" y="36385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4">
            <a:extLst>
              <a:ext uri="{FF2B5EF4-FFF2-40B4-BE49-F238E27FC236}">
                <a16:creationId xmlns:a16="http://schemas.microsoft.com/office/drawing/2014/main" id="{EAF46250-D853-4016-9C6C-168F46024D70}"/>
              </a:ext>
            </a:extLst>
          </p:cNvPr>
          <p:cNvSpPr>
            <a:spLocks noGrp="1"/>
          </p:cNvSpPr>
          <p:nvPr>
            <p:ph type="body" sz="quarter" idx="23"/>
          </p:nvPr>
        </p:nvSpPr>
        <p:spPr>
          <a:xfrm>
            <a:off x="2298700" y="37909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4">
            <a:extLst>
              <a:ext uri="{FF2B5EF4-FFF2-40B4-BE49-F238E27FC236}">
                <a16:creationId xmlns:a16="http://schemas.microsoft.com/office/drawing/2014/main" id="{9F5DA96F-1914-4E35-8DBF-C8483829EBE9}"/>
              </a:ext>
            </a:extLst>
          </p:cNvPr>
          <p:cNvSpPr>
            <a:spLocks noGrp="1"/>
          </p:cNvSpPr>
          <p:nvPr>
            <p:ph type="body" sz="quarter" idx="24"/>
          </p:nvPr>
        </p:nvSpPr>
        <p:spPr>
          <a:xfrm>
            <a:off x="2451100" y="39433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4">
            <a:extLst>
              <a:ext uri="{FF2B5EF4-FFF2-40B4-BE49-F238E27FC236}">
                <a16:creationId xmlns:a16="http://schemas.microsoft.com/office/drawing/2014/main" id="{6813DF59-C7EC-4FF0-903B-DC1DE0542397}"/>
              </a:ext>
            </a:extLst>
          </p:cNvPr>
          <p:cNvSpPr>
            <a:spLocks noGrp="1"/>
          </p:cNvSpPr>
          <p:nvPr>
            <p:ph type="body" sz="quarter" idx="25"/>
          </p:nvPr>
        </p:nvSpPr>
        <p:spPr>
          <a:xfrm>
            <a:off x="2603500" y="40957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4">
            <a:extLst>
              <a:ext uri="{FF2B5EF4-FFF2-40B4-BE49-F238E27FC236}">
                <a16:creationId xmlns:a16="http://schemas.microsoft.com/office/drawing/2014/main" id="{D14B497C-0136-49C2-8CEC-41127E2E8B40}"/>
              </a:ext>
            </a:extLst>
          </p:cNvPr>
          <p:cNvSpPr>
            <a:spLocks noGrp="1"/>
          </p:cNvSpPr>
          <p:nvPr>
            <p:ph type="body" sz="quarter" idx="26"/>
          </p:nvPr>
        </p:nvSpPr>
        <p:spPr>
          <a:xfrm>
            <a:off x="2755900" y="42481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4">
            <a:extLst>
              <a:ext uri="{FF2B5EF4-FFF2-40B4-BE49-F238E27FC236}">
                <a16:creationId xmlns:a16="http://schemas.microsoft.com/office/drawing/2014/main" id="{5E3353E7-2FB8-40C6-AA3E-1361407993B6}"/>
              </a:ext>
            </a:extLst>
          </p:cNvPr>
          <p:cNvSpPr>
            <a:spLocks noGrp="1"/>
          </p:cNvSpPr>
          <p:nvPr>
            <p:ph type="body" sz="quarter" idx="27"/>
          </p:nvPr>
        </p:nvSpPr>
        <p:spPr>
          <a:xfrm>
            <a:off x="2908300" y="44005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4">
            <a:extLst>
              <a:ext uri="{FF2B5EF4-FFF2-40B4-BE49-F238E27FC236}">
                <a16:creationId xmlns:a16="http://schemas.microsoft.com/office/drawing/2014/main" id="{AEC73C68-7724-42FC-9161-FF7BE87FE39F}"/>
              </a:ext>
            </a:extLst>
          </p:cNvPr>
          <p:cNvSpPr>
            <a:spLocks noGrp="1"/>
          </p:cNvSpPr>
          <p:nvPr>
            <p:ph type="body" sz="quarter" idx="28"/>
          </p:nvPr>
        </p:nvSpPr>
        <p:spPr>
          <a:xfrm>
            <a:off x="3060700" y="45529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4">
            <a:extLst>
              <a:ext uri="{FF2B5EF4-FFF2-40B4-BE49-F238E27FC236}">
                <a16:creationId xmlns:a16="http://schemas.microsoft.com/office/drawing/2014/main" id="{A64FBAFE-5C91-4427-AE6A-AED74F55E5C1}"/>
              </a:ext>
            </a:extLst>
          </p:cNvPr>
          <p:cNvSpPr>
            <a:spLocks noGrp="1"/>
          </p:cNvSpPr>
          <p:nvPr>
            <p:ph type="body" sz="quarter" idx="29"/>
          </p:nvPr>
        </p:nvSpPr>
        <p:spPr>
          <a:xfrm>
            <a:off x="3213100" y="47053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4">
            <a:extLst>
              <a:ext uri="{FF2B5EF4-FFF2-40B4-BE49-F238E27FC236}">
                <a16:creationId xmlns:a16="http://schemas.microsoft.com/office/drawing/2014/main" id="{DCA3AB4F-9E8E-408F-8546-6AA75BEE5E1B}"/>
              </a:ext>
            </a:extLst>
          </p:cNvPr>
          <p:cNvSpPr>
            <a:spLocks noGrp="1"/>
          </p:cNvSpPr>
          <p:nvPr>
            <p:ph type="body" sz="quarter" idx="30"/>
          </p:nvPr>
        </p:nvSpPr>
        <p:spPr>
          <a:xfrm>
            <a:off x="3365500" y="4857750"/>
            <a:ext cx="4814888" cy="8588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32454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662139"/>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mp; Sq photo">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a:effectLst>
            <a:outerShdw blurRad="152400" sx="102000" sy="102000" algn="ctr" rotWithShape="0">
              <a:schemeClr val="accent5">
                <a:alpha val="25000"/>
              </a:schemeClr>
            </a:outerShdw>
          </a:effectLst>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02ADB3A-5FC1-4FBE-8E4E-516A262C51B9}"/>
              </a:ext>
            </a:extLst>
          </p:cNvPr>
          <p:cNvSpPr txBox="1"/>
          <p:nvPr userDrawn="1"/>
        </p:nvSpPr>
        <p:spPr>
          <a:xfrm>
            <a:off x="588263" y="6482026"/>
            <a:ext cx="416471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all" spc="200" normalizeH="0" baseline="0" noProof="0">
                <a:ln>
                  <a:noFill/>
                </a:ln>
                <a:solidFill>
                  <a:srgbClr val="ACACAC"/>
                </a:solidFill>
                <a:effectLst/>
                <a:uLnTx/>
                <a:uFillTx/>
                <a:latin typeface="Segoe UI" panose="020B0502040204020203" pitchFamily="34" charset="0"/>
                <a:ea typeface="+mn-ea"/>
                <a:cs typeface="Segoe UI" panose="020B0502040204020203" pitchFamily="34" charset="0"/>
              </a:rPr>
              <a:t>Microsoft Confidential – Proprietary Information May Be Subject to Non-Disclosure Agreement</a:t>
            </a:r>
          </a:p>
        </p:txBody>
      </p:sp>
    </p:spTree>
    <p:extLst>
      <p:ext uri="{BB962C8B-B14F-4D97-AF65-F5344CB8AC3E}">
        <p14:creationId xmlns:p14="http://schemas.microsoft.com/office/powerpoint/2010/main" val="394605363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998936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018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_sub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53721C-7704-42BF-A96A-3F937444ABC4}"/>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a16="http://schemas.microsoft.com/office/drawing/2014/main" id="{FCF1B40E-92AD-4DAD-B690-3C83B7B48602}"/>
              </a:ext>
            </a:extLst>
          </p:cNvPr>
          <p:cNvSpPr>
            <a:spLocks noGrp="1"/>
          </p:cNvSpPr>
          <p:nvPr>
            <p:ph sz="quarter" idx="10"/>
          </p:nvPr>
        </p:nvSpPr>
        <p:spPr>
          <a:xfrm>
            <a:off x="137319" y="1465263"/>
            <a:ext cx="2976562" cy="353045"/>
          </a:xfrm>
        </p:spPr>
        <p:txBody>
          <a:bodyPr/>
          <a:lstStyle/>
          <a:p>
            <a:pPr lvl="0"/>
            <a:r>
              <a:rPr lang="en-US"/>
              <a:t>Click</a:t>
            </a:r>
          </a:p>
        </p:txBody>
      </p:sp>
      <p:sp>
        <p:nvSpPr>
          <p:cNvPr id="8" name="Content Placeholder 7">
            <a:extLst>
              <a:ext uri="{FF2B5EF4-FFF2-40B4-BE49-F238E27FC236}">
                <a16:creationId xmlns:a16="http://schemas.microsoft.com/office/drawing/2014/main" id="{7D2FB6B0-3C27-4E70-BD50-450376E837AF}"/>
              </a:ext>
            </a:extLst>
          </p:cNvPr>
          <p:cNvSpPr>
            <a:spLocks noGrp="1"/>
          </p:cNvSpPr>
          <p:nvPr>
            <p:ph sz="quarter" idx="11"/>
          </p:nvPr>
        </p:nvSpPr>
        <p:spPr>
          <a:xfrm>
            <a:off x="4005263" y="1581150"/>
            <a:ext cx="2366962" cy="353045"/>
          </a:xfrm>
        </p:spPr>
        <p:txBody>
          <a:bodyPr/>
          <a:lstStyle/>
          <a:p>
            <a:pPr lvl="0"/>
            <a:r>
              <a:rPr lang="en-US"/>
              <a:t>Click</a:t>
            </a:r>
          </a:p>
        </p:txBody>
      </p:sp>
      <p:sp>
        <p:nvSpPr>
          <p:cNvPr id="10" name="Content Placeholder 9">
            <a:extLst>
              <a:ext uri="{FF2B5EF4-FFF2-40B4-BE49-F238E27FC236}">
                <a16:creationId xmlns:a16="http://schemas.microsoft.com/office/drawing/2014/main" id="{1D71FBE9-663E-412D-8B16-66AFCC6D96DB}"/>
              </a:ext>
            </a:extLst>
          </p:cNvPr>
          <p:cNvSpPr>
            <a:spLocks noGrp="1"/>
          </p:cNvSpPr>
          <p:nvPr>
            <p:ph sz="quarter" idx="12"/>
          </p:nvPr>
        </p:nvSpPr>
        <p:spPr>
          <a:xfrm>
            <a:off x="6850743" y="1465263"/>
            <a:ext cx="2527071" cy="353045"/>
          </a:xfrm>
        </p:spPr>
        <p:txBody>
          <a:bodyPr/>
          <a:lstStyle/>
          <a:p>
            <a:pPr lvl="0"/>
            <a:r>
              <a:rPr lang="en-US"/>
              <a:t>Click</a:t>
            </a:r>
          </a:p>
        </p:txBody>
      </p:sp>
      <p:sp>
        <p:nvSpPr>
          <p:cNvPr id="12" name="Content Placeholder 11">
            <a:extLst>
              <a:ext uri="{FF2B5EF4-FFF2-40B4-BE49-F238E27FC236}">
                <a16:creationId xmlns:a16="http://schemas.microsoft.com/office/drawing/2014/main" id="{451EF1AB-5B77-4173-BE9E-314804066F60}"/>
              </a:ext>
            </a:extLst>
          </p:cNvPr>
          <p:cNvSpPr>
            <a:spLocks noGrp="1"/>
          </p:cNvSpPr>
          <p:nvPr>
            <p:ph sz="quarter" idx="13"/>
          </p:nvPr>
        </p:nvSpPr>
        <p:spPr>
          <a:xfrm>
            <a:off x="137319" y="2131555"/>
            <a:ext cx="2759075" cy="353045"/>
          </a:xfrm>
        </p:spPr>
        <p:txBody>
          <a:bodyPr/>
          <a:lstStyle/>
          <a:p>
            <a:pPr lvl="0"/>
            <a:r>
              <a:rPr lang="en-US"/>
              <a:t>Click</a:t>
            </a:r>
          </a:p>
        </p:txBody>
      </p:sp>
      <p:sp>
        <p:nvSpPr>
          <p:cNvPr id="14" name="Content Placeholder 13">
            <a:extLst>
              <a:ext uri="{FF2B5EF4-FFF2-40B4-BE49-F238E27FC236}">
                <a16:creationId xmlns:a16="http://schemas.microsoft.com/office/drawing/2014/main" id="{E8A9AD02-69E2-48D6-81DD-1C586361E2A3}"/>
              </a:ext>
            </a:extLst>
          </p:cNvPr>
          <p:cNvSpPr>
            <a:spLocks noGrp="1"/>
          </p:cNvSpPr>
          <p:nvPr>
            <p:ph sz="quarter" idx="14"/>
          </p:nvPr>
        </p:nvSpPr>
        <p:spPr>
          <a:xfrm>
            <a:off x="3222625" y="2158984"/>
            <a:ext cx="2960687" cy="353045"/>
          </a:xfrm>
        </p:spPr>
        <p:txBody>
          <a:bodyPr/>
          <a:lstStyle/>
          <a:p>
            <a:pPr lvl="0"/>
            <a:r>
              <a:rPr lang="en-US"/>
              <a:t>Click</a:t>
            </a:r>
          </a:p>
        </p:txBody>
      </p:sp>
      <p:sp>
        <p:nvSpPr>
          <p:cNvPr id="16" name="Content Placeholder 15">
            <a:extLst>
              <a:ext uri="{FF2B5EF4-FFF2-40B4-BE49-F238E27FC236}">
                <a16:creationId xmlns:a16="http://schemas.microsoft.com/office/drawing/2014/main" id="{24D12742-7A64-47D0-BAE0-1FCF3C715C2B}"/>
              </a:ext>
            </a:extLst>
          </p:cNvPr>
          <p:cNvSpPr>
            <a:spLocks noGrp="1"/>
          </p:cNvSpPr>
          <p:nvPr>
            <p:ph sz="quarter" idx="15"/>
          </p:nvPr>
        </p:nvSpPr>
        <p:spPr>
          <a:xfrm>
            <a:off x="6509543" y="2131554"/>
            <a:ext cx="2670175" cy="353045"/>
          </a:xfrm>
        </p:spPr>
        <p:txBody>
          <a:bodyPr/>
          <a:lstStyle/>
          <a:p>
            <a:pPr lvl="0"/>
            <a:r>
              <a:rPr lang="en-US"/>
              <a:t>Click</a:t>
            </a:r>
          </a:p>
        </p:txBody>
      </p:sp>
      <p:sp>
        <p:nvSpPr>
          <p:cNvPr id="18" name="Content Placeholder 17">
            <a:extLst>
              <a:ext uri="{FF2B5EF4-FFF2-40B4-BE49-F238E27FC236}">
                <a16:creationId xmlns:a16="http://schemas.microsoft.com/office/drawing/2014/main" id="{7902D39F-E5BA-4303-A20D-B96F8FD33858}"/>
              </a:ext>
            </a:extLst>
          </p:cNvPr>
          <p:cNvSpPr>
            <a:spLocks noGrp="1"/>
          </p:cNvSpPr>
          <p:nvPr>
            <p:ph sz="quarter" idx="16"/>
          </p:nvPr>
        </p:nvSpPr>
        <p:spPr>
          <a:xfrm>
            <a:off x="137319" y="2799674"/>
            <a:ext cx="2976562" cy="353045"/>
          </a:xfrm>
        </p:spPr>
        <p:txBody>
          <a:bodyPr/>
          <a:lstStyle/>
          <a:p>
            <a:pPr lvl="0"/>
            <a:r>
              <a:rPr lang="en-US"/>
              <a:t>Click</a:t>
            </a:r>
          </a:p>
        </p:txBody>
      </p:sp>
      <p:sp>
        <p:nvSpPr>
          <p:cNvPr id="20" name="Content Placeholder 19">
            <a:extLst>
              <a:ext uri="{FF2B5EF4-FFF2-40B4-BE49-F238E27FC236}">
                <a16:creationId xmlns:a16="http://schemas.microsoft.com/office/drawing/2014/main" id="{8FC07F28-68E2-43B8-BD47-6C52013405A0}"/>
              </a:ext>
            </a:extLst>
          </p:cNvPr>
          <p:cNvSpPr>
            <a:spLocks noGrp="1"/>
          </p:cNvSpPr>
          <p:nvPr>
            <p:ph sz="quarter" idx="17"/>
          </p:nvPr>
        </p:nvSpPr>
        <p:spPr>
          <a:xfrm>
            <a:off x="3395663" y="2770418"/>
            <a:ext cx="2976562" cy="382301"/>
          </a:xfrm>
        </p:spPr>
        <p:txBody>
          <a:bodyPr/>
          <a:lstStyle/>
          <a:p>
            <a:pPr lvl="0"/>
            <a:r>
              <a:rPr lang="en-US"/>
              <a:t>Click</a:t>
            </a:r>
          </a:p>
        </p:txBody>
      </p:sp>
      <p:sp>
        <p:nvSpPr>
          <p:cNvPr id="22" name="Content Placeholder 21">
            <a:extLst>
              <a:ext uri="{FF2B5EF4-FFF2-40B4-BE49-F238E27FC236}">
                <a16:creationId xmlns:a16="http://schemas.microsoft.com/office/drawing/2014/main" id="{EE7C2750-08C5-49DB-AD9C-28F9069418FD}"/>
              </a:ext>
            </a:extLst>
          </p:cNvPr>
          <p:cNvSpPr>
            <a:spLocks noGrp="1"/>
          </p:cNvSpPr>
          <p:nvPr>
            <p:ph sz="quarter" idx="18"/>
          </p:nvPr>
        </p:nvSpPr>
        <p:spPr>
          <a:xfrm>
            <a:off x="6755606" y="2770024"/>
            <a:ext cx="2424112" cy="353045"/>
          </a:xfrm>
        </p:spPr>
        <p:txBody>
          <a:bodyPr/>
          <a:lstStyle/>
          <a:p>
            <a:pPr lvl="0"/>
            <a:r>
              <a:rPr lang="en-US"/>
              <a:t>Click</a:t>
            </a:r>
          </a:p>
        </p:txBody>
      </p:sp>
      <p:sp>
        <p:nvSpPr>
          <p:cNvPr id="24" name="Content Placeholder 23">
            <a:extLst>
              <a:ext uri="{FF2B5EF4-FFF2-40B4-BE49-F238E27FC236}">
                <a16:creationId xmlns:a16="http://schemas.microsoft.com/office/drawing/2014/main" id="{5485D2DE-919B-45D0-B97A-5DE764C79743}"/>
              </a:ext>
            </a:extLst>
          </p:cNvPr>
          <p:cNvSpPr>
            <a:spLocks noGrp="1"/>
          </p:cNvSpPr>
          <p:nvPr>
            <p:ph sz="quarter" idx="19" hasCustomPrompt="1"/>
          </p:nvPr>
        </p:nvSpPr>
        <p:spPr>
          <a:xfrm>
            <a:off x="9377814" y="2872082"/>
            <a:ext cx="2424112" cy="353045"/>
          </a:xfrm>
        </p:spPr>
        <p:txBody>
          <a:bodyPr/>
          <a:lstStyle/>
          <a:p>
            <a:pPr lvl="0"/>
            <a:r>
              <a:rPr lang="en-US"/>
              <a:t>Click l</a:t>
            </a:r>
          </a:p>
        </p:txBody>
      </p:sp>
      <p:sp>
        <p:nvSpPr>
          <p:cNvPr id="26" name="Content Placeholder 25">
            <a:extLst>
              <a:ext uri="{FF2B5EF4-FFF2-40B4-BE49-F238E27FC236}">
                <a16:creationId xmlns:a16="http://schemas.microsoft.com/office/drawing/2014/main" id="{A4DB1E33-DD27-4185-933B-AA7B4B8DF829}"/>
              </a:ext>
            </a:extLst>
          </p:cNvPr>
          <p:cNvSpPr>
            <a:spLocks noGrp="1"/>
          </p:cNvSpPr>
          <p:nvPr>
            <p:ph sz="quarter" idx="20"/>
          </p:nvPr>
        </p:nvSpPr>
        <p:spPr>
          <a:xfrm>
            <a:off x="9652001" y="1539875"/>
            <a:ext cx="2293938" cy="353045"/>
          </a:xfrm>
        </p:spPr>
        <p:txBody>
          <a:bodyPr/>
          <a:lstStyle/>
          <a:p>
            <a:pPr lvl="0"/>
            <a:r>
              <a:rPr lang="en-US"/>
              <a:t>Click</a:t>
            </a:r>
          </a:p>
        </p:txBody>
      </p:sp>
      <p:sp>
        <p:nvSpPr>
          <p:cNvPr id="28" name="Content Placeholder 27">
            <a:extLst>
              <a:ext uri="{FF2B5EF4-FFF2-40B4-BE49-F238E27FC236}">
                <a16:creationId xmlns:a16="http://schemas.microsoft.com/office/drawing/2014/main" id="{C3D68DAB-F645-485E-9FDF-FBC8578DF1AB}"/>
              </a:ext>
            </a:extLst>
          </p:cNvPr>
          <p:cNvSpPr>
            <a:spLocks noGrp="1"/>
          </p:cNvSpPr>
          <p:nvPr>
            <p:ph sz="quarter" idx="21"/>
          </p:nvPr>
        </p:nvSpPr>
        <p:spPr>
          <a:xfrm>
            <a:off x="9550400" y="2159000"/>
            <a:ext cx="2395538" cy="352425"/>
          </a:xfrm>
        </p:spPr>
        <p:txBody>
          <a:bodyPr/>
          <a:lstStyle/>
          <a:p>
            <a:pPr lvl="0"/>
            <a:r>
              <a:rPr lang="en-US"/>
              <a:t>Click</a:t>
            </a:r>
          </a:p>
        </p:txBody>
      </p:sp>
      <p:sp>
        <p:nvSpPr>
          <p:cNvPr id="30" name="Content Placeholder 29">
            <a:extLst>
              <a:ext uri="{FF2B5EF4-FFF2-40B4-BE49-F238E27FC236}">
                <a16:creationId xmlns:a16="http://schemas.microsoft.com/office/drawing/2014/main" id="{34E38AD8-958C-4A16-AA08-8EA34680A5CF}"/>
              </a:ext>
            </a:extLst>
          </p:cNvPr>
          <p:cNvSpPr>
            <a:spLocks noGrp="1"/>
          </p:cNvSpPr>
          <p:nvPr>
            <p:ph sz="quarter" idx="22"/>
          </p:nvPr>
        </p:nvSpPr>
        <p:spPr>
          <a:xfrm>
            <a:off x="138113" y="3490913"/>
            <a:ext cx="2759075" cy="353045"/>
          </a:xfrm>
        </p:spPr>
        <p:txBody>
          <a:bodyPr/>
          <a:lstStyle/>
          <a:p>
            <a:pPr lvl="0"/>
            <a:r>
              <a:rPr lang="en-US"/>
              <a:t>Click</a:t>
            </a:r>
          </a:p>
        </p:txBody>
      </p:sp>
      <p:sp>
        <p:nvSpPr>
          <p:cNvPr id="32" name="Content Placeholder 31">
            <a:extLst>
              <a:ext uri="{FF2B5EF4-FFF2-40B4-BE49-F238E27FC236}">
                <a16:creationId xmlns:a16="http://schemas.microsoft.com/office/drawing/2014/main" id="{6A69D678-E70D-4AF4-981C-BE86EE66825C}"/>
              </a:ext>
            </a:extLst>
          </p:cNvPr>
          <p:cNvSpPr>
            <a:spLocks noGrp="1"/>
          </p:cNvSpPr>
          <p:nvPr>
            <p:ph sz="quarter" idx="23"/>
          </p:nvPr>
        </p:nvSpPr>
        <p:spPr>
          <a:xfrm>
            <a:off x="3395663" y="3490913"/>
            <a:ext cx="2976562" cy="353045"/>
          </a:xfrm>
        </p:spPr>
        <p:txBody>
          <a:bodyPr/>
          <a:lstStyle/>
          <a:p>
            <a:pPr lvl="0"/>
            <a:r>
              <a:rPr lang="en-US"/>
              <a:t>Click</a:t>
            </a:r>
          </a:p>
        </p:txBody>
      </p:sp>
      <p:sp>
        <p:nvSpPr>
          <p:cNvPr id="34" name="Content Placeholder 33">
            <a:extLst>
              <a:ext uri="{FF2B5EF4-FFF2-40B4-BE49-F238E27FC236}">
                <a16:creationId xmlns:a16="http://schemas.microsoft.com/office/drawing/2014/main" id="{D6225A04-78FF-43C9-8E60-A4BCA2CDB05A}"/>
              </a:ext>
            </a:extLst>
          </p:cNvPr>
          <p:cNvSpPr>
            <a:spLocks noGrp="1"/>
          </p:cNvSpPr>
          <p:nvPr>
            <p:ph sz="quarter" idx="24"/>
          </p:nvPr>
        </p:nvSpPr>
        <p:spPr>
          <a:xfrm>
            <a:off x="6754813" y="3579813"/>
            <a:ext cx="2070100" cy="353045"/>
          </a:xfrm>
        </p:spPr>
        <p:txBody>
          <a:bodyPr/>
          <a:lstStyle/>
          <a:p>
            <a:pPr lvl="0"/>
            <a:r>
              <a:rPr lang="en-US"/>
              <a:t>Click </a:t>
            </a:r>
          </a:p>
        </p:txBody>
      </p:sp>
      <p:sp>
        <p:nvSpPr>
          <p:cNvPr id="36" name="Content Placeholder 35">
            <a:extLst>
              <a:ext uri="{FF2B5EF4-FFF2-40B4-BE49-F238E27FC236}">
                <a16:creationId xmlns:a16="http://schemas.microsoft.com/office/drawing/2014/main" id="{EA464B4F-D72F-4110-B6BF-F0D7EE01ECDE}"/>
              </a:ext>
            </a:extLst>
          </p:cNvPr>
          <p:cNvSpPr>
            <a:spLocks noGrp="1"/>
          </p:cNvSpPr>
          <p:nvPr>
            <p:ph sz="quarter" idx="25"/>
          </p:nvPr>
        </p:nvSpPr>
        <p:spPr>
          <a:xfrm>
            <a:off x="9207500" y="3490913"/>
            <a:ext cx="2846388" cy="353045"/>
          </a:xfrm>
        </p:spPr>
        <p:txBody>
          <a:bodyPr/>
          <a:lstStyle/>
          <a:p>
            <a:pPr lvl="0"/>
            <a:r>
              <a:rPr lang="en-US"/>
              <a:t>Click</a:t>
            </a:r>
          </a:p>
        </p:txBody>
      </p:sp>
      <p:sp>
        <p:nvSpPr>
          <p:cNvPr id="38" name="Content Placeholder 37">
            <a:extLst>
              <a:ext uri="{FF2B5EF4-FFF2-40B4-BE49-F238E27FC236}">
                <a16:creationId xmlns:a16="http://schemas.microsoft.com/office/drawing/2014/main" id="{A0F49641-9F82-4F49-85CF-663B0E1E5F93}"/>
              </a:ext>
            </a:extLst>
          </p:cNvPr>
          <p:cNvSpPr>
            <a:spLocks noGrp="1"/>
          </p:cNvSpPr>
          <p:nvPr>
            <p:ph sz="quarter" idx="26"/>
          </p:nvPr>
        </p:nvSpPr>
        <p:spPr>
          <a:xfrm>
            <a:off x="138113" y="4346575"/>
            <a:ext cx="2759075" cy="353045"/>
          </a:xfrm>
        </p:spPr>
        <p:txBody>
          <a:bodyPr/>
          <a:lstStyle/>
          <a:p>
            <a:pPr lvl="0"/>
            <a:r>
              <a:rPr lang="en-US"/>
              <a:t>Click</a:t>
            </a:r>
          </a:p>
        </p:txBody>
      </p:sp>
      <p:sp>
        <p:nvSpPr>
          <p:cNvPr id="40" name="Content Placeholder 39">
            <a:extLst>
              <a:ext uri="{FF2B5EF4-FFF2-40B4-BE49-F238E27FC236}">
                <a16:creationId xmlns:a16="http://schemas.microsoft.com/office/drawing/2014/main" id="{1FB07546-4EBE-42F1-B361-A97D1369CDA4}"/>
              </a:ext>
            </a:extLst>
          </p:cNvPr>
          <p:cNvSpPr>
            <a:spLocks noGrp="1"/>
          </p:cNvSpPr>
          <p:nvPr>
            <p:ph sz="quarter" idx="27"/>
          </p:nvPr>
        </p:nvSpPr>
        <p:spPr>
          <a:xfrm>
            <a:off x="3222625" y="4300538"/>
            <a:ext cx="2759075" cy="353045"/>
          </a:xfrm>
        </p:spPr>
        <p:txBody>
          <a:bodyPr/>
          <a:lstStyle/>
          <a:p>
            <a:pPr lvl="0"/>
            <a:r>
              <a:rPr lang="en-US"/>
              <a:t>Click</a:t>
            </a:r>
          </a:p>
        </p:txBody>
      </p:sp>
      <p:sp>
        <p:nvSpPr>
          <p:cNvPr id="42" name="Content Placeholder 41">
            <a:extLst>
              <a:ext uri="{FF2B5EF4-FFF2-40B4-BE49-F238E27FC236}">
                <a16:creationId xmlns:a16="http://schemas.microsoft.com/office/drawing/2014/main" id="{C5BBD1EE-D4D2-4B74-A23B-A273CD26AE31}"/>
              </a:ext>
            </a:extLst>
          </p:cNvPr>
          <p:cNvSpPr>
            <a:spLocks noGrp="1"/>
          </p:cNvSpPr>
          <p:nvPr>
            <p:ph sz="quarter" idx="28"/>
          </p:nvPr>
        </p:nvSpPr>
        <p:spPr>
          <a:xfrm>
            <a:off x="6508750" y="4300538"/>
            <a:ext cx="2533650" cy="353045"/>
          </a:xfrm>
        </p:spPr>
        <p:txBody>
          <a:bodyPr/>
          <a:lstStyle/>
          <a:p>
            <a:pPr lvl="0"/>
            <a:r>
              <a:rPr lang="en-US"/>
              <a:t>Click</a:t>
            </a:r>
          </a:p>
        </p:txBody>
      </p:sp>
      <p:sp>
        <p:nvSpPr>
          <p:cNvPr id="44" name="Content Placeholder 43">
            <a:extLst>
              <a:ext uri="{FF2B5EF4-FFF2-40B4-BE49-F238E27FC236}">
                <a16:creationId xmlns:a16="http://schemas.microsoft.com/office/drawing/2014/main" id="{6CD9EE39-DEB3-4182-9C32-3D216AD99A18}"/>
              </a:ext>
            </a:extLst>
          </p:cNvPr>
          <p:cNvSpPr>
            <a:spLocks noGrp="1"/>
          </p:cNvSpPr>
          <p:nvPr>
            <p:ph sz="quarter" idx="29"/>
          </p:nvPr>
        </p:nvSpPr>
        <p:spPr>
          <a:xfrm>
            <a:off x="9377363" y="4300538"/>
            <a:ext cx="2533650" cy="353045"/>
          </a:xfrm>
        </p:spPr>
        <p:txBody>
          <a:bodyPr/>
          <a:lstStyle/>
          <a:p>
            <a:pPr lvl="0"/>
            <a:r>
              <a:rPr lang="en-US"/>
              <a:t>Click</a:t>
            </a:r>
          </a:p>
        </p:txBody>
      </p:sp>
      <p:sp>
        <p:nvSpPr>
          <p:cNvPr id="46" name="Content Placeholder 45">
            <a:extLst>
              <a:ext uri="{FF2B5EF4-FFF2-40B4-BE49-F238E27FC236}">
                <a16:creationId xmlns:a16="http://schemas.microsoft.com/office/drawing/2014/main" id="{FBBAC213-D870-4C7C-A2E7-1DC24CBEF93B}"/>
              </a:ext>
            </a:extLst>
          </p:cNvPr>
          <p:cNvSpPr>
            <a:spLocks noGrp="1"/>
          </p:cNvSpPr>
          <p:nvPr>
            <p:ph sz="quarter" idx="30"/>
          </p:nvPr>
        </p:nvSpPr>
        <p:spPr>
          <a:xfrm>
            <a:off x="138113" y="5021263"/>
            <a:ext cx="2562225" cy="353045"/>
          </a:xfrm>
        </p:spPr>
        <p:txBody>
          <a:bodyPr/>
          <a:lstStyle>
            <a:lvl1pPr>
              <a:defRPr/>
            </a:lvl1pPr>
          </a:lstStyle>
          <a:p>
            <a:pPr lvl="0"/>
            <a:r>
              <a:rPr lang="en-US"/>
              <a:t>Click</a:t>
            </a:r>
          </a:p>
        </p:txBody>
      </p:sp>
      <p:sp>
        <p:nvSpPr>
          <p:cNvPr id="48" name="Content Placeholder 47">
            <a:extLst>
              <a:ext uri="{FF2B5EF4-FFF2-40B4-BE49-F238E27FC236}">
                <a16:creationId xmlns:a16="http://schemas.microsoft.com/office/drawing/2014/main" id="{7BF48D2D-3F73-476E-942B-486D0F308BEB}"/>
              </a:ext>
            </a:extLst>
          </p:cNvPr>
          <p:cNvSpPr>
            <a:spLocks noGrp="1"/>
          </p:cNvSpPr>
          <p:nvPr>
            <p:ph sz="quarter" idx="31"/>
          </p:nvPr>
        </p:nvSpPr>
        <p:spPr>
          <a:xfrm>
            <a:off x="3222625" y="5021263"/>
            <a:ext cx="3286125" cy="353045"/>
          </a:xfrm>
        </p:spPr>
        <p:txBody>
          <a:bodyPr/>
          <a:lstStyle/>
          <a:p>
            <a:pPr lvl="0"/>
            <a:r>
              <a:rPr lang="en-US"/>
              <a:t>Click</a:t>
            </a:r>
          </a:p>
        </p:txBody>
      </p:sp>
      <p:sp>
        <p:nvSpPr>
          <p:cNvPr id="50" name="Content Placeholder 49">
            <a:extLst>
              <a:ext uri="{FF2B5EF4-FFF2-40B4-BE49-F238E27FC236}">
                <a16:creationId xmlns:a16="http://schemas.microsoft.com/office/drawing/2014/main" id="{8E167AF3-9C45-4A88-8D48-23BA639B56B2}"/>
              </a:ext>
            </a:extLst>
          </p:cNvPr>
          <p:cNvSpPr>
            <a:spLocks noGrp="1"/>
          </p:cNvSpPr>
          <p:nvPr>
            <p:ph sz="quarter" idx="32"/>
          </p:nvPr>
        </p:nvSpPr>
        <p:spPr>
          <a:xfrm>
            <a:off x="6850063" y="4924425"/>
            <a:ext cx="2562225" cy="353045"/>
          </a:xfrm>
        </p:spPr>
        <p:txBody>
          <a:bodyPr/>
          <a:lstStyle/>
          <a:p>
            <a:pPr lvl="0"/>
            <a:r>
              <a:rPr lang="en-US"/>
              <a:t>Click</a:t>
            </a:r>
          </a:p>
        </p:txBody>
      </p:sp>
      <p:sp>
        <p:nvSpPr>
          <p:cNvPr id="52" name="Content Placeholder 51">
            <a:extLst>
              <a:ext uri="{FF2B5EF4-FFF2-40B4-BE49-F238E27FC236}">
                <a16:creationId xmlns:a16="http://schemas.microsoft.com/office/drawing/2014/main" id="{0724E71E-7324-4C36-981D-9D036DC4E063}"/>
              </a:ext>
            </a:extLst>
          </p:cNvPr>
          <p:cNvSpPr>
            <a:spLocks noGrp="1"/>
          </p:cNvSpPr>
          <p:nvPr>
            <p:ph sz="quarter" idx="33"/>
          </p:nvPr>
        </p:nvSpPr>
        <p:spPr>
          <a:xfrm>
            <a:off x="9696450" y="5013325"/>
            <a:ext cx="2105025" cy="353045"/>
          </a:xfrm>
        </p:spPr>
        <p:txBody>
          <a:bodyPr/>
          <a:lstStyle/>
          <a:p>
            <a:pPr lvl="0"/>
            <a:r>
              <a:rPr lang="en-US"/>
              <a:t>Click</a:t>
            </a:r>
          </a:p>
        </p:txBody>
      </p:sp>
      <p:sp>
        <p:nvSpPr>
          <p:cNvPr id="54" name="Content Placeholder 53">
            <a:extLst>
              <a:ext uri="{FF2B5EF4-FFF2-40B4-BE49-F238E27FC236}">
                <a16:creationId xmlns:a16="http://schemas.microsoft.com/office/drawing/2014/main" id="{273252F1-224D-4957-BB06-E642E4DFA584}"/>
              </a:ext>
            </a:extLst>
          </p:cNvPr>
          <p:cNvSpPr>
            <a:spLocks noGrp="1"/>
          </p:cNvSpPr>
          <p:nvPr>
            <p:ph sz="quarter" idx="34"/>
          </p:nvPr>
        </p:nvSpPr>
        <p:spPr>
          <a:xfrm>
            <a:off x="638175" y="5726113"/>
            <a:ext cx="2584450" cy="352425"/>
          </a:xfrm>
        </p:spPr>
        <p:txBody>
          <a:bodyPr/>
          <a:lstStyle/>
          <a:p>
            <a:pPr lvl="0"/>
            <a:r>
              <a:rPr lang="en-US"/>
              <a:t>Click</a:t>
            </a:r>
          </a:p>
        </p:txBody>
      </p:sp>
      <p:sp>
        <p:nvSpPr>
          <p:cNvPr id="56" name="Content Placeholder 55">
            <a:extLst>
              <a:ext uri="{FF2B5EF4-FFF2-40B4-BE49-F238E27FC236}">
                <a16:creationId xmlns:a16="http://schemas.microsoft.com/office/drawing/2014/main" id="{D5253622-EF84-4B9D-914E-D1CE69AB4DCC}"/>
              </a:ext>
            </a:extLst>
          </p:cNvPr>
          <p:cNvSpPr>
            <a:spLocks noGrp="1"/>
          </p:cNvSpPr>
          <p:nvPr>
            <p:ph sz="quarter" idx="35"/>
          </p:nvPr>
        </p:nvSpPr>
        <p:spPr>
          <a:xfrm>
            <a:off x="3759200" y="5632450"/>
            <a:ext cx="4456113" cy="353045"/>
          </a:xfrm>
        </p:spPr>
        <p:txBody>
          <a:bodyPr/>
          <a:lstStyle/>
          <a:p>
            <a:pPr lvl="0"/>
            <a:r>
              <a:rPr lang="en-US"/>
              <a:t>Click</a:t>
            </a:r>
          </a:p>
        </p:txBody>
      </p:sp>
      <p:sp>
        <p:nvSpPr>
          <p:cNvPr id="62" name="04R">
            <a:extLst>
              <a:ext uri="{FF2B5EF4-FFF2-40B4-BE49-F238E27FC236}">
                <a16:creationId xmlns:a16="http://schemas.microsoft.com/office/drawing/2014/main" id="{00BC1F76-D0A9-46D2-A383-AFF060E5572F}"/>
              </a:ext>
              <a:ext uri="{C183D7F6-B498-43B3-948B-1728B52AA6E4}">
                <adec:decorative xmlns:adec="http://schemas.microsoft.com/office/drawing/2017/decorative" val="1"/>
              </a:ext>
            </a:extLst>
          </p:cNvPr>
          <p:cNvSpPr/>
          <p:nvPr userDrawn="1"/>
        </p:nvSpPr>
        <p:spPr bwMode="auto">
          <a:xfrm>
            <a:off x="407953"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ctr"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3" name="04R">
            <a:extLst>
              <a:ext uri="{FF2B5EF4-FFF2-40B4-BE49-F238E27FC236}">
                <a16:creationId xmlns:a16="http://schemas.microsoft.com/office/drawing/2014/main" id="{195F0F0C-B1DE-4FA8-8DF2-0E24A930489A}"/>
              </a:ext>
              <a:ext uri="{C183D7F6-B498-43B3-948B-1728B52AA6E4}">
                <adec:decorative xmlns:adec="http://schemas.microsoft.com/office/drawing/2017/decorative" val="1"/>
              </a:ext>
            </a:extLst>
          </p:cNvPr>
          <p:cNvSpPr/>
          <p:nvPr userDrawn="1"/>
        </p:nvSpPr>
        <p:spPr bwMode="auto">
          <a:xfrm>
            <a:off x="407953" y="3318657"/>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ctr"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4" name="04R">
            <a:extLst>
              <a:ext uri="{FF2B5EF4-FFF2-40B4-BE49-F238E27FC236}">
                <a16:creationId xmlns:a16="http://schemas.microsoft.com/office/drawing/2014/main" id="{E2E543CC-2758-4BE2-9598-D82C0B9D8ED3}"/>
              </a:ext>
              <a:ext uri="{C183D7F6-B498-43B3-948B-1728B52AA6E4}">
                <adec:decorative xmlns:adec="http://schemas.microsoft.com/office/drawing/2017/decorative" val="1"/>
              </a:ext>
            </a:extLst>
          </p:cNvPr>
          <p:cNvSpPr/>
          <p:nvPr userDrawn="1"/>
        </p:nvSpPr>
        <p:spPr bwMode="auto">
          <a:xfrm>
            <a:off x="3288243" y="1638406"/>
            <a:ext cx="2698282"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5" name="04R">
            <a:extLst>
              <a:ext uri="{FF2B5EF4-FFF2-40B4-BE49-F238E27FC236}">
                <a16:creationId xmlns:a16="http://schemas.microsoft.com/office/drawing/2014/main" id="{3D5F9023-DC54-4A00-B3FC-5649C68759BA}"/>
              </a:ext>
              <a:ext uri="{C183D7F6-B498-43B3-948B-1728B52AA6E4}">
                <adec:decorative xmlns:adec="http://schemas.microsoft.com/office/drawing/2017/decorative" val="1"/>
              </a:ext>
            </a:extLst>
          </p:cNvPr>
          <p:cNvSpPr/>
          <p:nvPr userDrawn="1"/>
        </p:nvSpPr>
        <p:spPr bwMode="auto">
          <a:xfrm>
            <a:off x="6168881"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
        <p:nvSpPr>
          <p:cNvPr id="66" name="04R">
            <a:extLst>
              <a:ext uri="{FF2B5EF4-FFF2-40B4-BE49-F238E27FC236}">
                <a16:creationId xmlns:a16="http://schemas.microsoft.com/office/drawing/2014/main" id="{2DEFA1E9-424A-426C-A559-F1A56545137E}"/>
              </a:ext>
              <a:ext uri="{C183D7F6-B498-43B3-948B-1728B52AA6E4}">
                <adec:decorative xmlns:adec="http://schemas.microsoft.com/office/drawing/2017/decorative" val="1"/>
              </a:ext>
            </a:extLst>
          </p:cNvPr>
          <p:cNvSpPr/>
          <p:nvPr userDrawn="1"/>
        </p:nvSpPr>
        <p:spPr bwMode="auto">
          <a:xfrm>
            <a:off x="9049171" y="1638406"/>
            <a:ext cx="2697934" cy="485861"/>
          </a:xfrm>
          <a:prstGeom prst="rect">
            <a:avLst/>
          </a:prstGeom>
          <a:solidFill>
            <a:schemeClr val="accent1"/>
          </a:solidFill>
          <a:ln>
            <a:noFill/>
            <a:headEnd type="none" w="med" len="med"/>
            <a:tailEnd type="none" w="med" len="med"/>
          </a:ln>
          <a:effectLst>
            <a:outerShdw blurRad="254000" dist="50800" dir="2700000" algn="ctr" rotWithShape="0">
              <a:srgbClr val="000000">
                <a:alpha val="25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37141" rIns="137141" bIns="137141" numCol="1" spcCol="0" rtlCol="0" fromWordArt="0" anchor="t" anchorCtr="0" forceAA="0" compatLnSpc="1">
            <a:prstTxWarp prst="textNoShape">
              <a:avLst/>
            </a:prstTxWarp>
            <a:noAutofit/>
          </a:bodyPr>
          <a:lstStyle/>
          <a:p>
            <a:pPr marL="0" marR="0" lvl="0" indent="0" algn="l" defTabSz="932205" rtl="0" eaLnBrk="1" fontAlgn="auto" latinLnBrk="0" hangingPunct="1">
              <a:lnSpc>
                <a:spcPct val="100000"/>
              </a:lnSpc>
              <a:spcBef>
                <a:spcPct val="0"/>
              </a:spcBef>
              <a:spcAft>
                <a:spcPts val="0"/>
              </a:spcAft>
              <a:buClrTx/>
              <a:buSzTx/>
              <a:buFontTx/>
              <a:buNone/>
              <a:tabLst/>
              <a:defRPr/>
            </a:pPr>
            <a:endParaRPr kumimoji="0" lang="en-US" sz="1199" b="1" i="0" u="none" strike="noStrike" kern="1200" cap="none" spc="0" normalizeH="0" baseline="0" noProof="0">
              <a:ln w="3175">
                <a:noFill/>
              </a:ln>
              <a:gradFill>
                <a:gsLst>
                  <a:gs pos="1000">
                    <a:srgbClr val="FFFFFF"/>
                  </a:gs>
                  <a:gs pos="100000">
                    <a:srgbClr val="FFFFFF"/>
                  </a:gs>
                </a:gsLst>
                <a:lin ang="5400000" scaled="0"/>
              </a:gra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265370589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5_Section break">
    <p:bg>
      <p:bgRef idx="1001">
        <a:schemeClr val="bg1"/>
      </p:bgRef>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75B2FBE-0C5C-48AA-8D7F-9D5B7373CC9A}"/>
              </a:ext>
            </a:extLst>
          </p:cNvPr>
          <p:cNvSpPr>
            <a:spLocks noGrp="1"/>
          </p:cNvSpPr>
          <p:nvPr>
            <p:ph type="pic" sz="quarter" idx="13"/>
          </p:nvPr>
        </p:nvSpPr>
        <p:spPr>
          <a:xfrm>
            <a:off x="0" y="0"/>
            <a:ext cx="12192000" cy="6858000"/>
          </a:xfrm>
          <a:solidFill>
            <a:schemeClr val="bg2"/>
          </a:solidFill>
        </p:spPr>
        <p:txBody>
          <a:bodyPr/>
          <a:lstStyle/>
          <a:p>
            <a:r>
              <a:rPr lang="en-US"/>
              <a:t>Click icon to add picture</a:t>
            </a:r>
          </a:p>
        </p:txBody>
      </p:sp>
      <p:sp>
        <p:nvSpPr>
          <p:cNvPr id="16" name="Subtitle 2">
            <a:extLst>
              <a:ext uri="{FF2B5EF4-FFF2-40B4-BE49-F238E27FC236}">
                <a16:creationId xmlns:a16="http://schemas.microsoft.com/office/drawing/2014/main" id="{93411FC5-0B5A-4566-9984-827485AF9265}"/>
              </a:ext>
            </a:extLst>
          </p:cNvPr>
          <p:cNvSpPr>
            <a:spLocks noGrp="1"/>
          </p:cNvSpPr>
          <p:nvPr>
            <p:ph type="subTitle" idx="1"/>
          </p:nvPr>
        </p:nvSpPr>
        <p:spPr>
          <a:xfrm>
            <a:off x="2" y="2528888"/>
            <a:ext cx="5988048" cy="4329112"/>
          </a:xfrm>
          <a:noFill/>
        </p:spPr>
        <p:txBody>
          <a:bodyPr>
            <a:noAutofit/>
          </a:bodyPr>
          <a:lstStyle>
            <a:lvl1pPr marL="548640" indent="0">
              <a:lnSpc>
                <a:spcPct val="200000"/>
              </a:lnSpc>
              <a:buNone/>
              <a:defRPr>
                <a:solidFill>
                  <a:schemeClr val="tx1">
                    <a:alpha val="98000"/>
                  </a:schemeClr>
                </a:solidFill>
              </a:defRPr>
            </a:lvl1pPr>
          </a:lstStyle>
          <a:p>
            <a:r>
              <a:rPr lang="en-US">
                <a:solidFill>
                  <a:schemeClr val="tx1">
                    <a:alpha val="60000"/>
                  </a:schemeClr>
                </a:solidFill>
              </a:rPr>
              <a:t>Click to edit Master subtitle style</a:t>
            </a:r>
          </a:p>
        </p:txBody>
      </p:sp>
      <p:sp>
        <p:nvSpPr>
          <p:cNvPr id="15" name="Title 1">
            <a:extLst>
              <a:ext uri="{FF2B5EF4-FFF2-40B4-BE49-F238E27FC236}">
                <a16:creationId xmlns:a16="http://schemas.microsoft.com/office/drawing/2014/main" id="{754E1219-253E-4FEF-A576-83857F44BA01}"/>
              </a:ext>
            </a:extLst>
          </p:cNvPr>
          <p:cNvSpPr>
            <a:spLocks noGrp="1"/>
          </p:cNvSpPr>
          <p:nvPr>
            <p:ph type="ctrTitle"/>
          </p:nvPr>
        </p:nvSpPr>
        <p:spPr>
          <a:xfrm>
            <a:off x="0" y="1"/>
            <a:ext cx="5988049" cy="2349500"/>
          </a:xfrm>
          <a:gradFill flip="none" rotWithShape="1">
            <a:gsLst>
              <a:gs pos="0">
                <a:schemeClr val="bg2">
                  <a:alpha val="0"/>
                </a:schemeClr>
              </a:gs>
              <a:gs pos="50000">
                <a:schemeClr val="bg2">
                  <a:alpha val="70000"/>
                </a:schemeClr>
              </a:gs>
            </a:gsLst>
            <a:lin ang="10800000" scaled="1"/>
            <a:tileRect/>
          </a:gradFill>
        </p:spPr>
        <p:txBody>
          <a:bodyPr anchor="b" anchorCtr="0">
            <a:noAutofit/>
          </a:bodyPr>
          <a:lstStyle>
            <a:lvl1pPr marL="548640">
              <a:spcAft>
                <a:spcPts val="1200"/>
              </a:spcAft>
              <a:defRPr sz="4000"/>
            </a:lvl1pPr>
          </a:lstStyle>
          <a:p>
            <a:r>
              <a:rPr lang="en-US"/>
              <a:t>Click to edit Master title style</a:t>
            </a:r>
          </a:p>
        </p:txBody>
      </p:sp>
    </p:spTree>
    <p:extLst>
      <p:ext uri="{BB962C8B-B14F-4D97-AF65-F5344CB8AC3E}">
        <p14:creationId xmlns:p14="http://schemas.microsoft.com/office/powerpoint/2010/main" val="3025594073"/>
      </p:ext>
    </p:extLst>
  </p:cSld>
  <p:clrMapOvr>
    <a:overrideClrMapping bg1="dk1" tx1="lt1" bg2="dk2" tx2="lt2" accent1="accent1" accent2="accent2" accent3="accent3" accent4="accent4" accent5="accent5" accent6="accent6" hlink="hlink" folHlink="folHlink"/>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3_Introduction">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458B3A1-C77D-4AFC-B2C8-79520B53C452}"/>
              </a:ext>
            </a:extLst>
          </p:cNvPr>
          <p:cNvSpPr>
            <a:spLocks noGrp="1"/>
          </p:cNvSpPr>
          <p:nvPr>
            <p:ph type="title"/>
          </p:nvPr>
        </p:nvSpPr>
        <p:spPr>
          <a:xfrm>
            <a:off x="550863" y="4507200"/>
            <a:ext cx="4500562" cy="1562959"/>
          </a:xfrm>
        </p:spPr>
        <p:txBody>
          <a:bodyPr wrap="square" anchor="t" anchorCtr="0">
            <a:noAutofit/>
          </a:bodyPr>
          <a:lstStyle/>
          <a:p>
            <a:r>
              <a:rPr lang="en-US"/>
              <a:t>Click to edit Master title style</a:t>
            </a:r>
          </a:p>
        </p:txBody>
      </p:sp>
      <p:sp>
        <p:nvSpPr>
          <p:cNvPr id="12" name="Picture Placeholder 11">
            <a:extLst>
              <a:ext uri="{FF2B5EF4-FFF2-40B4-BE49-F238E27FC236}">
                <a16:creationId xmlns:a16="http://schemas.microsoft.com/office/drawing/2014/main" id="{F551DA26-B267-4F28-B4D0-65B3EF6E1112}"/>
              </a:ext>
            </a:extLst>
          </p:cNvPr>
          <p:cNvSpPr>
            <a:spLocks noGrp="1"/>
          </p:cNvSpPr>
          <p:nvPr>
            <p:ph type="pic" sz="quarter" idx="13"/>
          </p:nvPr>
        </p:nvSpPr>
        <p:spPr>
          <a:xfrm>
            <a:off x="0" y="0"/>
            <a:ext cx="3054096" cy="3776472"/>
          </a:xfrm>
          <a:solidFill>
            <a:schemeClr val="accent5"/>
          </a:solidFill>
        </p:spPr>
        <p:txBody>
          <a:bodyPr>
            <a:noAutofit/>
          </a:bodyPr>
          <a:lstStyle/>
          <a:p>
            <a:r>
              <a:rPr lang="en-US"/>
              <a:t>Click icon to add picture</a:t>
            </a:r>
          </a:p>
        </p:txBody>
      </p:sp>
      <p:sp>
        <p:nvSpPr>
          <p:cNvPr id="18" name="Picture Placeholder 11">
            <a:extLst>
              <a:ext uri="{FF2B5EF4-FFF2-40B4-BE49-F238E27FC236}">
                <a16:creationId xmlns:a16="http://schemas.microsoft.com/office/drawing/2014/main" id="{95544A62-DA23-4840-99DE-09AFC8F4DC48}"/>
              </a:ext>
            </a:extLst>
          </p:cNvPr>
          <p:cNvSpPr>
            <a:spLocks noGrp="1"/>
          </p:cNvSpPr>
          <p:nvPr>
            <p:ph type="pic" sz="quarter" idx="14"/>
          </p:nvPr>
        </p:nvSpPr>
        <p:spPr>
          <a:xfrm>
            <a:off x="3054096" y="0"/>
            <a:ext cx="3054096" cy="3776472"/>
          </a:xfrm>
          <a:solidFill>
            <a:schemeClr val="accent5"/>
          </a:solidFill>
        </p:spPr>
        <p:txBody>
          <a:bodyPr>
            <a:noAutofit/>
          </a:bodyPr>
          <a:lstStyle/>
          <a:p>
            <a:r>
              <a:rPr lang="en-US"/>
              <a:t>Click icon to add picture</a:t>
            </a:r>
          </a:p>
        </p:txBody>
      </p:sp>
      <p:sp>
        <p:nvSpPr>
          <p:cNvPr id="19" name="Picture Placeholder 11">
            <a:extLst>
              <a:ext uri="{FF2B5EF4-FFF2-40B4-BE49-F238E27FC236}">
                <a16:creationId xmlns:a16="http://schemas.microsoft.com/office/drawing/2014/main" id="{0C91AF30-C5BB-4601-BDEB-E60C93A16933}"/>
              </a:ext>
            </a:extLst>
          </p:cNvPr>
          <p:cNvSpPr>
            <a:spLocks noGrp="1"/>
          </p:cNvSpPr>
          <p:nvPr>
            <p:ph type="pic" sz="quarter" idx="15"/>
          </p:nvPr>
        </p:nvSpPr>
        <p:spPr>
          <a:xfrm>
            <a:off x="6083808" y="0"/>
            <a:ext cx="3054096" cy="3776472"/>
          </a:xfrm>
          <a:solidFill>
            <a:schemeClr val="accent5"/>
          </a:solidFill>
        </p:spPr>
        <p:txBody>
          <a:bodyPr>
            <a:noAutofit/>
          </a:bodyPr>
          <a:lstStyle/>
          <a:p>
            <a:r>
              <a:rPr lang="en-US"/>
              <a:t>Click icon to add picture</a:t>
            </a:r>
          </a:p>
        </p:txBody>
      </p:sp>
      <p:sp>
        <p:nvSpPr>
          <p:cNvPr id="20" name="Picture Placeholder 11">
            <a:extLst>
              <a:ext uri="{FF2B5EF4-FFF2-40B4-BE49-F238E27FC236}">
                <a16:creationId xmlns:a16="http://schemas.microsoft.com/office/drawing/2014/main" id="{5B625AA5-EA5B-4115-A461-DA2C7087D83E}"/>
              </a:ext>
            </a:extLst>
          </p:cNvPr>
          <p:cNvSpPr>
            <a:spLocks noGrp="1"/>
          </p:cNvSpPr>
          <p:nvPr>
            <p:ph type="pic" sz="quarter" idx="16"/>
          </p:nvPr>
        </p:nvSpPr>
        <p:spPr>
          <a:xfrm>
            <a:off x="9137904" y="0"/>
            <a:ext cx="3054096" cy="3776472"/>
          </a:xfrm>
          <a:solidFill>
            <a:schemeClr val="accent5"/>
          </a:solidFill>
        </p:spPr>
        <p:txBody>
          <a:bodyPr>
            <a:noAutofit/>
          </a:bodyPr>
          <a:lstStyle/>
          <a:p>
            <a:r>
              <a:rPr lang="en-US"/>
              <a:t>Click icon to add picture</a:t>
            </a:r>
          </a:p>
        </p:txBody>
      </p:sp>
      <p:sp>
        <p:nvSpPr>
          <p:cNvPr id="2" name="Date Placeholder 1">
            <a:extLst>
              <a:ext uri="{FF2B5EF4-FFF2-40B4-BE49-F238E27FC236}">
                <a16:creationId xmlns:a16="http://schemas.microsoft.com/office/drawing/2014/main" id="{AB81B449-7B97-41DC-B23F-65EDCBD316A6}"/>
              </a:ext>
            </a:extLst>
          </p:cNvPr>
          <p:cNvSpPr>
            <a:spLocks noGrp="1"/>
          </p:cNvSpPr>
          <p:nvPr>
            <p:ph type="dt" sz="half" idx="10"/>
          </p:nvPr>
        </p:nvSpPr>
        <p:spPr/>
        <p:txBody>
          <a:bodyPr>
            <a:noAutofit/>
          </a:bodyPr>
          <a:lstStyle/>
          <a:p>
            <a:endParaRPr lang="en-US"/>
          </a:p>
        </p:txBody>
      </p:sp>
      <p:sp>
        <p:nvSpPr>
          <p:cNvPr id="3" name="Footer Placeholder 2">
            <a:extLst>
              <a:ext uri="{FF2B5EF4-FFF2-40B4-BE49-F238E27FC236}">
                <a16:creationId xmlns:a16="http://schemas.microsoft.com/office/drawing/2014/main" id="{7C6B46D5-337B-4906-8412-4EEA3884FA7E}"/>
              </a:ext>
            </a:extLst>
          </p:cNvPr>
          <p:cNvSpPr>
            <a:spLocks noGrp="1"/>
          </p:cNvSpPr>
          <p:nvPr>
            <p:ph type="ftr" sz="quarter" idx="11"/>
          </p:nvPr>
        </p:nvSpPr>
        <p:spPr/>
        <p:txBody>
          <a:bodyPr>
            <a:noAutofit/>
          </a:bodyPr>
          <a:lstStyle/>
          <a:p>
            <a:r>
              <a:rPr lang="en-US"/>
              <a:t>Microsoft Confidential</a:t>
            </a:r>
          </a:p>
        </p:txBody>
      </p:sp>
      <p:sp>
        <p:nvSpPr>
          <p:cNvPr id="4" name="Slide Number Placeholder 3">
            <a:extLst>
              <a:ext uri="{FF2B5EF4-FFF2-40B4-BE49-F238E27FC236}">
                <a16:creationId xmlns:a16="http://schemas.microsoft.com/office/drawing/2014/main" id="{E436F230-C9A7-407A-B923-873839C8D8A0}"/>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
        <p:nvSpPr>
          <p:cNvPr id="11" name="Content Placeholder 6">
            <a:extLst>
              <a:ext uri="{FF2B5EF4-FFF2-40B4-BE49-F238E27FC236}">
                <a16:creationId xmlns:a16="http://schemas.microsoft.com/office/drawing/2014/main" id="{1B1AE41C-3196-4E6F-A3A8-313A92677FF3}"/>
              </a:ext>
            </a:extLst>
          </p:cNvPr>
          <p:cNvSpPr>
            <a:spLocks noGrp="1"/>
          </p:cNvSpPr>
          <p:nvPr>
            <p:ph sz="quarter" idx="15"/>
          </p:nvPr>
        </p:nvSpPr>
        <p:spPr>
          <a:xfrm>
            <a:off x="5262411" y="4508500"/>
            <a:ext cx="6221412" cy="1563688"/>
          </a:xfrm>
        </p:spPr>
        <p:txBody>
          <a:bodyPr>
            <a:noAutofit/>
          </a:bodyPr>
          <a:lstStyle>
            <a:lvl1pPr marL="228600" indent="-228600">
              <a:lnSpc>
                <a:spcPct val="100000"/>
              </a:lnSpc>
              <a:buFont typeface="Arial" panose="020B0604020202020204" pitchFamily="34" charset="0"/>
              <a:buChar char="•"/>
              <a:defRPr sz="2000">
                <a:solidFill>
                  <a:schemeClr val="tx1"/>
                </a:solidFill>
              </a:defRPr>
            </a:lvl1pPr>
            <a:lvl2pPr>
              <a:buNone/>
              <a:defRPr sz="1900"/>
            </a:lvl2pPr>
            <a:lvl3pPr>
              <a:buNone/>
              <a:defRPr sz="1900"/>
            </a:lvl3pPr>
            <a:lvl4pPr>
              <a:buNone/>
              <a:defRPr sz="1900"/>
            </a:lvl4pPr>
            <a:lvl5pPr>
              <a:buNone/>
              <a:defRPr sz="1900"/>
            </a:lvl5pPr>
          </a:lstStyle>
          <a:p>
            <a:pPr lvl="0"/>
            <a:r>
              <a:rPr lang="en-US"/>
              <a:t>Click to edit Master text styles</a:t>
            </a:r>
          </a:p>
        </p:txBody>
      </p:sp>
    </p:spTree>
    <p:extLst>
      <p:ext uri="{BB962C8B-B14F-4D97-AF65-F5344CB8AC3E}">
        <p14:creationId xmlns:p14="http://schemas.microsoft.com/office/powerpoint/2010/main" val="61290275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2745">
                <a:solidFill>
                  <a:srgbClr val="000000"/>
                </a:solidFill>
              </a:defRPr>
            </a:lvl1pPr>
          </a:lstStyle>
          <a:p>
            <a:r>
              <a:rPr lang="en-US"/>
              <a:t>Heading Segoe UI </a:t>
            </a:r>
            <a:r>
              <a:rPr lang="en-US" err="1"/>
              <a:t>Semibold</a:t>
            </a:r>
            <a:r>
              <a:rPr lang="en-US"/>
              <a:t> 28/32</a:t>
            </a:r>
          </a:p>
        </p:txBody>
      </p:sp>
      <p:sp>
        <p:nvSpPr>
          <p:cNvPr id="7" name="Text Placeholder 3">
            <a:extLst>
              <a:ext uri="{FF2B5EF4-FFF2-40B4-BE49-F238E27FC236}">
                <a16:creationId xmlns:a16="http://schemas.microsoft.com/office/drawing/2014/main" id="{FEE1E43F-C091-614B-AA20-F39D0AACAA1C}"/>
              </a:ext>
            </a:extLst>
          </p:cNvPr>
          <p:cNvSpPr>
            <a:spLocks noGrp="1"/>
          </p:cNvSpPr>
          <p:nvPr>
            <p:ph type="body" sz="quarter" idx="10" hasCustomPrompt="1"/>
          </p:nvPr>
        </p:nvSpPr>
        <p:spPr>
          <a:xfrm>
            <a:off x="455995" y="1922586"/>
            <a:ext cx="9384447" cy="3365537"/>
          </a:xfrm>
          <a:prstGeom prst="rect">
            <a:avLst/>
          </a:prstGeom>
        </p:spPr>
        <p:txBody>
          <a:bodyPr wrap="square" lIns="0" tIns="0" rIns="0" bIns="0">
            <a:spAutoFit/>
          </a:bodyPr>
          <a:lstStyle>
            <a:lvl1pPr marL="336145" marR="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lang="en-US" sz="1961" kern="1200" spc="0" baseline="0" dirty="0">
                <a:solidFill>
                  <a:srgbClr val="000000"/>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br>
              <a:rPr lang="en-US"/>
            </a:br>
            <a:endParaRPr lang="en-US"/>
          </a:p>
          <a:p>
            <a:pPr marL="336145" marR="0" lvl="0" indent="-336145" algn="l" defTabSz="914367" rtl="0" eaLnBrk="1" fontAlgn="auto" latinLnBrk="0" hangingPunct="1">
              <a:lnSpc>
                <a:spcPts val="2353"/>
              </a:lnSpc>
              <a:spcBef>
                <a:spcPts val="0"/>
              </a:spcBef>
              <a:spcAft>
                <a:spcPts val="0"/>
              </a:spcAft>
              <a:buClrTx/>
              <a:buSzPct val="90000"/>
              <a:buFont typeface="Arial" panose="020B0604020202020204" pitchFamily="34" charset="0"/>
              <a:buChar char="•"/>
              <a:tabLst/>
              <a:defRPr/>
            </a:pPr>
            <a:r>
              <a:rPr lang="en-US"/>
              <a:t>Bulleted list Segoe UI Regular 20/24. Dis </a:t>
            </a:r>
            <a:r>
              <a:rPr lang="en-US" err="1"/>
              <a:t>apid</a:t>
            </a:r>
            <a:r>
              <a:rPr lang="en-US"/>
              <a:t> es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vi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endParaRPr lang="en-US"/>
          </a:p>
          <a:p>
            <a:pPr lvl="0"/>
            <a:endParaRPr lang="en-US"/>
          </a:p>
          <a:p>
            <a:pPr lvl="0"/>
            <a:endParaRPr lang="en-US"/>
          </a:p>
          <a:p>
            <a:pPr lvl="0"/>
            <a:endParaRPr lang="en-US"/>
          </a:p>
        </p:txBody>
      </p:sp>
    </p:spTree>
    <p:extLst>
      <p:ext uri="{BB962C8B-B14F-4D97-AF65-F5344CB8AC3E}">
        <p14:creationId xmlns:p14="http://schemas.microsoft.com/office/powerpoint/2010/main" val="184389055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_Agenda w/4 bullets">
    <p:spTree>
      <p:nvGrpSpPr>
        <p:cNvPr id="1" name=""/>
        <p:cNvGrpSpPr/>
        <p:nvPr/>
      </p:nvGrpSpPr>
      <p:grpSpPr>
        <a:xfrm>
          <a:off x="0" y="0"/>
          <a:ext cx="0" cy="0"/>
          <a:chOff x="0" y="0"/>
          <a:chExt cx="0" cy="0"/>
        </a:xfrm>
      </p:grpSpPr>
      <p:sp>
        <p:nvSpPr>
          <p:cNvPr id="5" name="Arrow: Bent 4">
            <a:extLst>
              <a:ext uri="{FF2B5EF4-FFF2-40B4-BE49-F238E27FC236}">
                <a16:creationId xmlns:a16="http://schemas.microsoft.com/office/drawing/2014/main" id="{CA1804A6-4744-BDD6-B3DD-86281B4DEF81}"/>
              </a:ext>
            </a:extLst>
          </p:cNvPr>
          <p:cNvSpPr/>
          <p:nvPr userDrawn="1"/>
        </p:nvSpPr>
        <p:spPr bwMode="auto">
          <a:xfrm rot="10800000" flipH="1">
            <a:off x="696686" y="3301390"/>
            <a:ext cx="2713995" cy="2896961"/>
          </a:xfrm>
          <a:prstGeom prst="bentArrow">
            <a:avLst>
              <a:gd name="adj1" fmla="val 25000"/>
              <a:gd name="adj2" fmla="val 0"/>
              <a:gd name="adj3" fmla="val 25000"/>
              <a:gd name="adj4" fmla="val 4826"/>
            </a:avLst>
          </a:prstGeom>
          <a:ln w="38100">
            <a:gradFill flip="none" rotWithShape="1">
              <a:gsLst>
                <a:gs pos="0">
                  <a:schemeClr val="accent1">
                    <a:lumMod val="40000"/>
                    <a:lumOff val="60000"/>
                    <a:alpha val="0"/>
                  </a:schemeClr>
                </a:gs>
                <a:gs pos="48000">
                  <a:schemeClr val="accent1">
                    <a:lumMod val="40000"/>
                    <a:lumOff val="60000"/>
                  </a:schemeClr>
                </a:gs>
                <a:gs pos="100000">
                  <a:schemeClr val="accent1">
                    <a:lumMod val="40000"/>
                    <a:lumOff val="60000"/>
                    <a:alpha val="0"/>
                  </a:schemeClr>
                </a:gs>
              </a:gsLst>
              <a:path path="circle">
                <a:fillToRect t="100000" r="100000"/>
              </a:path>
              <a:tileRect l="-100000" b="-100000"/>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Freeform: Shape 10">
            <a:extLst>
              <a:ext uri="{FF2B5EF4-FFF2-40B4-BE49-F238E27FC236}">
                <a16:creationId xmlns:a16="http://schemas.microsoft.com/office/drawing/2014/main" id="{3EE76DFA-FBDA-0FC4-4CC6-632C50187431}"/>
              </a:ext>
              <a:ext uri="{C183D7F6-B498-43B3-948B-1728B52AA6E4}">
                <adec:decorative xmlns:adec="http://schemas.microsoft.com/office/drawing/2017/decorative" val="1"/>
              </a:ext>
            </a:extLst>
          </p:cNvPr>
          <p:cNvSpPr>
            <a:spLocks/>
          </p:cNvSpPr>
          <p:nvPr userDrawn="1"/>
        </p:nvSpPr>
        <p:spPr bwMode="auto">
          <a:xfrm>
            <a:off x="696686" y="1"/>
            <a:ext cx="3659414" cy="6198353"/>
          </a:xfrm>
          <a:custGeom>
            <a:avLst/>
            <a:gdLst>
              <a:gd name="connsiteX0" fmla="*/ 0 w 3659414"/>
              <a:gd name="connsiteY0" fmla="*/ 0 h 6198353"/>
              <a:gd name="connsiteX1" fmla="*/ 3659414 w 3659414"/>
              <a:gd name="connsiteY1" fmla="*/ 0 h 6198353"/>
              <a:gd name="connsiteX2" fmla="*/ 3659414 w 3659414"/>
              <a:gd name="connsiteY2" fmla="*/ 6090547 h 6198353"/>
              <a:gd name="connsiteX3" fmla="*/ 3551608 w 3659414"/>
              <a:gd name="connsiteY3" fmla="*/ 6198353 h 6198353"/>
              <a:gd name="connsiteX4" fmla="*/ 107806 w 3659414"/>
              <a:gd name="connsiteY4" fmla="*/ 6198353 h 6198353"/>
              <a:gd name="connsiteX5" fmla="*/ 0 w 3659414"/>
              <a:gd name="connsiteY5" fmla="*/ 6090547 h 6198353"/>
              <a:gd name="connsiteX6" fmla="*/ 0 w 3659414"/>
              <a:gd name="connsiteY6" fmla="*/ 0 h 619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9414" h="6198353">
                <a:moveTo>
                  <a:pt x="0" y="0"/>
                </a:moveTo>
                <a:lnTo>
                  <a:pt x="3659414" y="0"/>
                </a:lnTo>
                <a:lnTo>
                  <a:pt x="3659414" y="6090547"/>
                </a:lnTo>
                <a:cubicBezTo>
                  <a:pt x="3659414" y="6150087"/>
                  <a:pt x="3611148" y="6198353"/>
                  <a:pt x="3551608" y="6198353"/>
                </a:cubicBezTo>
                <a:lnTo>
                  <a:pt x="107806" y="6198353"/>
                </a:lnTo>
                <a:cubicBezTo>
                  <a:pt x="48266" y="6198353"/>
                  <a:pt x="0" y="6150087"/>
                  <a:pt x="0" y="6090547"/>
                </a:cubicBezTo>
                <a:lnTo>
                  <a:pt x="0" y="0"/>
                </a:lnTo>
                <a:close/>
              </a:path>
            </a:pathLst>
          </a:custGeom>
          <a:gradFill flip="none" rotWithShape="1">
            <a:gsLst>
              <a:gs pos="78000">
                <a:schemeClr val="tx1">
                  <a:lumMod val="93000"/>
                  <a:lumOff val="7000"/>
                </a:schemeClr>
              </a:gs>
              <a:gs pos="0">
                <a:srgbClr val="181719"/>
              </a:gs>
            </a:gsLst>
            <a:lin ang="5400000" scaled="1"/>
            <a:tileRect/>
          </a:gradFill>
          <a:ln>
            <a:solidFill>
              <a:schemeClr val="tx1">
                <a:lumMod val="85000"/>
                <a:lumOff val="15000"/>
              </a:schemeClr>
            </a:solidFill>
            <a:headEnd type="none" w="med" len="med"/>
            <a:tailEnd type="none" w="med" len="med"/>
          </a:ln>
          <a:effectLst>
            <a:outerShdw blurRad="635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1082783" y="1676400"/>
            <a:ext cx="2887219" cy="1661993"/>
          </a:xfrm>
        </p:spPr>
        <p:txBody>
          <a:bodyPr wrap="square">
            <a:spAutoFit/>
          </a:bodyPr>
          <a:lstStyle/>
          <a:p>
            <a:r>
              <a:rPr lang="en-US"/>
              <a:t>Click to edit Master title style</a:t>
            </a:r>
          </a:p>
        </p:txBody>
      </p:sp>
      <p:sp>
        <p:nvSpPr>
          <p:cNvPr id="3" name="Rectangle: Top Corners Rounded 2">
            <a:extLst>
              <a:ext uri="{FF2B5EF4-FFF2-40B4-BE49-F238E27FC236}">
                <a16:creationId xmlns:a16="http://schemas.microsoft.com/office/drawing/2014/main" id="{064164E6-75AF-F48F-E9EA-11B66AFC7B7D}"/>
              </a:ext>
              <a:ext uri="{C183D7F6-B498-43B3-948B-1728B52AA6E4}">
                <adec:decorative xmlns:adec="http://schemas.microsoft.com/office/drawing/2017/decorative" val="1"/>
              </a:ext>
            </a:extLst>
          </p:cNvPr>
          <p:cNvSpPr>
            <a:spLocks/>
          </p:cNvSpPr>
          <p:nvPr userDrawn="1"/>
        </p:nvSpPr>
        <p:spPr bwMode="auto">
          <a:xfrm rot="16200000" flipH="1">
            <a:off x="3347765" y="4577444"/>
            <a:ext cx="808356" cy="1208313"/>
          </a:xfrm>
          <a:prstGeom prst="round2SameRect">
            <a:avLst>
              <a:gd name="adj1" fmla="val 50000"/>
              <a:gd name="adj2" fmla="val 0"/>
            </a:avLst>
          </a:prstGeom>
          <a:gradFill flip="none" rotWithShape="1">
            <a:gsLst>
              <a:gs pos="78000">
                <a:srgbClr val="0D0D0D"/>
              </a:gs>
              <a:gs pos="0">
                <a:srgbClr val="181719"/>
              </a:gs>
            </a:gsLst>
            <a:lin ang="5400000" scaled="1"/>
            <a:tileRect/>
          </a:gradFill>
          <a:ln>
            <a:noFill/>
            <a:headEnd type="none" w="med" len="med"/>
            <a:tailEnd type="none" w="med" len="med"/>
          </a:ln>
          <a:effectLst>
            <a:innerShdw blurRad="139700" dist="50800" dir="16200000">
              <a:prstClr val="black">
                <a:alpha val="84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4" name="Oval 3">
            <a:extLst>
              <a:ext uri="{FF2B5EF4-FFF2-40B4-BE49-F238E27FC236}">
                <a16:creationId xmlns:a16="http://schemas.microsoft.com/office/drawing/2014/main" id="{7B742379-9871-2F75-C59B-EC0E084827DC}"/>
              </a:ext>
              <a:ext uri="{C183D7F6-B498-43B3-948B-1728B52AA6E4}">
                <adec:decorative xmlns:adec="http://schemas.microsoft.com/office/drawing/2017/decorative" val="1"/>
              </a:ext>
            </a:extLst>
          </p:cNvPr>
          <p:cNvSpPr/>
          <p:nvPr userDrawn="1"/>
        </p:nvSpPr>
        <p:spPr bwMode="auto">
          <a:xfrm>
            <a:off x="5143588" y="1832776"/>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7" name="Oval 6">
            <a:extLst>
              <a:ext uri="{FF2B5EF4-FFF2-40B4-BE49-F238E27FC236}">
                <a16:creationId xmlns:a16="http://schemas.microsoft.com/office/drawing/2014/main" id="{4C44A9D6-AD0D-B31F-FF89-AEBBEE4E94D3}"/>
              </a:ext>
              <a:ext uri="{C183D7F6-B498-43B3-948B-1728B52AA6E4}">
                <adec:decorative xmlns:adec="http://schemas.microsoft.com/office/drawing/2017/decorative" val="1"/>
              </a:ext>
            </a:extLst>
          </p:cNvPr>
          <p:cNvSpPr/>
          <p:nvPr userDrawn="1"/>
        </p:nvSpPr>
        <p:spPr bwMode="auto">
          <a:xfrm>
            <a:off x="5143588" y="3044794"/>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5DBD0ED4-60FA-D0A8-DEAE-4F7E368E2346}"/>
              </a:ext>
              <a:ext uri="{C183D7F6-B498-43B3-948B-1728B52AA6E4}">
                <adec:decorative xmlns:adec="http://schemas.microsoft.com/office/drawing/2017/decorative" val="1"/>
              </a:ext>
            </a:extLst>
          </p:cNvPr>
          <p:cNvSpPr/>
          <p:nvPr userDrawn="1"/>
        </p:nvSpPr>
        <p:spPr bwMode="auto">
          <a:xfrm>
            <a:off x="5143588" y="4256812"/>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3E1FF233-C9BE-DE2D-B6E7-2FB262EBA95D}"/>
              </a:ext>
              <a:ext uri="{C183D7F6-B498-43B3-948B-1728B52AA6E4}">
                <adec:decorative xmlns:adec="http://schemas.microsoft.com/office/drawing/2017/decorative" val="1"/>
              </a:ext>
            </a:extLst>
          </p:cNvPr>
          <p:cNvSpPr/>
          <p:nvPr userDrawn="1"/>
        </p:nvSpPr>
        <p:spPr bwMode="auto">
          <a:xfrm>
            <a:off x="5143588" y="5468829"/>
            <a:ext cx="728152" cy="729522"/>
          </a:xfrm>
          <a:prstGeom prst="ellipse">
            <a:avLst/>
          </a:prstGeom>
          <a:gradFill flip="none" rotWithShape="1">
            <a:gsLst>
              <a:gs pos="78000">
                <a:srgbClr val="4C4B4B">
                  <a:lumMod val="30000"/>
                  <a:lumOff val="70000"/>
                </a:srgbClr>
              </a:gs>
              <a:gs pos="0">
                <a:srgbClr val="323232">
                  <a:lumMod val="40000"/>
                </a:srgbClr>
              </a:gs>
            </a:gsLst>
            <a:path path="circle">
              <a:fillToRect t="100000" r="100000"/>
            </a:path>
            <a:tileRect l="-100000" b="-100000"/>
          </a:gradFill>
          <a:ln w="9525">
            <a:gradFill>
              <a:gsLst>
                <a:gs pos="0">
                  <a:schemeClr val="bg1"/>
                </a:gs>
                <a:gs pos="73000">
                  <a:schemeClr val="bg1">
                    <a:lumMod val="45000"/>
                    <a:lumOff val="55000"/>
                  </a:schemeClr>
                </a:gs>
                <a:gs pos="100000">
                  <a:schemeClr val="bg2"/>
                </a:gs>
              </a:gsLst>
              <a:lin ang="5400000" scaled="1"/>
            </a:gradFill>
            <a:headEnd type="none" w="med" len="med"/>
            <a:tailEnd type="none" w="med" len="med"/>
          </a:ln>
          <a:effectLst>
            <a:outerShdw blurRad="63500" sx="102000" sy="102000" algn="ctr" rotWithShape="0">
              <a:prstClr val="black">
                <a:alpha val="32000"/>
              </a:prstClr>
            </a:outerShdw>
          </a:effectLst>
          <a:scene3d>
            <a:camera prst="orthographicFront"/>
            <a:lightRig rig="chilly" dir="t"/>
          </a:scene3d>
          <a:sp3d prstMaterial="clear">
            <a:bevelT w="25400" h="2540" prst="hardEdge"/>
          </a:sp3d>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6" name="Text Placeholder 25">
            <a:extLst>
              <a:ext uri="{FF2B5EF4-FFF2-40B4-BE49-F238E27FC236}">
                <a16:creationId xmlns:a16="http://schemas.microsoft.com/office/drawing/2014/main" id="{7F540C56-310A-0131-0A07-0F224D53F28F}"/>
              </a:ext>
            </a:extLst>
          </p:cNvPr>
          <p:cNvSpPr>
            <a:spLocks noGrp="1"/>
          </p:cNvSpPr>
          <p:nvPr>
            <p:ph type="body" sz="quarter" idx="10" hasCustomPrompt="1"/>
          </p:nvPr>
        </p:nvSpPr>
        <p:spPr>
          <a:xfrm>
            <a:off x="6096000" y="2043649"/>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cxnSp>
        <p:nvCxnSpPr>
          <p:cNvPr id="16" name="Straight Connector 15">
            <a:extLst>
              <a:ext uri="{FF2B5EF4-FFF2-40B4-BE49-F238E27FC236}">
                <a16:creationId xmlns:a16="http://schemas.microsoft.com/office/drawing/2014/main" id="{A5A38637-3881-8F54-A8B8-9FEEBA43A919}"/>
              </a:ext>
            </a:extLst>
          </p:cNvPr>
          <p:cNvCxnSpPr>
            <a:cxnSpLocks/>
          </p:cNvCxnSpPr>
          <p:nvPr userDrawn="1"/>
        </p:nvCxnSpPr>
        <p:spPr>
          <a:xfrm flipH="1">
            <a:off x="6095999" y="2803546"/>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8" name="Straight Connector 17">
            <a:extLst>
              <a:ext uri="{FF2B5EF4-FFF2-40B4-BE49-F238E27FC236}">
                <a16:creationId xmlns:a16="http://schemas.microsoft.com/office/drawing/2014/main" id="{2DBA6E57-20B7-0827-9ED1-98C0AB38F86D}"/>
              </a:ext>
            </a:extLst>
          </p:cNvPr>
          <p:cNvCxnSpPr>
            <a:cxnSpLocks/>
          </p:cNvCxnSpPr>
          <p:nvPr userDrawn="1"/>
        </p:nvCxnSpPr>
        <p:spPr>
          <a:xfrm flipH="1">
            <a:off x="6095999" y="4015563"/>
            <a:ext cx="4495800" cy="0"/>
          </a:xfrm>
          <a:prstGeom prst="line">
            <a:avLst/>
          </a:prstGeom>
          <a:noFill/>
          <a:ln w="6350" cap="rnd" cmpd="sng" algn="ctr">
            <a:solidFill>
              <a:schemeClr val="tx1">
                <a:lumMod val="75000"/>
                <a:lumOff val="25000"/>
              </a:schemeClr>
            </a:solidFill>
            <a:prstDash val="solid"/>
            <a:headEnd type="none"/>
            <a:tailEnd type="none"/>
          </a:ln>
          <a:effectLst/>
        </p:spPr>
      </p:cxnSp>
      <p:cxnSp>
        <p:nvCxnSpPr>
          <p:cNvPr id="19" name="Straight Connector 18">
            <a:extLst>
              <a:ext uri="{FF2B5EF4-FFF2-40B4-BE49-F238E27FC236}">
                <a16:creationId xmlns:a16="http://schemas.microsoft.com/office/drawing/2014/main" id="{25EEB26C-9E62-5854-83E2-B70E2DDAC304}"/>
              </a:ext>
            </a:extLst>
          </p:cNvPr>
          <p:cNvCxnSpPr>
            <a:cxnSpLocks/>
          </p:cNvCxnSpPr>
          <p:nvPr userDrawn="1"/>
        </p:nvCxnSpPr>
        <p:spPr>
          <a:xfrm flipH="1">
            <a:off x="6095999" y="5227580"/>
            <a:ext cx="4495800" cy="0"/>
          </a:xfrm>
          <a:prstGeom prst="line">
            <a:avLst/>
          </a:prstGeom>
          <a:noFill/>
          <a:ln w="6350" cap="rnd" cmpd="sng" algn="ctr">
            <a:solidFill>
              <a:schemeClr val="tx1">
                <a:lumMod val="75000"/>
                <a:lumOff val="25000"/>
              </a:schemeClr>
            </a:solidFill>
            <a:prstDash val="solid"/>
            <a:headEnd type="none"/>
            <a:tailEnd type="none"/>
          </a:ln>
          <a:effectLst/>
        </p:spPr>
      </p:cxnSp>
      <p:sp>
        <p:nvSpPr>
          <p:cNvPr id="28" name="Text Placeholder 25">
            <a:extLst>
              <a:ext uri="{FF2B5EF4-FFF2-40B4-BE49-F238E27FC236}">
                <a16:creationId xmlns:a16="http://schemas.microsoft.com/office/drawing/2014/main" id="{124A070B-A224-9C80-B83B-9B878483FE7C}"/>
              </a:ext>
            </a:extLst>
          </p:cNvPr>
          <p:cNvSpPr>
            <a:spLocks noGrp="1"/>
          </p:cNvSpPr>
          <p:nvPr>
            <p:ph type="body" sz="quarter" idx="12" hasCustomPrompt="1"/>
          </p:nvPr>
        </p:nvSpPr>
        <p:spPr>
          <a:xfrm>
            <a:off x="6096000" y="3255666"/>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29" name="Text Placeholder 25">
            <a:extLst>
              <a:ext uri="{FF2B5EF4-FFF2-40B4-BE49-F238E27FC236}">
                <a16:creationId xmlns:a16="http://schemas.microsoft.com/office/drawing/2014/main" id="{6DE2A842-8750-F96F-4D90-1EC1E8357BB3}"/>
              </a:ext>
            </a:extLst>
          </p:cNvPr>
          <p:cNvSpPr>
            <a:spLocks noGrp="1"/>
          </p:cNvSpPr>
          <p:nvPr>
            <p:ph type="body" sz="quarter" idx="13" hasCustomPrompt="1"/>
          </p:nvPr>
        </p:nvSpPr>
        <p:spPr>
          <a:xfrm>
            <a:off x="6096000" y="4467683"/>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
        <p:nvSpPr>
          <p:cNvPr id="30" name="Text Placeholder 25">
            <a:extLst>
              <a:ext uri="{FF2B5EF4-FFF2-40B4-BE49-F238E27FC236}">
                <a16:creationId xmlns:a16="http://schemas.microsoft.com/office/drawing/2014/main" id="{CE35F133-2717-1535-A793-230B9482847B}"/>
              </a:ext>
            </a:extLst>
          </p:cNvPr>
          <p:cNvSpPr>
            <a:spLocks noGrp="1"/>
          </p:cNvSpPr>
          <p:nvPr>
            <p:ph type="body" sz="quarter" idx="14" hasCustomPrompt="1"/>
          </p:nvPr>
        </p:nvSpPr>
        <p:spPr>
          <a:xfrm>
            <a:off x="6096000" y="5679701"/>
            <a:ext cx="4495800" cy="307777"/>
          </a:xfrm>
          <a:prstGeom prst="rect">
            <a:avLst/>
          </a:prstGeom>
        </p:spPr>
        <p:txBody>
          <a:bodyPr lIns="0" tIns="0" rIns="0" bIns="0" anchor="ctr">
            <a:spAutoFit/>
          </a:bodyPr>
          <a:lstStyle>
            <a:lvl1pPr marL="0" indent="0" algn="l" defTabSz="914400" rtl="0" eaLnBrk="1" latinLnBrk="0" hangingPunct="1">
              <a:buNone/>
              <a:defRPr lang="en-US" sz="2000" kern="1200" dirty="0">
                <a:solidFill>
                  <a:schemeClr val="bg1"/>
                </a:solidFill>
                <a:latin typeface="+mn-lt"/>
                <a:ea typeface="+mn-ea"/>
                <a:cs typeface="+mn-cs"/>
              </a:defRPr>
            </a:lvl1pPr>
          </a:lstStyle>
          <a:p>
            <a:r>
              <a:rPr lang="en-US"/>
              <a:t>Lorem ipsum dolor sit </a:t>
            </a:r>
            <a:r>
              <a:rPr lang="en-US" err="1"/>
              <a:t>amet</a:t>
            </a:r>
            <a:endParaRPr lang="en-US"/>
          </a:p>
        </p:txBody>
      </p:sp>
    </p:spTree>
    <p:extLst>
      <p:ext uri="{BB962C8B-B14F-4D97-AF65-F5344CB8AC3E}">
        <p14:creationId xmlns:p14="http://schemas.microsoft.com/office/powerpoint/2010/main" val="417994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60">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Microsoft Confidential</a:t>
            </a:r>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267814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8E540-142B-4A82-9C3F-E61BC190AEED}"/>
              </a:ext>
            </a:extLst>
          </p:cNvPr>
          <p:cNvSpPr>
            <a:spLocks noGrp="1"/>
          </p:cNvSpPr>
          <p:nvPr>
            <p:ph type="title"/>
          </p:nvPr>
        </p:nvSpPr>
        <p:spPr>
          <a:xfrm>
            <a:off x="550863" y="549275"/>
            <a:ext cx="11090274" cy="1332000"/>
          </a:xfrm>
        </p:spPr>
        <p:txBody>
          <a:bodyPr>
            <a:noAutofit/>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02C6BF36-D4F5-4363-B440-BDAE50BBD4B6}"/>
              </a:ext>
            </a:extLst>
          </p:cNvPr>
          <p:cNvSpPr>
            <a:spLocks noGrp="1"/>
          </p:cNvSpPr>
          <p:nvPr>
            <p:ph sz="half" idx="1"/>
          </p:nvPr>
        </p:nvSpPr>
        <p:spPr>
          <a:xfrm>
            <a:off x="550862" y="2097175"/>
            <a:ext cx="54356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362910-87AA-4E67-992D-8D4822FD89FE}"/>
              </a:ext>
            </a:extLst>
          </p:cNvPr>
          <p:cNvSpPr>
            <a:spLocks noGrp="1"/>
          </p:cNvSpPr>
          <p:nvPr>
            <p:ph sz="half" idx="2"/>
          </p:nvPr>
        </p:nvSpPr>
        <p:spPr>
          <a:xfrm>
            <a:off x="6205538" y="2097175"/>
            <a:ext cx="54356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99A8AF-0998-4613-B1D8-C14ECBFFDF67}"/>
              </a:ext>
            </a:extLst>
          </p:cNvPr>
          <p:cNvSpPr>
            <a:spLocks noGrp="1"/>
          </p:cNvSpPr>
          <p:nvPr>
            <p:ph type="dt" sz="half" idx="10"/>
          </p:nvPr>
        </p:nvSpPr>
        <p:spPr/>
        <p:txBody>
          <a:bodyPr>
            <a:noAutofit/>
          </a:bodyPr>
          <a:lstStyle/>
          <a:p>
            <a:endParaRPr lang="en-US"/>
          </a:p>
        </p:txBody>
      </p:sp>
      <p:sp>
        <p:nvSpPr>
          <p:cNvPr id="6" name="Footer Placeholder 5">
            <a:extLst>
              <a:ext uri="{FF2B5EF4-FFF2-40B4-BE49-F238E27FC236}">
                <a16:creationId xmlns:a16="http://schemas.microsoft.com/office/drawing/2014/main" id="{66E44EAA-B8A9-4428-A9DF-1174DA940990}"/>
              </a:ext>
            </a:extLst>
          </p:cNvPr>
          <p:cNvSpPr>
            <a:spLocks noGrp="1"/>
          </p:cNvSpPr>
          <p:nvPr>
            <p:ph type="ftr" sz="quarter" idx="11"/>
          </p:nvPr>
        </p:nvSpPr>
        <p:spPr/>
        <p:txBody>
          <a:bodyPr>
            <a:noAutofit/>
          </a:bodyPr>
          <a:lstStyle/>
          <a:p>
            <a:r>
              <a:rPr lang="en-US"/>
              <a:t>Microsoft Confidential</a:t>
            </a:r>
          </a:p>
        </p:txBody>
      </p:sp>
      <p:sp>
        <p:nvSpPr>
          <p:cNvPr id="7" name="Slide Number Placeholder 6">
            <a:extLst>
              <a:ext uri="{FF2B5EF4-FFF2-40B4-BE49-F238E27FC236}">
                <a16:creationId xmlns:a16="http://schemas.microsoft.com/office/drawing/2014/main" id="{19E5C381-C899-4BF9-B584-2D78074D1CB2}"/>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3504991061"/>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3650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2778434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61811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034881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03084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1968870"/>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660439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12038649"/>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24233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00354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807CBEB8-AFEF-362F-CB36-DC00FA4C6C8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824898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737057"/>
      </p:ext>
    </p:extLst>
  </p:cSld>
  <p:clrMapOvr>
    <a:masterClrMapping/>
  </p:clrMapOvr>
  <p:transition>
    <p:fade/>
  </p:transition>
  <p:hf sldNum="0"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6937573"/>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458226"/>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234983"/>
      </p:ext>
    </p:extLst>
  </p:cSld>
  <p:clrMapOvr>
    <a:masterClrMapping/>
  </p:clrMapOvr>
  <p:transition>
    <p:fade/>
  </p:transition>
  <p:hf sldNum="0"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90868" y="585788"/>
            <a:ext cx="11018520" cy="615553"/>
          </a:xfrm>
        </p:spPr>
        <p:txBody>
          <a:bodyPr/>
          <a:lstStyle>
            <a:lvl1pPr algn="ctr">
              <a:defRPr lang="en-US" sz="4000" b="1" kern="1200" cap="none" spc="-10" baseline="0" dirty="0" smtClean="0">
                <a:ln w="3175">
                  <a:noFill/>
                </a:ln>
                <a:gradFill>
                  <a:gsLst>
                    <a:gs pos="15000">
                      <a:srgbClr val="8DC8E8"/>
                    </a:gs>
                    <a:gs pos="85000">
                      <a:srgbClr val="D59ED7"/>
                    </a:gs>
                  </a:gsLst>
                  <a:lin ang="2700000" scaled="1"/>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143600771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332036194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67375288"/>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17145465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2841203"/>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35117974"/>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01181883"/>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10618686"/>
      </p:ext>
    </p:extLst>
  </p:cSld>
  <p:clrMapOvr>
    <a:masterClrMapping/>
  </p:clrMapOvr>
  <p:transition>
    <p:fade/>
  </p:transition>
  <p:hf sldNum="0"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8203681"/>
      </p:ext>
    </p:extLst>
  </p:cSld>
  <p:clrMapOvr>
    <a:masterClrMapping/>
  </p:clrMapOvr>
  <p:transition>
    <p:fade/>
  </p:transition>
  <p:hf sldNum="0"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372228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16362068"/>
      </p:ext>
    </p:extLst>
  </p:cSld>
  <p:clrMapOvr>
    <a:masterClrMapping/>
  </p:clrMapOvr>
  <p:transition>
    <p:fade/>
  </p:transition>
  <p:hf sldNum="0"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8928536"/>
      </p:ext>
    </p:extLst>
  </p:cSld>
  <p:clrMapOvr>
    <a:masterClrMapping/>
  </p:clrMapOvr>
  <p:transition>
    <p:fade/>
  </p:transition>
  <p:hf sldNum="0"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62784189"/>
      </p:ext>
    </p:extLst>
  </p:cSld>
  <p:clrMapOvr>
    <a:masterClrMapping/>
  </p:clrMapOvr>
  <p:transition>
    <p:fade/>
  </p:transition>
  <p:hf sldNum="0" hdr="0" ftr="0" dt="0"/>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2299324"/>
      </p:ext>
    </p:extLst>
  </p:cSld>
  <p:clrMapOvr>
    <a:masterClrMapping/>
  </p:clrMapOvr>
  <p:transition>
    <p:fade/>
  </p:transition>
  <p:hf sldNum="0"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7036198"/>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27748864"/>
      </p:ext>
    </p:extLst>
  </p:cSld>
  <p:clrMapOvr>
    <a:masterClrMapping/>
  </p:clrMapOvr>
  <p:transition>
    <p:fade/>
  </p:transition>
  <p:hf sldNum="0"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5145258"/>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4" name="TextBox 3">
            <a:extLst>
              <a:ext uri="{FF2B5EF4-FFF2-40B4-BE49-F238E27FC236}">
                <a16:creationId xmlns:a16="http://schemas.microsoft.com/office/drawing/2014/main" id="{6AAE597A-BE1E-6B1F-960D-A90DC95443A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4790703"/>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727877"/>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4958838"/>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print">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5904558"/>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94511042"/>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4198233"/>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4502979"/>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28236431"/>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1859790"/>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87740764"/>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076429126"/>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963599204"/>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21373191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93720896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8550009"/>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978018842"/>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6662514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08254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20776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0304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665694"/>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448151"/>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ext Box 3" descr="This is a copyright notice that should be included on the final slide.">
            <a:extLst>
              <a:ext uri="{FF2B5EF4-FFF2-40B4-BE49-F238E27FC236}">
                <a16:creationId xmlns:a16="http://schemas.microsoft.com/office/drawing/2014/main" id="{E477E949-E0D8-4538-8203-867BA736F0FC}"/>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3807006D-60BB-144E-88AB-6D7B739CC6C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4169111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60241456"/>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4-column">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C97E917-311C-BB3D-94F2-AA5130473419}"/>
              </a:ext>
            </a:extLst>
          </p:cNvPr>
          <p:cNvSpPr/>
          <p:nvPr userDrawn="1"/>
        </p:nvSpPr>
        <p:spPr bwMode="auto">
          <a:xfrm>
            <a:off x="534766" y="1532928"/>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062C8756-582A-4F6F-DE9B-CB2F82807E4D}"/>
              </a:ext>
            </a:extLst>
          </p:cNvPr>
          <p:cNvSpPr/>
          <p:nvPr userDrawn="1"/>
        </p:nvSpPr>
        <p:spPr bwMode="auto">
          <a:xfrm>
            <a:off x="2730627" y="3780280"/>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2A75024A-DC8A-96CC-3E2D-532860231693}"/>
              </a:ext>
            </a:extLst>
          </p:cNvPr>
          <p:cNvSpPr/>
          <p:nvPr userDrawn="1"/>
        </p:nvSpPr>
        <p:spPr bwMode="auto">
          <a:xfrm>
            <a:off x="5333487"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69F027A-8BBB-CB06-DAC2-355FB811D38C}"/>
              </a:ext>
            </a:extLst>
          </p:cNvPr>
          <p:cNvSpPr/>
          <p:nvPr userDrawn="1"/>
        </p:nvSpPr>
        <p:spPr bwMode="auto">
          <a:xfrm>
            <a:off x="6282037" y="1574897"/>
            <a:ext cx="500081" cy="500081"/>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01CD05F5-37AD-BBE8-73AD-24112FB38B0B}"/>
              </a:ext>
            </a:extLst>
          </p:cNvPr>
          <p:cNvSpPr/>
          <p:nvPr userDrawn="1"/>
        </p:nvSpPr>
        <p:spPr bwMode="auto">
          <a:xfrm>
            <a:off x="9060815"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CEE2DF28-679D-AE21-255B-5E387917616F}"/>
              </a:ext>
            </a:extLst>
          </p:cNvPr>
          <p:cNvSpPr/>
          <p:nvPr userDrawn="1"/>
        </p:nvSpPr>
        <p:spPr bwMode="auto">
          <a:xfrm>
            <a:off x="11234158" y="1646122"/>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774200"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360312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noChangeAspect="1"/>
          </p:cNvSpPr>
          <p:nvPr>
            <p:ph type="pic" sz="quarter" idx="25"/>
          </p:nvPr>
        </p:nvSpPr>
        <p:spPr>
          <a:xfrm>
            <a:off x="64288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noChangeAspect="1"/>
          </p:cNvSpPr>
          <p:nvPr>
            <p:ph type="pic" sz="quarter" idx="26"/>
          </p:nvPr>
        </p:nvSpPr>
        <p:spPr>
          <a:xfrm>
            <a:off x="92609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Tree>
    <p:extLst>
      <p:ext uri="{BB962C8B-B14F-4D97-AF65-F5344CB8AC3E}">
        <p14:creationId xmlns:p14="http://schemas.microsoft.com/office/powerpoint/2010/main" val="370958039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853186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Stats - 4 stats">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852210"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2288059"/>
            <a:ext cx="5273648" cy="2031325"/>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85221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592790"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59279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852210"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85221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592790"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59279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18472744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706E1277-0ECA-DB28-1918-BB1A87D2AB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70290" y="585787"/>
            <a:ext cx="7746520" cy="5683249"/>
          </a:xfrm>
          <a:prstGeom prst="roundRect">
            <a:avLst>
              <a:gd name="adj" fmla="val 1791"/>
            </a:avLst>
          </a:prstGeom>
          <a:effectLst>
            <a:outerShdw blurRad="279400" dist="38100" dir="2700000" algn="tl" rotWithShape="0">
              <a:prstClr val="black">
                <a:alpha val="67000"/>
              </a:prstClr>
            </a:outerShdw>
          </a:effectLst>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gradFill flip="none" rotWithShape="1">
                  <a:gsLst>
                    <a:gs pos="0">
                      <a:schemeClr val="accent2"/>
                    </a:gs>
                    <a:gs pos="100000">
                      <a:schemeClr val="accent3"/>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62196557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4_4-colum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90868" y="585788"/>
            <a:ext cx="11018520" cy="553998"/>
          </a:xfrm>
        </p:spPr>
        <p:txBody>
          <a:bodyPr>
            <a:spAutoFit/>
          </a:bodyPr>
          <a:lstStyle>
            <a:lvl1pPr algn="ct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3413125" y="4408341"/>
            <a:ext cx="2520950" cy="276999"/>
          </a:xfrm>
        </p:spPr>
        <p:txBody>
          <a:bodyPr/>
          <a:lstStyle>
            <a:lvl1pPr marL="0" indent="0">
              <a:buNone/>
              <a:defRPr sz="1800">
                <a:gradFill>
                  <a:gsLst>
                    <a:gs pos="0">
                      <a:schemeClr val="accent3">
                        <a:lumMod val="20000"/>
                        <a:lumOff val="80000"/>
                      </a:schemeClr>
                    </a:gs>
                    <a:gs pos="100000">
                      <a:schemeClr val="accent1"/>
                    </a:gs>
                  </a:gsLst>
                  <a:lin ang="2400000" scaled="0"/>
                </a:gra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3413125"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6224586" y="4400550"/>
            <a:ext cx="2520950" cy="276999"/>
          </a:xfrm>
        </p:spPr>
        <p:txBody>
          <a:bodyPr/>
          <a:lstStyle>
            <a:lvl1pPr marL="0" indent="0">
              <a:buNone/>
              <a:defRPr lang="en-US" sz="1800" kern="1200" spc="0" baseline="0" dirty="0">
                <a:gradFill>
                  <a:gsLst>
                    <a:gs pos="0">
                      <a:schemeClr val="accent3">
                        <a:lumMod val="20000"/>
                        <a:lumOff val="80000"/>
                      </a:schemeClr>
                    </a:gs>
                    <a:gs pos="100000">
                      <a:schemeClr val="accent1"/>
                    </a:gs>
                  </a:gsLst>
                  <a:lin ang="2400000" scaled="0"/>
                </a:gradFill>
                <a:latin typeface="+mj-lt"/>
                <a:ea typeface="+mn-ea"/>
                <a:cs typeface="Segoe UI" panose="020B05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6224586"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3585661"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6414586"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0" name="Text Placeholder 26">
            <a:extLst>
              <a:ext uri="{FF2B5EF4-FFF2-40B4-BE49-F238E27FC236}">
                <a16:creationId xmlns:a16="http://schemas.microsoft.com/office/drawing/2014/main" id="{7FC7D6E3-A9CE-DB0E-E5EB-C3DDBCED418F}"/>
              </a:ext>
            </a:extLst>
          </p:cNvPr>
          <p:cNvSpPr>
            <a:spLocks noGrp="1"/>
          </p:cNvSpPr>
          <p:nvPr>
            <p:ph type="body" sz="quarter" idx="25" hasCustomPrompt="1"/>
          </p:nvPr>
        </p:nvSpPr>
        <p:spPr>
          <a:xfrm>
            <a:off x="3413125" y="5132690"/>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
        <p:nvSpPr>
          <p:cNvPr id="21" name="Text Placeholder 26">
            <a:extLst>
              <a:ext uri="{FF2B5EF4-FFF2-40B4-BE49-F238E27FC236}">
                <a16:creationId xmlns:a16="http://schemas.microsoft.com/office/drawing/2014/main" id="{114D687C-73D8-E8BE-AFC9-33A255F5390E}"/>
              </a:ext>
            </a:extLst>
          </p:cNvPr>
          <p:cNvSpPr>
            <a:spLocks noGrp="1"/>
          </p:cNvSpPr>
          <p:nvPr>
            <p:ph type="body" sz="quarter" idx="26" hasCustomPrompt="1"/>
          </p:nvPr>
        </p:nvSpPr>
        <p:spPr>
          <a:xfrm>
            <a:off x="6224586" y="5124899"/>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Tree>
    <p:extLst>
      <p:ext uri="{BB962C8B-B14F-4D97-AF65-F5344CB8AC3E}">
        <p14:creationId xmlns:p14="http://schemas.microsoft.com/office/powerpoint/2010/main" val="138341332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Stats - 4 stat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40826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1949505"/>
            <a:ext cx="4001052" cy="2708434"/>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40826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14884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14884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40826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40826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14884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14884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1000561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Quote 02">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B4F08D4-AD89-F67E-4C53-C6B6A6684C50}"/>
              </a:ext>
            </a:extLst>
          </p:cNvPr>
          <p:cNvSpPr/>
          <p:nvPr userDrawn="1"/>
        </p:nvSpPr>
        <p:spPr bwMode="auto">
          <a:xfrm>
            <a:off x="815830" y="857707"/>
            <a:ext cx="10614355" cy="5142585"/>
          </a:xfrm>
          <a:prstGeom prst="roundRect">
            <a:avLst>
              <a:gd name="adj" fmla="val 2016"/>
            </a:avLst>
          </a:prstGeom>
          <a:solidFill>
            <a:schemeClr val="bg1">
              <a:lumMod val="90000"/>
              <a:lumOff val="10000"/>
              <a:alpha val="62000"/>
            </a:schemeClr>
          </a:solidFill>
          <a:ln w="12700">
            <a:gradFill flip="none" rotWithShape="1">
              <a:gsLst>
                <a:gs pos="0">
                  <a:schemeClr val="accent3">
                    <a:lumMod val="60000"/>
                    <a:lumOff val="40000"/>
                  </a:schemeClr>
                </a:gs>
                <a:gs pos="100000">
                  <a:schemeClr val="accent1"/>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latin typeface="Segoe UI"/>
              <a:cs typeface="Segoe UI" pitchFamily="34" charset="0"/>
            </a:endParaRPr>
          </a:p>
        </p:txBody>
      </p:sp>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377443" y="-248761"/>
            <a:ext cx="9866313" cy="349326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22700">
                <a:gradFill>
                  <a:gsLst>
                    <a:gs pos="0">
                      <a:srgbClr val="50E6FF"/>
                    </a:gs>
                    <a:gs pos="62000">
                      <a:srgbClr val="D59DFF"/>
                    </a:gs>
                  </a:gsLst>
                  <a:lin ang="2400000" scaled="0"/>
                </a:gradFill>
                <a:effectLst>
                  <a:outerShdw blurRad="50800" dist="38100" dir="2700000" algn="tl" rotWithShape="0">
                    <a:prstClr val="black">
                      <a:alpha val="68000"/>
                    </a:prstClr>
                  </a:outerShdw>
                </a:effectLst>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3248098" y="4456023"/>
            <a:ext cx="3855502" cy="276999"/>
          </a:xfrm>
        </p:spPr>
        <p:txBody>
          <a:bodyPr/>
          <a:lstStyle>
            <a:lvl1pPr marL="0" indent="0" algn="l">
              <a:spcBef>
                <a:spcPts val="0"/>
              </a:spcBef>
              <a:buNone/>
              <a:defRPr sz="1800">
                <a:gradFill>
                  <a:gsLst>
                    <a:gs pos="0">
                      <a:srgbClr val="50E6FF"/>
                    </a:gs>
                    <a:gs pos="100000">
                      <a:srgbClr val="D59DFF"/>
                    </a:gs>
                  </a:gsLst>
                  <a:lin ang="5400000" scaled="1"/>
                </a:gra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3248098" y="4753602"/>
            <a:ext cx="3855502"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82502" y="2820107"/>
            <a:ext cx="8681012" cy="984885"/>
          </a:xfrm>
        </p:spPr>
        <p:txBody>
          <a:bodyPr anchor="b"/>
          <a:lstStyle>
            <a:lvl1pPr>
              <a:defRPr sz="3200">
                <a:solidFill>
                  <a:schemeClr val="tx1"/>
                </a:solidFill>
              </a:defRPr>
            </a:lvl1pPr>
          </a:lstStyle>
          <a:p>
            <a:r>
              <a:rPr lang="en-US"/>
              <a:t>“Add quote text here Add quote text here Add quote text here Add quote text here”</a:t>
            </a:r>
          </a:p>
        </p:txBody>
      </p:sp>
      <p:sp>
        <p:nvSpPr>
          <p:cNvPr id="4" name="Picture Placeholder 9">
            <a:extLst>
              <a:ext uri="{FF2B5EF4-FFF2-40B4-BE49-F238E27FC236}">
                <a16:creationId xmlns:a16="http://schemas.microsoft.com/office/drawing/2014/main" id="{5626D962-E9CD-6F4C-B97E-76DFFBF4EEB7}"/>
              </a:ext>
            </a:extLst>
          </p:cNvPr>
          <p:cNvSpPr>
            <a:spLocks noGrp="1" noChangeAspect="1"/>
          </p:cNvSpPr>
          <p:nvPr>
            <p:ph type="pic" sz="quarter" idx="14" hasCustomPrompt="1"/>
          </p:nvPr>
        </p:nvSpPr>
        <p:spPr>
          <a:xfrm>
            <a:off x="1929747" y="4296113"/>
            <a:ext cx="999276" cy="997527"/>
          </a:xfrm>
          <a:prstGeom prst="roundRect">
            <a:avLst/>
          </a:prstGeom>
          <a:solidFill>
            <a:schemeClr val="bg1"/>
          </a:solidFill>
        </p:spPr>
        <p:txBody>
          <a:bodyPr>
            <a:noAutofit/>
          </a:bodyPr>
          <a:lstStyle>
            <a:lvl1pPr marL="0" indent="0" algn="ctr">
              <a:buNone/>
              <a:defRPr sz="1050">
                <a:solidFill>
                  <a:schemeClr val="tx1"/>
                </a:solidFill>
                <a:latin typeface="+mj-lt"/>
              </a:defRPr>
            </a:lvl1pPr>
          </a:lstStyle>
          <a:p>
            <a:r>
              <a:rPr lang="en-CA"/>
              <a:t>Click to insert picture</a:t>
            </a:r>
          </a:p>
        </p:txBody>
      </p:sp>
    </p:spTree>
    <p:extLst>
      <p:ext uri="{BB962C8B-B14F-4D97-AF65-F5344CB8AC3E}">
        <p14:creationId xmlns:p14="http://schemas.microsoft.com/office/powerpoint/2010/main" val="3493970966"/>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1_Title Slide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498DA1-81DA-4F67-E051-59BE924EF0B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4" name="MS logo gray - EMF" descr="Microsoft logo, gray text version">
            <a:extLst>
              <a:ext uri="{FF2B5EF4-FFF2-40B4-BE49-F238E27FC236}">
                <a16:creationId xmlns:a16="http://schemas.microsoft.com/office/drawing/2014/main" id="{186EE635-29E8-1DDA-9E79-B75FAD34D72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404109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Microsoft Inspire">
            <a:extLst>
              <a:ext uri="{FF2B5EF4-FFF2-40B4-BE49-F238E27FC236}">
                <a16:creationId xmlns:a16="http://schemas.microsoft.com/office/drawing/2014/main" id="{EA83291F-A022-024C-12C7-8E0A7DFE60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gray - EMF" descr="Microsoft logo, gray text version">
            <a:extLst>
              <a:ext uri="{FF2B5EF4-FFF2-40B4-BE49-F238E27FC236}">
                <a16:creationId xmlns:a16="http://schemas.microsoft.com/office/drawing/2014/main" id="{482BE3BC-846F-A6B8-378E-B1BD8DA627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Graphic 3" descr="Microsoft Inspire">
            <a:extLst>
              <a:ext uri="{FF2B5EF4-FFF2-40B4-BE49-F238E27FC236}">
                <a16:creationId xmlns:a16="http://schemas.microsoft.com/office/drawing/2014/main" id="{D76B557C-B7E7-E1E8-BC1E-8E595F596C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5079" y="2703710"/>
            <a:ext cx="3265723" cy="1644886"/>
          </a:xfrm>
          <a:prstGeom prst="rect">
            <a:avLst/>
          </a:prstGeom>
        </p:spPr>
      </p:pic>
    </p:spTree>
    <p:extLst>
      <p:ext uri="{BB962C8B-B14F-4D97-AF65-F5344CB8AC3E}">
        <p14:creationId xmlns:p14="http://schemas.microsoft.com/office/powerpoint/2010/main" val="4010107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3" name="Picture 2" descr="Microsoft Inspire">
            <a:extLst>
              <a:ext uri="{FF2B5EF4-FFF2-40B4-BE49-F238E27FC236}">
                <a16:creationId xmlns:a16="http://schemas.microsoft.com/office/drawing/2014/main" id="{29E69D01-BBA1-E2C9-6273-45622E38BB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225B6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3EA5DF46-845F-D029-B5FF-4F9EC6075E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22372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_Topic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3637" cy="5683250"/>
          </a:xfrm>
        </p:spPr>
        <p:txBody>
          <a:bodyPr anchor="ctr">
            <a:noAutofit/>
          </a:bodyPr>
          <a:lstStyle>
            <a:lvl1pPr algn="l">
              <a:defRPr sz="3600">
                <a:gradFill flip="none" rotWithShape="1">
                  <a:gsLst>
                    <a:gs pos="0">
                      <a:schemeClr val="accent3">
                        <a:lumMod val="40000"/>
                        <a:lumOff val="60000"/>
                      </a:schemeClr>
                    </a:gs>
                    <a:gs pos="100000">
                      <a:schemeClr val="accent1"/>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6964017" y="1621962"/>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6964017" y="3106415"/>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6964017" y="4522513"/>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40255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7801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71207071"/>
      </p:ext>
    </p:extLst>
  </p:cSld>
  <p:clrMapOvr>
    <a:masterClrMapping/>
  </p:clrMapOvr>
  <p:transition>
    <p:fade/>
  </p:transition>
  <p:hf sldNum="0"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A4769-9A55-AF9B-4CE4-DFA07E711CF6}"/>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CE45D9E-DBB4-B890-88D5-B4C03599EC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4AE15260-1C0B-A965-3114-D7C40D18BDF4}"/>
              </a:ext>
            </a:extLst>
          </p:cNvPr>
          <p:cNvSpPr>
            <a:spLocks noGrp="1"/>
          </p:cNvSpPr>
          <p:nvPr>
            <p:ph type="dt" sz="half" idx="10"/>
          </p:nvPr>
        </p:nvSpPr>
        <p:spPr/>
        <p:txBody>
          <a:bodyPr/>
          <a:lstStyle/>
          <a:p>
            <a:fld id="{1E351CED-465B-40B5-ADCE-957C918F227B}" type="datetimeFigureOut">
              <a:rPr lang="en-US" smtClean="0"/>
              <a:t>10/16/2024</a:t>
            </a:fld>
            <a:endParaRPr lang="en-US"/>
          </a:p>
        </p:txBody>
      </p:sp>
      <p:sp>
        <p:nvSpPr>
          <p:cNvPr id="5" name="Footer Placeholder 4">
            <a:extLst>
              <a:ext uri="{FF2B5EF4-FFF2-40B4-BE49-F238E27FC236}">
                <a16:creationId xmlns:a16="http://schemas.microsoft.com/office/drawing/2014/main" id="{19AAF4D1-0334-3F24-69B4-06C7BD7426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8BA76D-3B8B-429D-9B32-54D6A6297C0A}"/>
              </a:ext>
            </a:extLst>
          </p:cNvPr>
          <p:cNvSpPr>
            <a:spLocks noGrp="1"/>
          </p:cNvSpPr>
          <p:nvPr>
            <p:ph type="sldNum" sz="quarter" idx="12"/>
          </p:nvPr>
        </p:nvSpPr>
        <p:spPr/>
        <p:txBody>
          <a:bodyPr/>
          <a:lstStyle/>
          <a:p>
            <a:fld id="{5A33CB2A-1702-4C1D-9CC4-8D472D39F19E}" type="slidenum">
              <a:rPr lang="en-US" smtClean="0"/>
              <a:t>‹#›</a:t>
            </a:fld>
            <a:endParaRPr lang="en-US"/>
          </a:p>
        </p:txBody>
      </p:sp>
    </p:spTree>
    <p:extLst>
      <p:ext uri="{BB962C8B-B14F-4D97-AF65-F5344CB8AC3E}">
        <p14:creationId xmlns:p14="http://schemas.microsoft.com/office/powerpoint/2010/main" val="2692379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74FE235F-02A3-CF25-8716-2552AE84423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309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70325141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57671297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3919056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2803570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481937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77823"/>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394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362313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80408"/>
            <a:ext cx="9144000" cy="553998"/>
          </a:xfrm>
          <a:noFill/>
        </p:spPr>
        <p:txBody>
          <a:bodyPr lIns="0" tIns="0" rIns="0" bIns="0" anchor="b" anchorCtr="0">
            <a:spAutoFit/>
          </a:bodyPr>
          <a:lstStyle>
            <a:lvl1pPr algn="l" defTabSz="932742" rtl="0" eaLnBrk="1" latinLnBrk="0" hangingPunct="1">
              <a:lnSpc>
                <a:spcPct val="90000"/>
              </a:lnSpc>
              <a:spcBef>
                <a:spcPct val="0"/>
              </a:spcBef>
              <a:buNone/>
              <a:defRPr lang="en-US" sz="40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6171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7351720"/>
      </p:ext>
    </p:extLst>
  </p:cSld>
  <p:clrMapOvr>
    <a:masterClrMapping/>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1338434"/>
      </p:ext>
    </p:extLst>
  </p:cSld>
  <p:clrMapOvr>
    <a:overrideClrMapping bg1="dk1" tx1="lt1" bg2="dk2" tx2="lt2" accent1="accent1" accent2="accent2" accent3="accent3" accent4="accent4" accent5="accent5" accent6="accent6" hlink="hlink" folHlink="folHlink"/>
  </p:clrMapOvr>
  <p:transition>
    <p:fade/>
  </p:transition>
  <p:hf sldNum="0"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997986"/>
      </p:ext>
    </p:extLst>
  </p:cSld>
  <p:clrMapOvr>
    <a:masterClrMapping/>
  </p:clrMapOvr>
  <p:transition>
    <p:fade/>
  </p:transition>
  <p:hf sldNum="0"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3" name="Text Box 3" descr="This is a copyright notice that should be included on the final slide.">
            <a:extLst>
              <a:ext uri="{FF2B5EF4-FFF2-40B4-BE49-F238E27FC236}">
                <a16:creationId xmlns:a16="http://schemas.microsoft.com/office/drawing/2014/main" id="{E477E949-E0D8-4538-8203-867BA736F0FC}"/>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MS logo white - EMF" descr="Microsoft logo white text version">
            <a:extLst>
              <a:ext uri="{FF2B5EF4-FFF2-40B4-BE49-F238E27FC236}">
                <a16:creationId xmlns:a16="http://schemas.microsoft.com/office/drawing/2014/main" id="{3807006D-60BB-144E-88AB-6D7B739CC6C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5770499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883640120"/>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4-column">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C97E917-311C-BB3D-94F2-AA5130473419}"/>
              </a:ext>
            </a:extLst>
          </p:cNvPr>
          <p:cNvSpPr/>
          <p:nvPr userDrawn="1"/>
        </p:nvSpPr>
        <p:spPr bwMode="auto">
          <a:xfrm>
            <a:off x="534766" y="1532928"/>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6" name="Rectangle: Rounded Corners 15">
            <a:extLst>
              <a:ext uri="{FF2B5EF4-FFF2-40B4-BE49-F238E27FC236}">
                <a16:creationId xmlns:a16="http://schemas.microsoft.com/office/drawing/2014/main" id="{062C8756-582A-4F6F-DE9B-CB2F82807E4D}"/>
              </a:ext>
            </a:extLst>
          </p:cNvPr>
          <p:cNvSpPr/>
          <p:nvPr userDrawn="1"/>
        </p:nvSpPr>
        <p:spPr bwMode="auto">
          <a:xfrm>
            <a:off x="2730627" y="3780280"/>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7" name="Rectangle: Rounded Corners 16">
            <a:extLst>
              <a:ext uri="{FF2B5EF4-FFF2-40B4-BE49-F238E27FC236}">
                <a16:creationId xmlns:a16="http://schemas.microsoft.com/office/drawing/2014/main" id="{2A75024A-DC8A-96CC-3E2D-532860231693}"/>
              </a:ext>
            </a:extLst>
          </p:cNvPr>
          <p:cNvSpPr/>
          <p:nvPr userDrawn="1"/>
        </p:nvSpPr>
        <p:spPr bwMode="auto">
          <a:xfrm>
            <a:off x="5333487"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8" name="Rectangle: Rounded Corners 17">
            <a:extLst>
              <a:ext uri="{FF2B5EF4-FFF2-40B4-BE49-F238E27FC236}">
                <a16:creationId xmlns:a16="http://schemas.microsoft.com/office/drawing/2014/main" id="{A69F027A-8BBB-CB06-DAC2-355FB811D38C}"/>
              </a:ext>
            </a:extLst>
          </p:cNvPr>
          <p:cNvSpPr/>
          <p:nvPr userDrawn="1"/>
        </p:nvSpPr>
        <p:spPr bwMode="auto">
          <a:xfrm>
            <a:off x="6282037" y="1574897"/>
            <a:ext cx="500081" cy="500081"/>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19" name="Rectangle: Rounded Corners 18">
            <a:extLst>
              <a:ext uri="{FF2B5EF4-FFF2-40B4-BE49-F238E27FC236}">
                <a16:creationId xmlns:a16="http://schemas.microsoft.com/office/drawing/2014/main" id="{01CD05F5-37AD-BBE8-73AD-24112FB38B0B}"/>
              </a:ext>
            </a:extLst>
          </p:cNvPr>
          <p:cNvSpPr/>
          <p:nvPr userDrawn="1"/>
        </p:nvSpPr>
        <p:spPr bwMode="auto">
          <a:xfrm>
            <a:off x="9060815" y="3432329"/>
            <a:ext cx="665608" cy="665608"/>
          </a:xfrm>
          <a:prstGeom prst="roundRect">
            <a:avLst/>
          </a:prstGeom>
          <a:gradFill>
            <a:gsLst>
              <a:gs pos="0">
                <a:srgbClr val="50E6FF"/>
              </a:gs>
              <a:gs pos="100000">
                <a:srgbClr val="D59DFF"/>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CEE2DF28-679D-AE21-255B-5E387917616F}"/>
              </a:ext>
            </a:extLst>
          </p:cNvPr>
          <p:cNvSpPr/>
          <p:nvPr userDrawn="1"/>
        </p:nvSpPr>
        <p:spPr bwMode="auto">
          <a:xfrm>
            <a:off x="11234158" y="1646122"/>
            <a:ext cx="357632" cy="357632"/>
          </a:xfrm>
          <a:prstGeom prst="roundRect">
            <a:avLst/>
          </a:prstGeom>
          <a:solidFill>
            <a:srgbClr val="E6E6E6">
              <a:alpha val="6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CA"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solidFill>
                  <a:schemeClr val="accent2"/>
                </a:soli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bg2"/>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774200"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360312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noChangeAspect="1"/>
          </p:cNvSpPr>
          <p:nvPr>
            <p:ph type="pic" sz="quarter" idx="25"/>
          </p:nvPr>
        </p:nvSpPr>
        <p:spPr>
          <a:xfrm>
            <a:off x="64288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noChangeAspect="1"/>
          </p:cNvSpPr>
          <p:nvPr>
            <p:ph type="pic" sz="quarter" idx="26"/>
          </p:nvPr>
        </p:nvSpPr>
        <p:spPr>
          <a:xfrm>
            <a:off x="9260975"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Tree>
    <p:extLst>
      <p:ext uri="{BB962C8B-B14F-4D97-AF65-F5344CB8AC3E}">
        <p14:creationId xmlns:p14="http://schemas.microsoft.com/office/powerpoint/2010/main" val="3366175473"/>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tats - 4 stats">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852210"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2288059"/>
            <a:ext cx="5273648" cy="2031325"/>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85221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592790"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592790"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852210"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85221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592790"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592790"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826630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706E1277-0ECA-DB28-1918-BB1A87D2ABB1}"/>
              </a:ext>
            </a:extLst>
          </p:cNvPr>
          <p:cNvPicPr>
            <a:picLocks noChangeAspect="1"/>
          </p:cNvPicPr>
          <p:nvPr userDrawn="1"/>
        </p:nvPicPr>
        <p:blipFill>
          <a:blip r:embed="rId2"/>
          <a:stretch>
            <a:fillRect/>
          </a:stretch>
        </p:blipFill>
        <p:spPr>
          <a:xfrm>
            <a:off x="3770290" y="585787"/>
            <a:ext cx="7746520" cy="5683249"/>
          </a:xfrm>
          <a:prstGeom prst="roundRect">
            <a:avLst>
              <a:gd name="adj" fmla="val 1791"/>
            </a:avLst>
          </a:prstGeom>
          <a:effectLst>
            <a:outerShdw blurRad="279400" dist="38100" dir="2700000" algn="tl" rotWithShape="0">
              <a:prstClr val="black">
                <a:alpha val="67000"/>
              </a:prstClr>
            </a:outerShdw>
          </a:effectLst>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gradFill flip="none" rotWithShape="1">
                  <a:gsLst>
                    <a:gs pos="0">
                      <a:schemeClr val="accent2"/>
                    </a:gs>
                    <a:gs pos="100000">
                      <a:schemeClr val="accent3"/>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6503983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4-column">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90868" y="585788"/>
            <a:ext cx="11018520" cy="553998"/>
          </a:xfrm>
        </p:spPr>
        <p:txBody>
          <a:bodyPr>
            <a:spAutoFit/>
          </a:bodyPr>
          <a:lstStyle>
            <a:lvl1pPr algn="ctr">
              <a:defRPr>
                <a:gradFill>
                  <a:gsLst>
                    <a:gs pos="0">
                      <a:srgbClr val="50E6FF"/>
                    </a:gs>
                    <a:gs pos="100000">
                      <a:srgbClr val="D59DFF"/>
                    </a:gs>
                  </a:gsLst>
                  <a:lin ang="2400000" scaled="0"/>
                </a:gra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3413125" y="4408341"/>
            <a:ext cx="2520950" cy="276999"/>
          </a:xfrm>
        </p:spPr>
        <p:txBody>
          <a:bodyPr/>
          <a:lstStyle>
            <a:lvl1pPr marL="0" indent="0">
              <a:buNone/>
              <a:defRPr sz="1800">
                <a:gradFill>
                  <a:gsLst>
                    <a:gs pos="0">
                      <a:schemeClr val="accent3">
                        <a:lumMod val="20000"/>
                        <a:lumOff val="80000"/>
                      </a:schemeClr>
                    </a:gs>
                    <a:gs pos="100000">
                      <a:schemeClr val="accent1"/>
                    </a:gs>
                  </a:gsLst>
                  <a:lin ang="2400000" scaled="0"/>
                </a:gradFill>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3413125"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6224586" y="4400550"/>
            <a:ext cx="2520950" cy="276999"/>
          </a:xfrm>
        </p:spPr>
        <p:txBody>
          <a:bodyPr/>
          <a:lstStyle>
            <a:lvl1pPr marL="0" indent="0">
              <a:buNone/>
              <a:defRPr lang="en-US" sz="1800" kern="1200" spc="0" baseline="0" dirty="0">
                <a:gradFill>
                  <a:gsLst>
                    <a:gs pos="0">
                      <a:schemeClr val="accent3">
                        <a:lumMod val="20000"/>
                        <a:lumOff val="80000"/>
                      </a:schemeClr>
                    </a:gs>
                    <a:gs pos="100000">
                      <a:schemeClr val="accent1"/>
                    </a:gs>
                  </a:gsLst>
                  <a:lin ang="2400000" scaled="0"/>
                </a:gradFill>
                <a:latin typeface="+mj-lt"/>
                <a:ea typeface="+mn-ea"/>
                <a:cs typeface="Segoe UI" panose="020B05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6224586"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4" name="Picture Placeholder 16">
            <a:extLst>
              <a:ext uri="{FF2B5EF4-FFF2-40B4-BE49-F238E27FC236}">
                <a16:creationId xmlns:a16="http://schemas.microsoft.com/office/drawing/2014/main" id="{8644B5A4-4C62-164B-9FCA-E1A62ECDC6A0}"/>
              </a:ext>
            </a:extLst>
          </p:cNvPr>
          <p:cNvSpPr>
            <a:spLocks noGrp="1" noChangeAspect="1"/>
          </p:cNvSpPr>
          <p:nvPr>
            <p:ph type="pic" sz="quarter" idx="23"/>
          </p:nvPr>
        </p:nvSpPr>
        <p:spPr>
          <a:xfrm>
            <a:off x="3585661"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noChangeAspect="1"/>
          </p:cNvSpPr>
          <p:nvPr>
            <p:ph type="pic" sz="quarter" idx="24"/>
          </p:nvPr>
        </p:nvSpPr>
        <p:spPr>
          <a:xfrm>
            <a:off x="6414586" y="1785409"/>
            <a:ext cx="2160000" cy="2160000"/>
          </a:xfrm>
          <a:prstGeom prst="roundRect">
            <a:avLst/>
          </a:prstGeom>
          <a:solidFill>
            <a:schemeClr val="bg2">
              <a:lumMod val="25000"/>
            </a:schemeClr>
          </a:solidFill>
          <a:ln>
            <a:noFill/>
          </a:ln>
        </p:spPr>
        <p:txBody>
          <a:bodyPr>
            <a:noAutofit/>
          </a:bodyPr>
          <a:lstStyle>
            <a:lvl1pPr marL="0" indent="0" algn="ctr">
              <a:buNone/>
              <a:defRPr sz="1600">
                <a:solidFill>
                  <a:schemeClr val="bg1"/>
                </a:solidFill>
                <a:latin typeface="+mj-lt"/>
              </a:defRPr>
            </a:lvl1pPr>
          </a:lstStyle>
          <a:p>
            <a:r>
              <a:rPr lang="en-US"/>
              <a:t>Click icon to add picture</a:t>
            </a:r>
          </a:p>
        </p:txBody>
      </p:sp>
      <p:sp>
        <p:nvSpPr>
          <p:cNvPr id="20" name="Text Placeholder 26">
            <a:extLst>
              <a:ext uri="{FF2B5EF4-FFF2-40B4-BE49-F238E27FC236}">
                <a16:creationId xmlns:a16="http://schemas.microsoft.com/office/drawing/2014/main" id="{7FC7D6E3-A9CE-DB0E-E5EB-C3DDBCED418F}"/>
              </a:ext>
            </a:extLst>
          </p:cNvPr>
          <p:cNvSpPr>
            <a:spLocks noGrp="1"/>
          </p:cNvSpPr>
          <p:nvPr>
            <p:ph type="body" sz="quarter" idx="25" hasCustomPrompt="1"/>
          </p:nvPr>
        </p:nvSpPr>
        <p:spPr>
          <a:xfrm>
            <a:off x="3413125" y="5132690"/>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
        <p:nvSpPr>
          <p:cNvPr id="21" name="Text Placeholder 26">
            <a:extLst>
              <a:ext uri="{FF2B5EF4-FFF2-40B4-BE49-F238E27FC236}">
                <a16:creationId xmlns:a16="http://schemas.microsoft.com/office/drawing/2014/main" id="{114D687C-73D8-E8BE-AFC9-33A255F5390E}"/>
              </a:ext>
            </a:extLst>
          </p:cNvPr>
          <p:cNvSpPr>
            <a:spLocks noGrp="1"/>
          </p:cNvSpPr>
          <p:nvPr>
            <p:ph type="body" sz="quarter" idx="26" hasCustomPrompt="1"/>
          </p:nvPr>
        </p:nvSpPr>
        <p:spPr>
          <a:xfrm>
            <a:off x="6224586" y="5124899"/>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Info</a:t>
            </a:r>
          </a:p>
        </p:txBody>
      </p:sp>
    </p:spTree>
    <p:extLst>
      <p:ext uri="{BB962C8B-B14F-4D97-AF65-F5344CB8AC3E}">
        <p14:creationId xmlns:p14="http://schemas.microsoft.com/office/powerpoint/2010/main" val="2296708965"/>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Stats - 4 stats">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40826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 name="Text Placeholder 4">
            <a:extLst>
              <a:ext uri="{FF2B5EF4-FFF2-40B4-BE49-F238E27FC236}">
                <a16:creationId xmlns:a16="http://schemas.microsoft.com/office/drawing/2014/main" id="{C8B2DAB2-E406-C226-C7A1-F55EFB60C685}"/>
              </a:ext>
            </a:extLst>
          </p:cNvPr>
          <p:cNvSpPr>
            <a:spLocks noGrp="1"/>
          </p:cNvSpPr>
          <p:nvPr>
            <p:ph type="body" sz="quarter" idx="13" hasCustomPrompt="1"/>
          </p:nvPr>
        </p:nvSpPr>
        <p:spPr>
          <a:xfrm>
            <a:off x="584200" y="6138441"/>
            <a:ext cx="9144000" cy="169277"/>
          </a:xfrm>
          <a:noFill/>
        </p:spPr>
        <p:txBody>
          <a:bodyPr wrap="square" lIns="0" tIns="0" rIns="0" bIns="0">
            <a:spAutoFit/>
          </a:bodyPr>
          <a:lstStyle>
            <a:lvl1pPr marL="0" indent="0">
              <a:spcBef>
                <a:spcPts val="0"/>
              </a:spcBef>
              <a:buNone/>
              <a:defRPr sz="1100" spc="0" baseline="0">
                <a:solidFill>
                  <a:schemeClr val="tx1"/>
                </a:solidFill>
                <a:latin typeface="+mn-lt"/>
                <a:cs typeface="Segoe UI" panose="020B0502040204020203" pitchFamily="34" charset="0"/>
              </a:defRPr>
            </a:lvl1pPr>
          </a:lstStyle>
          <a:p>
            <a:pPr lvl="0"/>
            <a:r>
              <a:rPr lang="en-US"/>
              <a:t>Source:  Footnote</a:t>
            </a:r>
          </a:p>
        </p:txBody>
      </p:sp>
      <p:sp>
        <p:nvSpPr>
          <p:cNvPr id="9" name="Title 1"/>
          <p:cNvSpPr>
            <a:spLocks noGrp="1"/>
          </p:cNvSpPr>
          <p:nvPr userDrawn="1">
            <p:ph type="title" hasCustomPrompt="1"/>
          </p:nvPr>
        </p:nvSpPr>
        <p:spPr>
          <a:xfrm>
            <a:off x="584200" y="1949505"/>
            <a:ext cx="4001052" cy="2708434"/>
          </a:xfrm>
          <a:noFill/>
        </p:spPr>
        <p:txBody>
          <a:bodyPr vert="horz" wrap="square" lIns="0" tIns="0" rIns="0" bIns="0" rtlCol="0" anchor="ctr" anchorCtr="0">
            <a:spAutoFit/>
          </a:bodyPr>
          <a:lstStyle>
            <a:lvl1pPr>
              <a:defRPr lang="en-US" sz="4400" dirty="0">
                <a:solidFill>
                  <a:schemeClr val="tx1"/>
                </a:solidFill>
                <a:latin typeface="Segoe UI Semibold" panose="020B0702040204020203" pitchFamily="34" charset="0"/>
                <a:cs typeface="Segoe UI Semibold" panose="020B0702040204020203" pitchFamily="34" charset="0"/>
              </a:defRPr>
            </a:lvl1pPr>
          </a:lstStyle>
          <a:p>
            <a:pPr lvl="0"/>
            <a:r>
              <a:rPr lang="en-US"/>
              <a:t>Insert subheading</a:t>
            </a:r>
            <a:br>
              <a:rPr lang="en-US"/>
            </a:br>
            <a:r>
              <a:rPr lang="en-US"/>
              <a:t>related to these</a:t>
            </a:r>
            <a:br>
              <a:rPr lang="en-US"/>
            </a:br>
            <a:r>
              <a:rPr lang="en-US"/>
              <a:t>four stats</a:t>
            </a:r>
          </a:p>
        </p:txBody>
      </p:sp>
      <p:sp>
        <p:nvSpPr>
          <p:cNvPr id="21" name="Text Placeholder 4">
            <a:extLst>
              <a:ext uri="{FF2B5EF4-FFF2-40B4-BE49-F238E27FC236}">
                <a16:creationId xmlns:a16="http://schemas.microsoft.com/office/drawing/2014/main" id="{813099B2-2129-039A-2767-165420C12524}"/>
              </a:ext>
            </a:extLst>
          </p:cNvPr>
          <p:cNvSpPr>
            <a:spLocks noGrp="1"/>
          </p:cNvSpPr>
          <p:nvPr>
            <p:ph type="body" sz="quarter" idx="14" hasCustomPrompt="1"/>
          </p:nvPr>
        </p:nvSpPr>
        <p:spPr>
          <a:xfrm>
            <a:off x="640826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25%</a:t>
            </a:r>
          </a:p>
        </p:txBody>
      </p:sp>
      <p:sp>
        <p:nvSpPr>
          <p:cNvPr id="25" name="Text Placeholder 4">
            <a:extLst>
              <a:ext uri="{FF2B5EF4-FFF2-40B4-BE49-F238E27FC236}">
                <a16:creationId xmlns:a16="http://schemas.microsoft.com/office/drawing/2014/main" id="{409B7551-B84E-357E-0A6D-3D01BC60F254}"/>
              </a:ext>
            </a:extLst>
          </p:cNvPr>
          <p:cNvSpPr>
            <a:spLocks noGrp="1"/>
          </p:cNvSpPr>
          <p:nvPr>
            <p:ph type="body" sz="quarter" idx="15" hasCustomPrompt="1"/>
          </p:nvPr>
        </p:nvSpPr>
        <p:spPr>
          <a:xfrm>
            <a:off x="9148843" y="2593912"/>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6" name="Text Placeholder 4">
            <a:extLst>
              <a:ext uri="{FF2B5EF4-FFF2-40B4-BE49-F238E27FC236}">
                <a16:creationId xmlns:a16="http://schemas.microsoft.com/office/drawing/2014/main" id="{EFF06BA3-3BAA-1074-85B9-B606438A8F9E}"/>
              </a:ext>
            </a:extLst>
          </p:cNvPr>
          <p:cNvSpPr>
            <a:spLocks noGrp="1"/>
          </p:cNvSpPr>
          <p:nvPr>
            <p:ph type="body" sz="quarter" idx="16" hasCustomPrompt="1"/>
          </p:nvPr>
        </p:nvSpPr>
        <p:spPr>
          <a:xfrm>
            <a:off x="9148843" y="1497079"/>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62%</a:t>
            </a:r>
          </a:p>
        </p:txBody>
      </p:sp>
      <p:sp>
        <p:nvSpPr>
          <p:cNvPr id="27" name="Text Placeholder 4">
            <a:extLst>
              <a:ext uri="{FF2B5EF4-FFF2-40B4-BE49-F238E27FC236}">
                <a16:creationId xmlns:a16="http://schemas.microsoft.com/office/drawing/2014/main" id="{DAF3389C-C772-F76C-525F-79C9628C93DA}"/>
              </a:ext>
            </a:extLst>
          </p:cNvPr>
          <p:cNvSpPr>
            <a:spLocks noGrp="1"/>
          </p:cNvSpPr>
          <p:nvPr>
            <p:ph type="body" sz="quarter" idx="17" hasCustomPrompt="1"/>
          </p:nvPr>
        </p:nvSpPr>
        <p:spPr>
          <a:xfrm>
            <a:off x="640826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28" name="Text Placeholder 4">
            <a:extLst>
              <a:ext uri="{FF2B5EF4-FFF2-40B4-BE49-F238E27FC236}">
                <a16:creationId xmlns:a16="http://schemas.microsoft.com/office/drawing/2014/main" id="{583FBD10-C4E7-6215-D18A-853EF9F8360A}"/>
              </a:ext>
            </a:extLst>
          </p:cNvPr>
          <p:cNvSpPr>
            <a:spLocks noGrp="1"/>
          </p:cNvSpPr>
          <p:nvPr>
            <p:ph type="body" sz="quarter" idx="18" hasCustomPrompt="1"/>
          </p:nvPr>
        </p:nvSpPr>
        <p:spPr>
          <a:xfrm>
            <a:off x="640826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98%</a:t>
            </a:r>
          </a:p>
        </p:txBody>
      </p:sp>
      <p:sp>
        <p:nvSpPr>
          <p:cNvPr id="29" name="Text Placeholder 4">
            <a:extLst>
              <a:ext uri="{FF2B5EF4-FFF2-40B4-BE49-F238E27FC236}">
                <a16:creationId xmlns:a16="http://schemas.microsoft.com/office/drawing/2014/main" id="{66F2B96E-2D44-A7BB-8BF0-282A68FE1CC9}"/>
              </a:ext>
            </a:extLst>
          </p:cNvPr>
          <p:cNvSpPr>
            <a:spLocks noGrp="1"/>
          </p:cNvSpPr>
          <p:nvPr>
            <p:ph type="body" sz="quarter" idx="19" hasCustomPrompt="1"/>
          </p:nvPr>
        </p:nvSpPr>
        <p:spPr>
          <a:xfrm>
            <a:off x="9148843" y="4732298"/>
            <a:ext cx="2165914" cy="492443"/>
          </a:xfrm>
          <a:noFill/>
        </p:spPr>
        <p:txBody>
          <a:bodyPr wrap="square" lIns="0" tIns="0" rIns="0" bIns="0">
            <a:spAutoFit/>
          </a:bodyPr>
          <a:lstStyle>
            <a:lvl1pPr marL="0" indent="0">
              <a:spcBef>
                <a:spcPts val="0"/>
              </a:spcBef>
              <a:buNone/>
              <a:defRPr sz="1600" spc="0" baseline="0">
                <a:solidFill>
                  <a:schemeClr val="tx1"/>
                </a:solidFill>
                <a:latin typeface="+mj-lt"/>
                <a:cs typeface="Segoe UI" panose="020B0502040204020203" pitchFamily="34" charset="0"/>
              </a:defRPr>
            </a:lvl1p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Insert text insert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Segoe UI" panose="020B0502040204020203" pitchFamily="34" charset="0"/>
              </a:rPr>
              <a:t>text insert text</a:t>
            </a:r>
          </a:p>
        </p:txBody>
      </p:sp>
      <p:sp>
        <p:nvSpPr>
          <p:cNvPr id="30" name="Text Placeholder 4">
            <a:extLst>
              <a:ext uri="{FF2B5EF4-FFF2-40B4-BE49-F238E27FC236}">
                <a16:creationId xmlns:a16="http://schemas.microsoft.com/office/drawing/2014/main" id="{659B3A17-0571-55CB-4C15-3E3B6424B5FC}"/>
              </a:ext>
            </a:extLst>
          </p:cNvPr>
          <p:cNvSpPr>
            <a:spLocks noGrp="1"/>
          </p:cNvSpPr>
          <p:nvPr>
            <p:ph type="body" sz="quarter" idx="20" hasCustomPrompt="1"/>
          </p:nvPr>
        </p:nvSpPr>
        <p:spPr>
          <a:xfrm>
            <a:off x="9148843" y="3635465"/>
            <a:ext cx="1986441" cy="1107996"/>
          </a:xfrm>
          <a:noFill/>
        </p:spPr>
        <p:txBody>
          <a:bodyPr wrap="square" lIns="0" tIns="0" rIns="0" bIns="0">
            <a:spAutoFit/>
          </a:bodyPr>
          <a:lstStyle>
            <a:lvl1pPr marL="0" indent="0">
              <a:spcBef>
                <a:spcPts val="0"/>
              </a:spcBef>
              <a:buNone/>
              <a:defRPr sz="7200" spc="0" baseline="0">
                <a:gradFill>
                  <a:gsLst>
                    <a:gs pos="0">
                      <a:srgbClr val="50E6FF"/>
                    </a:gs>
                    <a:gs pos="100000">
                      <a:srgbClr val="D59DFF"/>
                    </a:gs>
                  </a:gsLst>
                  <a:lin ang="2400000" scaled="0"/>
                </a:gradFill>
                <a:latin typeface="+mj-lt"/>
                <a:cs typeface="Segoe UI" panose="020B0502040204020203" pitchFamily="34" charset="0"/>
              </a:defRPr>
            </a:lvl1pPr>
          </a:lstStyle>
          <a:p>
            <a:pPr lvl="0"/>
            <a:r>
              <a:rPr lang="en-US"/>
              <a:t>35%</a:t>
            </a:r>
          </a:p>
        </p:txBody>
      </p:sp>
    </p:spTree>
    <p:extLst>
      <p:ext uri="{BB962C8B-B14F-4D97-AF65-F5344CB8AC3E}">
        <p14:creationId xmlns:p14="http://schemas.microsoft.com/office/powerpoint/2010/main" val="403941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Quote 02">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9B4F08D4-AD89-F67E-4C53-C6B6A6684C50}"/>
              </a:ext>
            </a:extLst>
          </p:cNvPr>
          <p:cNvSpPr/>
          <p:nvPr userDrawn="1"/>
        </p:nvSpPr>
        <p:spPr bwMode="auto">
          <a:xfrm>
            <a:off x="815830" y="857707"/>
            <a:ext cx="10614355" cy="5142585"/>
          </a:xfrm>
          <a:prstGeom prst="roundRect">
            <a:avLst>
              <a:gd name="adj" fmla="val 2016"/>
            </a:avLst>
          </a:prstGeom>
          <a:solidFill>
            <a:schemeClr val="bg1">
              <a:lumMod val="90000"/>
              <a:lumOff val="10000"/>
              <a:alpha val="62000"/>
            </a:schemeClr>
          </a:solidFill>
          <a:ln w="12700">
            <a:gradFill flip="none" rotWithShape="1">
              <a:gsLst>
                <a:gs pos="0">
                  <a:schemeClr val="accent3">
                    <a:lumMod val="60000"/>
                    <a:lumOff val="40000"/>
                  </a:schemeClr>
                </a:gs>
                <a:gs pos="100000">
                  <a:schemeClr val="accent1"/>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000000"/>
              </a:solidFill>
              <a:latin typeface="Segoe UI"/>
              <a:cs typeface="Segoe UI" pitchFamily="34" charset="0"/>
            </a:endParaRPr>
          </a:p>
        </p:txBody>
      </p:sp>
      <p:sp>
        <p:nvSpPr>
          <p:cNvPr id="5" name="Title 1">
            <a:extLst>
              <a:ext uri="{FF2B5EF4-FFF2-40B4-BE49-F238E27FC236}">
                <a16:creationId xmlns:a16="http://schemas.microsoft.com/office/drawing/2014/main" id="{5772E02E-9408-3A16-2204-9A9ECDD48808}"/>
              </a:ext>
            </a:extLst>
          </p:cNvPr>
          <p:cNvSpPr txBox="1">
            <a:spLocks/>
          </p:cNvSpPr>
          <p:nvPr userDrawn="1"/>
        </p:nvSpPr>
        <p:spPr>
          <a:xfrm>
            <a:off x="377443" y="-248761"/>
            <a:ext cx="9866313" cy="349326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accent2"/>
                </a:solidFill>
                <a:effectLst/>
                <a:latin typeface="Segoe UI Semibold" panose="020B0702040204020203" pitchFamily="34" charset="0"/>
                <a:ea typeface="+mn-ea"/>
                <a:cs typeface="Segoe UI Semibold" panose="020B0702040204020203" pitchFamily="34" charset="0"/>
              </a:defRPr>
            </a:lvl1pPr>
          </a:lstStyle>
          <a:p>
            <a:r>
              <a:rPr lang="en-US" sz="22700">
                <a:gradFill>
                  <a:gsLst>
                    <a:gs pos="0">
                      <a:srgbClr val="50E6FF"/>
                    </a:gs>
                    <a:gs pos="62000">
                      <a:srgbClr val="D59DFF"/>
                    </a:gs>
                  </a:gsLst>
                  <a:lin ang="2400000" scaled="0"/>
                </a:gradFill>
                <a:effectLst>
                  <a:outerShdw blurRad="50800" dist="38100" dir="2700000" algn="tl" rotWithShape="0">
                    <a:prstClr val="black">
                      <a:alpha val="68000"/>
                    </a:prstClr>
                  </a:outerShdw>
                </a:effectLst>
                <a:latin typeface="Arial Black" panose="020B0A04020102020204" pitchFamily="34" charset="0"/>
              </a:rPr>
              <a:t>”</a:t>
            </a:r>
          </a:p>
        </p:txBody>
      </p:sp>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3248098" y="4456023"/>
            <a:ext cx="3855502" cy="276999"/>
          </a:xfrm>
        </p:spPr>
        <p:txBody>
          <a:bodyPr/>
          <a:lstStyle>
            <a:lvl1pPr marL="0" indent="0" algn="l">
              <a:spcBef>
                <a:spcPts val="0"/>
              </a:spcBef>
              <a:buNone/>
              <a:defRPr sz="1800">
                <a:gradFill>
                  <a:gsLst>
                    <a:gs pos="0">
                      <a:srgbClr val="50E6FF"/>
                    </a:gs>
                    <a:gs pos="100000">
                      <a:srgbClr val="D59DFF"/>
                    </a:gs>
                  </a:gsLst>
                  <a:lin ang="5400000" scaled="1"/>
                </a:gra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3248098" y="4753602"/>
            <a:ext cx="3855502" cy="430887"/>
          </a:xfrm>
        </p:spPr>
        <p:txBody>
          <a:bodyPr/>
          <a:lstStyle>
            <a:lvl1pPr marL="0" indent="0" algn="l">
              <a:spcBef>
                <a:spcPts val="0"/>
              </a:spcBef>
              <a:buNone/>
              <a:defRPr sz="1400">
                <a:solidFill>
                  <a:schemeClr val="tx1"/>
                </a:solidFill>
                <a:latin typeface="+mn-lt"/>
              </a:defRPr>
            </a:lvl1pPr>
          </a:lstStyle>
          <a:p>
            <a:pPr lvl="0"/>
            <a:r>
              <a:rPr lang="en-US"/>
              <a:t>Job title or another attribute</a:t>
            </a:r>
            <a:br>
              <a:rPr lang="en-US"/>
            </a:br>
            <a:r>
              <a:rPr lang="en-US"/>
              <a:t>Company if applicabl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82502" y="2820107"/>
            <a:ext cx="8681012" cy="984885"/>
          </a:xfrm>
        </p:spPr>
        <p:txBody>
          <a:bodyPr anchor="b"/>
          <a:lstStyle>
            <a:lvl1pPr>
              <a:defRPr sz="3200">
                <a:solidFill>
                  <a:schemeClr val="tx1"/>
                </a:solidFill>
              </a:defRPr>
            </a:lvl1pPr>
          </a:lstStyle>
          <a:p>
            <a:r>
              <a:rPr lang="en-US"/>
              <a:t>“Add quote text here Add quote text here Add quote text here Add quote text here”</a:t>
            </a:r>
          </a:p>
        </p:txBody>
      </p:sp>
      <p:sp>
        <p:nvSpPr>
          <p:cNvPr id="4" name="Picture Placeholder 9">
            <a:extLst>
              <a:ext uri="{FF2B5EF4-FFF2-40B4-BE49-F238E27FC236}">
                <a16:creationId xmlns:a16="http://schemas.microsoft.com/office/drawing/2014/main" id="{5626D962-E9CD-6F4C-B97E-76DFFBF4EEB7}"/>
              </a:ext>
            </a:extLst>
          </p:cNvPr>
          <p:cNvSpPr>
            <a:spLocks noGrp="1" noChangeAspect="1"/>
          </p:cNvSpPr>
          <p:nvPr>
            <p:ph type="pic" sz="quarter" idx="14" hasCustomPrompt="1"/>
          </p:nvPr>
        </p:nvSpPr>
        <p:spPr>
          <a:xfrm>
            <a:off x="1929747" y="4296113"/>
            <a:ext cx="999276" cy="997527"/>
          </a:xfrm>
          <a:prstGeom prst="roundRect">
            <a:avLst/>
          </a:prstGeom>
          <a:solidFill>
            <a:schemeClr val="bg1"/>
          </a:solidFill>
        </p:spPr>
        <p:txBody>
          <a:bodyPr>
            <a:noAutofit/>
          </a:bodyPr>
          <a:lstStyle>
            <a:lvl1pPr marL="0" indent="0" algn="ctr">
              <a:buNone/>
              <a:defRPr sz="1050">
                <a:solidFill>
                  <a:schemeClr val="tx1"/>
                </a:solidFill>
                <a:latin typeface="+mj-lt"/>
              </a:defRPr>
            </a:lvl1pPr>
          </a:lstStyle>
          <a:p>
            <a:r>
              <a:rPr lang="en-CA"/>
              <a:t>Click to insert picture</a:t>
            </a:r>
          </a:p>
        </p:txBody>
      </p:sp>
    </p:spTree>
    <p:extLst>
      <p:ext uri="{BB962C8B-B14F-4D97-AF65-F5344CB8AC3E}">
        <p14:creationId xmlns:p14="http://schemas.microsoft.com/office/powerpoint/2010/main" val="318231842"/>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opic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3637" cy="5683250"/>
          </a:xfrm>
        </p:spPr>
        <p:txBody>
          <a:bodyPr anchor="ctr">
            <a:noAutofit/>
          </a:bodyPr>
          <a:lstStyle>
            <a:lvl1pPr algn="l">
              <a:defRPr sz="3600">
                <a:gradFill flip="none" rotWithShape="1">
                  <a:gsLst>
                    <a:gs pos="0">
                      <a:schemeClr val="accent3">
                        <a:lumMod val="40000"/>
                        <a:lumOff val="60000"/>
                      </a:schemeClr>
                    </a:gs>
                    <a:gs pos="100000">
                      <a:schemeClr val="accent1"/>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6964017" y="1621962"/>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6964017" y="3106415"/>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6964017" y="4522513"/>
            <a:ext cx="493429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9771044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p>
            <a:r>
              <a:rPr lang="en-US"/>
              <a:t>Click to edit Master title style</a:t>
            </a:r>
          </a:p>
        </p:txBody>
      </p:sp>
      <p:sp>
        <p:nvSpPr>
          <p:cNvPr id="52" name="Text Placeholder 16">
            <a:extLst>
              <a:ext uri="{FF2B5EF4-FFF2-40B4-BE49-F238E27FC236}">
                <a16:creationId xmlns:a16="http://schemas.microsoft.com/office/drawing/2014/main" id="{D3C7E08C-EFD7-F033-6E93-0DF3136D888B}"/>
              </a:ext>
            </a:extLst>
          </p:cNvPr>
          <p:cNvSpPr>
            <a:spLocks noGrp="1"/>
          </p:cNvSpPr>
          <p:nvPr userDrawn="1">
            <p:ph type="body" sz="quarter" idx="27"/>
          </p:nvPr>
        </p:nvSpPr>
        <p:spPr>
          <a:xfrm>
            <a:off x="563566" y="1436688"/>
            <a:ext cx="10656230" cy="215444"/>
          </a:xfrm>
        </p:spPr>
        <p:txBody>
          <a:bodyPr/>
          <a:lstStyle>
            <a:lvl1pPr algn="l">
              <a:spcBef>
                <a:spcPts val="600"/>
              </a:spcBef>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5" name="Text Placeholder 16">
            <a:extLst>
              <a:ext uri="{FF2B5EF4-FFF2-40B4-BE49-F238E27FC236}">
                <a16:creationId xmlns:a16="http://schemas.microsoft.com/office/drawing/2014/main" id="{270169D1-5BC1-1CB5-36DE-48A82B8A92A5}"/>
              </a:ext>
            </a:extLst>
          </p:cNvPr>
          <p:cNvSpPr>
            <a:spLocks noGrp="1"/>
          </p:cNvSpPr>
          <p:nvPr userDrawn="1">
            <p:ph type="body" sz="quarter" idx="20"/>
          </p:nvPr>
        </p:nvSpPr>
        <p:spPr>
          <a:xfrm rot="16200000">
            <a:off x="-133658" y="3975808"/>
            <a:ext cx="1969006" cy="430887"/>
          </a:xfrm>
        </p:spPr>
        <p:txBody>
          <a:bodyPr/>
          <a:lstStyle>
            <a:lvl1pPr algn="ctr">
              <a:defRPr lang="en-US" sz="2800" b="1"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a:t>
            </a:r>
          </a:p>
        </p:txBody>
      </p:sp>
      <p:sp>
        <p:nvSpPr>
          <p:cNvPr id="46" name="Text Placeholder 16">
            <a:extLst>
              <a:ext uri="{FF2B5EF4-FFF2-40B4-BE49-F238E27FC236}">
                <a16:creationId xmlns:a16="http://schemas.microsoft.com/office/drawing/2014/main" id="{F9116E86-B1D2-9907-F707-4B5BEF9E0D9D}"/>
              </a:ext>
            </a:extLst>
          </p:cNvPr>
          <p:cNvSpPr>
            <a:spLocks noGrp="1"/>
          </p:cNvSpPr>
          <p:nvPr userDrawn="1">
            <p:ph type="body" sz="quarter" idx="21"/>
          </p:nvPr>
        </p:nvSpPr>
        <p:spPr>
          <a:xfrm>
            <a:off x="1173354"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7" name="Text Placeholder 16">
            <a:extLst>
              <a:ext uri="{FF2B5EF4-FFF2-40B4-BE49-F238E27FC236}">
                <a16:creationId xmlns:a16="http://schemas.microsoft.com/office/drawing/2014/main" id="{E7DDBB3D-50A1-F3D1-3408-9E1FBF56C393}"/>
              </a:ext>
            </a:extLst>
          </p:cNvPr>
          <p:cNvSpPr>
            <a:spLocks noGrp="1"/>
          </p:cNvSpPr>
          <p:nvPr userDrawn="1">
            <p:ph type="body" sz="quarter" idx="22"/>
          </p:nvPr>
        </p:nvSpPr>
        <p:spPr>
          <a:xfrm>
            <a:off x="2941473"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8" name="Text Placeholder 16">
            <a:extLst>
              <a:ext uri="{FF2B5EF4-FFF2-40B4-BE49-F238E27FC236}">
                <a16:creationId xmlns:a16="http://schemas.microsoft.com/office/drawing/2014/main" id="{D95B9959-0B82-4076-D032-9A768224D60D}"/>
              </a:ext>
            </a:extLst>
          </p:cNvPr>
          <p:cNvSpPr>
            <a:spLocks noGrp="1"/>
          </p:cNvSpPr>
          <p:nvPr userDrawn="1">
            <p:ph type="body" sz="quarter" idx="23"/>
          </p:nvPr>
        </p:nvSpPr>
        <p:spPr>
          <a:xfrm>
            <a:off x="4709592"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49" name="Text Placeholder 16">
            <a:extLst>
              <a:ext uri="{FF2B5EF4-FFF2-40B4-BE49-F238E27FC236}">
                <a16:creationId xmlns:a16="http://schemas.microsoft.com/office/drawing/2014/main" id="{2240FFA7-8FD8-232A-8087-660A4C81B511}"/>
              </a:ext>
            </a:extLst>
          </p:cNvPr>
          <p:cNvSpPr>
            <a:spLocks noGrp="1"/>
          </p:cNvSpPr>
          <p:nvPr userDrawn="1">
            <p:ph type="body" sz="quarter" idx="24"/>
          </p:nvPr>
        </p:nvSpPr>
        <p:spPr>
          <a:xfrm>
            <a:off x="6477711"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0" name="Text Placeholder 16">
            <a:extLst>
              <a:ext uri="{FF2B5EF4-FFF2-40B4-BE49-F238E27FC236}">
                <a16:creationId xmlns:a16="http://schemas.microsoft.com/office/drawing/2014/main" id="{8EBD5B07-4080-799D-7FCB-CC783C8690D1}"/>
              </a:ext>
            </a:extLst>
          </p:cNvPr>
          <p:cNvSpPr>
            <a:spLocks noGrp="1"/>
          </p:cNvSpPr>
          <p:nvPr userDrawn="1">
            <p:ph type="body" sz="quarter" idx="25"/>
          </p:nvPr>
        </p:nvSpPr>
        <p:spPr>
          <a:xfrm>
            <a:off x="824583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1" name="Text Placeholder 16">
            <a:extLst>
              <a:ext uri="{FF2B5EF4-FFF2-40B4-BE49-F238E27FC236}">
                <a16:creationId xmlns:a16="http://schemas.microsoft.com/office/drawing/2014/main" id="{922D108F-8C2B-5FB3-DCE4-A07B98A2A510}"/>
              </a:ext>
            </a:extLst>
          </p:cNvPr>
          <p:cNvSpPr>
            <a:spLocks noGrp="1"/>
          </p:cNvSpPr>
          <p:nvPr userDrawn="1">
            <p:ph type="body" sz="quarter" idx="26"/>
          </p:nvPr>
        </p:nvSpPr>
        <p:spPr>
          <a:xfrm>
            <a:off x="10013950" y="4560138"/>
            <a:ext cx="1789673" cy="246221"/>
          </a:xfrm>
        </p:spPr>
        <p:txBody>
          <a:bodyPr/>
          <a:lstStyle>
            <a:lvl1pPr algn="ctr">
              <a:defRPr lang="en-US" sz="1600" b="0" i="0" kern="1200" spc="0" baseline="0" dirty="0">
                <a:solidFill>
                  <a:schemeClr val="accent2">
                    <a:lumMod val="60000"/>
                    <a:lumOff val="40000"/>
                  </a:schemeClr>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4" name="Text Placeholder 16">
            <a:extLst>
              <a:ext uri="{FF2B5EF4-FFF2-40B4-BE49-F238E27FC236}">
                <a16:creationId xmlns:a16="http://schemas.microsoft.com/office/drawing/2014/main" id="{96AAE2F1-38AB-1BCF-2B95-6D87DF9DDD76}"/>
              </a:ext>
            </a:extLst>
          </p:cNvPr>
          <p:cNvSpPr>
            <a:spLocks noGrp="1"/>
          </p:cNvSpPr>
          <p:nvPr userDrawn="1">
            <p:ph type="body" sz="quarter" idx="28"/>
          </p:nvPr>
        </p:nvSpPr>
        <p:spPr>
          <a:xfrm>
            <a:off x="583238" y="6230208"/>
            <a:ext cx="5658812" cy="276999"/>
          </a:xfrm>
        </p:spPr>
        <p:txBody>
          <a:bodyPr/>
          <a:lstStyle>
            <a:lvl1pPr algn="l">
              <a:defRPr lang="en-US" sz="18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
        <p:nvSpPr>
          <p:cNvPr id="55" name="Text Placeholder 16">
            <a:extLst>
              <a:ext uri="{FF2B5EF4-FFF2-40B4-BE49-F238E27FC236}">
                <a16:creationId xmlns:a16="http://schemas.microsoft.com/office/drawing/2014/main" id="{647130FA-FF24-370C-1ABC-037E40622A61}"/>
              </a:ext>
            </a:extLst>
          </p:cNvPr>
          <p:cNvSpPr>
            <a:spLocks noGrp="1"/>
          </p:cNvSpPr>
          <p:nvPr userDrawn="1">
            <p:ph type="body" sz="quarter" idx="29"/>
          </p:nvPr>
        </p:nvSpPr>
        <p:spPr>
          <a:xfrm>
            <a:off x="8150925" y="6246941"/>
            <a:ext cx="3905116" cy="215444"/>
          </a:xfrm>
        </p:spPr>
        <p:txBody>
          <a:bodyPr/>
          <a:lstStyle>
            <a:lvl1pPr algn="l">
              <a:defRPr lang="en-US" sz="1400" b="0" i="0" kern="1200" spc="0" baseline="0" dirty="0">
                <a:solidFill>
                  <a:schemeClr val="tx1"/>
                </a:solidFill>
                <a:latin typeface="+mn-lt"/>
                <a:ea typeface="+mn-ea"/>
                <a:cs typeface="Segoe UI" panose="020B0502040204020203" pitchFamily="34" charset="0"/>
              </a:defRPr>
            </a:lvl1pPr>
            <a:lvl2pPr algn="ctr">
              <a:defRPr sz="1400">
                <a:solidFill>
                  <a:schemeClr val="accent2"/>
                </a:solidFill>
              </a:defRPr>
            </a:lvl2pPr>
            <a:lvl3pPr>
              <a:defRPr sz="1100">
                <a:solidFill>
                  <a:schemeClr val="accent2"/>
                </a:solidFill>
              </a:defRPr>
            </a:lvl3pPr>
            <a:lvl4pPr>
              <a:defRPr sz="1050">
                <a:solidFill>
                  <a:schemeClr val="accent2"/>
                </a:solidFill>
              </a:defRPr>
            </a:lvl4pPr>
            <a:lvl5pPr>
              <a:defRPr sz="1050">
                <a:solidFill>
                  <a:schemeClr val="accent2"/>
                </a:solidFill>
              </a:defRPr>
            </a:lvl5pPr>
          </a:lstStyle>
          <a:p>
            <a:pPr lvl="0"/>
            <a:r>
              <a:rPr lang="en-US"/>
              <a:t>Click to edit Master</a:t>
            </a:r>
          </a:p>
        </p:txBody>
      </p:sp>
    </p:spTree>
    <p:extLst>
      <p:ext uri="{BB962C8B-B14F-4D97-AF65-F5344CB8AC3E}">
        <p14:creationId xmlns:p14="http://schemas.microsoft.com/office/powerpoint/2010/main" val="63066487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2815795"/>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2" name="Picture 1" descr="Blurred colorful background event walk-in slide.">
            <a:extLst>
              <a:ext uri="{FF2B5EF4-FFF2-40B4-BE49-F238E27FC236}">
                <a16:creationId xmlns:a16="http://schemas.microsoft.com/office/drawing/2014/main" id="{4399D1A5-C9CE-ABF9-9162-DCBA64CF751B}"/>
              </a:ext>
            </a:extLst>
          </p:cNvPr>
          <p:cNvPicPr>
            <a:picLocks/>
          </p:cNvPicPr>
          <p:nvPr/>
        </p:nvPicPr>
        <p:blipFill rotWithShape="1">
          <a:blip r:embed="rId2" cstate="screen">
            <a:alphaModFix amt="85000"/>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a:ext>
            </a:extLst>
          </a:blip>
          <a:srcRect l="12026" t="3222" r="15224" b="5597"/>
          <a:stretch/>
        </p:blipFill>
        <p:spPr bwMode="ltGray">
          <a:xfrm rot="16200000" flipH="1">
            <a:off x="2668524" y="-2665476"/>
            <a:ext cx="6858000" cy="12188952"/>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04923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Woman with Surface Studio">
            <a:extLst>
              <a:ext uri="{FF2B5EF4-FFF2-40B4-BE49-F238E27FC236}">
                <a16:creationId xmlns:a16="http://schemas.microsoft.com/office/drawing/2014/main" id="{DF420509-B374-8484-B263-30454C98692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3984491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302431"/>
            <a:ext cx="4167887" cy="1231106"/>
          </a:xfrm>
        </p:spPr>
        <p:txBody>
          <a:bodyPr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55A1818D-42EB-ADC6-A242-215C6D8E81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4" name="Picture 3" descr="Woman with Surface Studio">
            <a:extLst>
              <a:ext uri="{FF2B5EF4-FFF2-40B4-BE49-F238E27FC236}">
                <a16:creationId xmlns:a16="http://schemas.microsoft.com/office/drawing/2014/main" id="{B9701B2D-C12B-60D0-C725-C8614FF199C7}"/>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43626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08494888"/>
      </p:ext>
    </p:extLst>
  </p:cSld>
  <p:clrMapOvr>
    <a:masterClrMapping/>
  </p:clrMapOvr>
  <p:transition>
    <p:fade/>
  </p:transition>
  <p:hf sldNum="0" hdr="0" ftr="0" dt="0"/>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424423"/>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5669924"/>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702787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723539"/>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screen">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8762700"/>
      </p:ext>
    </p:extLst>
  </p:cSld>
  <p:clrMapOvr>
    <a:masterClrMapping/>
  </p:clrMapOvr>
  <p:transition>
    <p:fade/>
  </p:transition>
  <p:hf sldNum="0"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37634217"/>
      </p:ext>
    </p:extLst>
  </p:cSld>
  <p:clrMapOvr>
    <a:masterClrMapping/>
  </p:clrMapOvr>
  <p:transition>
    <p:fade/>
  </p:transition>
  <p:hf sldNum="0"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671814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Topic List">
    <p:bg>
      <p:bgPr>
        <a:gradFill>
          <a:gsLst>
            <a:gs pos="0">
              <a:srgbClr val="120D24"/>
            </a:gs>
            <a:gs pos="100000">
              <a:srgbClr val="290A46"/>
            </a:gs>
          </a:gsLst>
          <a:lin ang="2400000" scaled="0"/>
        </a:gradFill>
        <a:effectLst/>
      </p:bgPr>
    </p:bg>
    <p:spTree>
      <p:nvGrpSpPr>
        <p:cNvPr id="1" name=""/>
        <p:cNvGrpSpPr/>
        <p:nvPr/>
      </p:nvGrpSpPr>
      <p:grpSpPr>
        <a:xfrm>
          <a:off x="0" y="0"/>
          <a:ext cx="0" cy="0"/>
          <a:chOff x="0" y="0"/>
          <a:chExt cx="0" cy="0"/>
        </a:xfrm>
      </p:grpSpPr>
      <p:pic>
        <p:nvPicPr>
          <p:cNvPr id="21" name="Picture 20" descr="Background pattern&#10;&#10;Description automatically generated">
            <a:extLst>
              <a:ext uri="{FF2B5EF4-FFF2-40B4-BE49-F238E27FC236}">
                <a16:creationId xmlns:a16="http://schemas.microsoft.com/office/drawing/2014/main" id="{706E1277-0ECA-DB28-1918-BB1A87D2ABB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70290" y="585787"/>
            <a:ext cx="7746520" cy="5683249"/>
          </a:xfrm>
          <a:prstGeom prst="roundRect">
            <a:avLst>
              <a:gd name="adj" fmla="val 1791"/>
            </a:avLst>
          </a:prstGeom>
          <a:effectLst>
            <a:outerShdw blurRad="279400" dist="38100" dir="2700000" algn="tl" rotWithShape="0">
              <a:prstClr val="black">
                <a:alpha val="67000"/>
              </a:prstClr>
            </a:outerShdw>
          </a:effectLst>
        </p:spPr>
      </p:pic>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2629499" cy="5683250"/>
          </a:xfrm>
        </p:spPr>
        <p:txBody>
          <a:bodyPr anchor="ctr">
            <a:noAutofit/>
          </a:bodyPr>
          <a:lstStyle>
            <a:lvl1pPr algn="l">
              <a:defRPr sz="3600">
                <a:gradFill flip="none" rotWithShape="1">
                  <a:gsLst>
                    <a:gs pos="0">
                      <a:schemeClr val="accent2"/>
                    </a:gs>
                    <a:gs pos="100000">
                      <a:schemeClr val="accent3"/>
                    </a:gs>
                  </a:gsLst>
                  <a:lin ang="0" scaled="1"/>
                  <a:tileRect/>
                </a:gradFill>
              </a:defRPr>
            </a:lvl1pPr>
          </a:lstStyle>
          <a:p>
            <a:r>
              <a:rPr lang="en-US"/>
              <a:t>Subheading</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282311" y="1299377"/>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 Placeholder 2">
            <a:extLst>
              <a:ext uri="{FF2B5EF4-FFF2-40B4-BE49-F238E27FC236}">
                <a16:creationId xmlns:a16="http://schemas.microsoft.com/office/drawing/2014/main" id="{3EF51500-7F31-99F7-4E08-706B57C7B9B5}"/>
              </a:ext>
            </a:extLst>
          </p:cNvPr>
          <p:cNvSpPr>
            <a:spLocks noGrp="1"/>
          </p:cNvSpPr>
          <p:nvPr>
            <p:ph type="body" sz="quarter" idx="12"/>
          </p:nvPr>
        </p:nvSpPr>
        <p:spPr>
          <a:xfrm>
            <a:off x="5282311" y="2504069"/>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5" name="Text Placeholder 2">
            <a:extLst>
              <a:ext uri="{FF2B5EF4-FFF2-40B4-BE49-F238E27FC236}">
                <a16:creationId xmlns:a16="http://schemas.microsoft.com/office/drawing/2014/main" id="{7EB930E5-4B0E-6780-ADDA-04A29A46287E}"/>
              </a:ext>
            </a:extLst>
          </p:cNvPr>
          <p:cNvSpPr>
            <a:spLocks noGrp="1"/>
          </p:cNvSpPr>
          <p:nvPr>
            <p:ph type="body" sz="quarter" idx="13"/>
          </p:nvPr>
        </p:nvSpPr>
        <p:spPr>
          <a:xfrm>
            <a:off x="5282311" y="3708761"/>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
        <p:nvSpPr>
          <p:cNvPr id="7" name="Text Placeholder 2">
            <a:extLst>
              <a:ext uri="{FF2B5EF4-FFF2-40B4-BE49-F238E27FC236}">
                <a16:creationId xmlns:a16="http://schemas.microsoft.com/office/drawing/2014/main" id="{1C192156-0C90-14D8-779B-222D86A9A401}"/>
              </a:ext>
            </a:extLst>
          </p:cNvPr>
          <p:cNvSpPr>
            <a:spLocks noGrp="1"/>
          </p:cNvSpPr>
          <p:nvPr>
            <p:ph type="body" sz="quarter" idx="14"/>
          </p:nvPr>
        </p:nvSpPr>
        <p:spPr>
          <a:xfrm>
            <a:off x="5282311" y="4913452"/>
            <a:ext cx="5651006" cy="645171"/>
          </a:xfrm>
        </p:spPr>
        <p:txBody>
          <a:bodyPr anchor="ctr">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2996634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_Title Slide 2">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498DA1-81DA-4F67-E051-59BE924EF0BD}"/>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4" name="MS logo gray - EMF" descr="Microsoft logo, gray text version">
            <a:extLst>
              <a:ext uri="{FF2B5EF4-FFF2-40B4-BE49-F238E27FC236}">
                <a16:creationId xmlns:a16="http://schemas.microsoft.com/office/drawing/2014/main" id="{186EE635-29E8-1DDA-9E79-B75FAD34D72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856734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2" name="Picture 1" descr="Microsoft Inspire">
            <a:extLst>
              <a:ext uri="{FF2B5EF4-FFF2-40B4-BE49-F238E27FC236}">
                <a16:creationId xmlns:a16="http://schemas.microsoft.com/office/drawing/2014/main" id="{EA83291F-A022-024C-12C7-8E0A7DFE60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3" name="MS logo gray - EMF" descr="Microsoft logo, gray text version">
            <a:extLst>
              <a:ext uri="{FF2B5EF4-FFF2-40B4-BE49-F238E27FC236}">
                <a16:creationId xmlns:a16="http://schemas.microsoft.com/office/drawing/2014/main" id="{482BE3BC-846F-A6B8-378E-B1BD8DA627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4" name="Graphic 3" descr="Microsoft Inspire">
            <a:extLst>
              <a:ext uri="{FF2B5EF4-FFF2-40B4-BE49-F238E27FC236}">
                <a16:creationId xmlns:a16="http://schemas.microsoft.com/office/drawing/2014/main" id="{D76B557C-B7E7-E1E8-BC1E-8E595F596C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5079" y="2703710"/>
            <a:ext cx="3265723" cy="1644886"/>
          </a:xfrm>
          <a:prstGeom prst="rect">
            <a:avLst/>
          </a:prstGeom>
        </p:spPr>
      </p:pic>
    </p:spTree>
    <p:extLst>
      <p:ext uri="{BB962C8B-B14F-4D97-AF65-F5344CB8AC3E}">
        <p14:creationId xmlns:p14="http://schemas.microsoft.com/office/powerpoint/2010/main" val="166498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3" name="Picture 2" descr="Microsoft Inspire">
            <a:extLst>
              <a:ext uri="{FF2B5EF4-FFF2-40B4-BE49-F238E27FC236}">
                <a16:creationId xmlns:a16="http://schemas.microsoft.com/office/drawing/2014/main" id="{29E69D01-BBA1-E2C9-6273-45622E38BB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225B6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8" name="MS logo gray - EMF" descr="Microsoft logo, gray text version">
            <a:extLst>
              <a:ext uri="{FF2B5EF4-FFF2-40B4-BE49-F238E27FC236}">
                <a16:creationId xmlns:a16="http://schemas.microsoft.com/office/drawing/2014/main" id="{3EA5DF46-845F-D029-B5FF-4F9EC6075ED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859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3984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9801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 middle align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spc="-20" baseline="0"/>
            </a:lvl1pPr>
          </a:lstStyle>
          <a:p>
            <a:r>
              <a:rPr lang="en-US"/>
              <a:t>Click to edit Master title style</a:t>
            </a:r>
          </a:p>
        </p:txBody>
      </p:sp>
    </p:spTree>
    <p:extLst>
      <p:ext uri="{BB962C8B-B14F-4D97-AF65-F5344CB8AC3E}">
        <p14:creationId xmlns:p14="http://schemas.microsoft.com/office/powerpoint/2010/main" val="18685244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4" name="Picture 3" descr="Microsoft Inspire">
            <a:extLst>
              <a:ext uri="{FF2B5EF4-FFF2-40B4-BE49-F238E27FC236}">
                <a16:creationId xmlns:a16="http://schemas.microsoft.com/office/drawing/2014/main" id="{D2A6EFDD-0ADD-513C-FA13-53A02B1116C4}"/>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MS logo gray - EMF" descr="Microsoft logo, gray text version">
            <a:extLst>
              <a:ext uri="{FF2B5EF4-FFF2-40B4-BE49-F238E27FC236}">
                <a16:creationId xmlns:a16="http://schemas.microsoft.com/office/drawing/2014/main" id="{AA1981F4-8EE7-BD14-6B3F-895BD36F4521}"/>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12" name="Graphic 11" descr="Microsoft Inspire">
            <a:extLst>
              <a:ext uri="{FF2B5EF4-FFF2-40B4-BE49-F238E27FC236}">
                <a16:creationId xmlns:a16="http://schemas.microsoft.com/office/drawing/2014/main" id="{8CE57691-0AF1-C412-D929-B207199365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5079" y="2703710"/>
            <a:ext cx="3265723" cy="1644886"/>
          </a:xfrm>
          <a:prstGeom prst="rect">
            <a:avLst/>
          </a:prstGeom>
        </p:spPr>
      </p:pic>
    </p:spTree>
    <p:extLst>
      <p:ext uri="{BB962C8B-B14F-4D97-AF65-F5344CB8AC3E}">
        <p14:creationId xmlns:p14="http://schemas.microsoft.com/office/powerpoint/2010/main" val="18816565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pic>
        <p:nvPicPr>
          <p:cNvPr id="3" name="Picture 2" descr="Microsoft Inspire">
            <a:extLst>
              <a:ext uri="{FF2B5EF4-FFF2-40B4-BE49-F238E27FC236}">
                <a16:creationId xmlns:a16="http://schemas.microsoft.com/office/drawing/2014/main" id="{C8E43CF1-169E-96BE-288A-B28B9903FC9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rgbClr val="225B62"/>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91F2C"/>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74A0804-9159-FA2B-7811-EA190CEC2A02}"/>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81691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44">
          <p15:clr>
            <a:srgbClr val="5ACBF0"/>
          </p15:clr>
        </p15:guide>
        <p15:guide id="4"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18223"/>
            <a:ext cx="9144000" cy="615553"/>
          </a:xfrm>
          <a:noFill/>
        </p:spPr>
        <p:txBody>
          <a:bodyPr lIns="0" tIns="0" rIns="0" bIns="0" anchor="b" anchorCtr="0">
            <a:spAutoFit/>
          </a:bodyPr>
          <a:lstStyle>
            <a:lvl1pPr>
              <a:defRPr sz="40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3B0D12AE-ADCF-1091-117F-BB03F7EC506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453457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8663313"/>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6454208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0984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322238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97342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49664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CFADFBB8-E1C1-D5AB-8154-CBA2D9EFB6B9}"/>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152781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557132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11805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53529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016956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237561"/>
      </p:ext>
    </p:extLst>
  </p:cSld>
  <p:clrMapOvr>
    <a:masterClrMapping/>
  </p:clrMapOvr>
  <p:transition>
    <p:fade/>
  </p:transition>
  <p:hf sldNum="0"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224366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957561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60813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670741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78442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950024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6257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5448711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7260464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0323488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image" Target="../media/image2.svg"/><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9" Type="http://schemas.openxmlformats.org/officeDocument/2006/relationships/slideLayout" Target="../slideLayouts/slideLayout115.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50" Type="http://schemas.openxmlformats.org/officeDocument/2006/relationships/theme" Target="../theme/theme2.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9" Type="http://schemas.openxmlformats.org/officeDocument/2006/relationships/slideLayout" Target="../slideLayouts/slideLayout105.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image" Target="../media/image2.svg"/><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8" Type="http://schemas.openxmlformats.org/officeDocument/2006/relationships/slideLayout" Target="../slideLayouts/slideLayout84.xml"/><Relationship Id="rId51" Type="http://schemas.openxmlformats.org/officeDocument/2006/relationships/image" Target="../media/image1.png"/><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1" Type="http://schemas.openxmlformats.org/officeDocument/2006/relationships/slideLayout" Target="../slideLayouts/slideLayout77.xml"/><Relationship Id="rId6" Type="http://schemas.openxmlformats.org/officeDocument/2006/relationships/slideLayout" Target="../slideLayouts/slideLayout8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51.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50" Type="http://schemas.openxmlformats.org/officeDocument/2006/relationships/slideLayout" Target="../slideLayouts/slideLayout175.xml"/><Relationship Id="rId55" Type="http://schemas.openxmlformats.org/officeDocument/2006/relationships/slideLayout" Target="../slideLayouts/slideLayout180.xml"/><Relationship Id="rId63" Type="http://schemas.openxmlformats.org/officeDocument/2006/relationships/theme" Target="../theme/theme3.xml"/><Relationship Id="rId68" Type="http://schemas.openxmlformats.org/officeDocument/2006/relationships/image" Target="../media/image2.svg"/><Relationship Id="rId7" Type="http://schemas.openxmlformats.org/officeDocument/2006/relationships/slideLayout" Target="../slideLayouts/slideLayout132.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9" Type="http://schemas.openxmlformats.org/officeDocument/2006/relationships/slideLayout" Target="../slideLayouts/slideLayout154.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3" Type="http://schemas.openxmlformats.org/officeDocument/2006/relationships/slideLayout" Target="../slideLayouts/slideLayout178.xml"/><Relationship Id="rId58" Type="http://schemas.openxmlformats.org/officeDocument/2006/relationships/slideLayout" Target="../slideLayouts/slideLayout183.xml"/><Relationship Id="rId66" Type="http://schemas.openxmlformats.org/officeDocument/2006/relationships/image" Target="../media/image59.emf"/><Relationship Id="rId5" Type="http://schemas.openxmlformats.org/officeDocument/2006/relationships/slideLayout" Target="../slideLayouts/slideLayout130.xml"/><Relationship Id="rId61" Type="http://schemas.openxmlformats.org/officeDocument/2006/relationships/slideLayout" Target="../slideLayouts/slideLayout186.xml"/><Relationship Id="rId19" Type="http://schemas.openxmlformats.org/officeDocument/2006/relationships/slideLayout" Target="../slideLayouts/slideLayout14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56" Type="http://schemas.openxmlformats.org/officeDocument/2006/relationships/slideLayout" Target="../slideLayouts/slideLayout181.xml"/><Relationship Id="rId64" Type="http://schemas.openxmlformats.org/officeDocument/2006/relationships/tags" Target="../tags/tag1.xml"/><Relationship Id="rId8" Type="http://schemas.openxmlformats.org/officeDocument/2006/relationships/slideLayout" Target="../slideLayouts/slideLayout133.xml"/><Relationship Id="rId51" Type="http://schemas.openxmlformats.org/officeDocument/2006/relationships/slideLayout" Target="../slideLayouts/slideLayout176.xml"/><Relationship Id="rId3" Type="http://schemas.openxmlformats.org/officeDocument/2006/relationships/slideLayout" Target="../slideLayouts/slideLayout128.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59" Type="http://schemas.openxmlformats.org/officeDocument/2006/relationships/slideLayout" Target="../slideLayouts/slideLayout184.xml"/><Relationship Id="rId67" Type="http://schemas.openxmlformats.org/officeDocument/2006/relationships/image" Target="../media/image1.png"/><Relationship Id="rId20" Type="http://schemas.openxmlformats.org/officeDocument/2006/relationships/slideLayout" Target="../slideLayouts/slideLayout145.xml"/><Relationship Id="rId41" Type="http://schemas.openxmlformats.org/officeDocument/2006/relationships/slideLayout" Target="../slideLayouts/slideLayout166.xml"/><Relationship Id="rId54" Type="http://schemas.openxmlformats.org/officeDocument/2006/relationships/slideLayout" Target="../slideLayouts/slideLayout179.xml"/><Relationship Id="rId62" Type="http://schemas.openxmlformats.org/officeDocument/2006/relationships/slideLayout" Target="../slideLayouts/slideLayout18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57" Type="http://schemas.openxmlformats.org/officeDocument/2006/relationships/slideLayout" Target="../slideLayouts/slideLayout182.xml"/><Relationship Id="rId10" Type="http://schemas.openxmlformats.org/officeDocument/2006/relationships/slideLayout" Target="../slideLayouts/slideLayout135.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slideLayout" Target="../slideLayouts/slideLayout177.xml"/><Relationship Id="rId60" Type="http://schemas.openxmlformats.org/officeDocument/2006/relationships/slideLayout" Target="../slideLayouts/slideLayout185.xml"/><Relationship Id="rId65" Type="http://schemas.openxmlformats.org/officeDocument/2006/relationships/oleObject" Target="../embeddings/oleObject1.bin"/><Relationship Id="rId4" Type="http://schemas.openxmlformats.org/officeDocument/2006/relationships/slideLayout" Target="../slideLayouts/slideLayout129.xml"/><Relationship Id="rId9" Type="http://schemas.openxmlformats.org/officeDocument/2006/relationships/slideLayout" Target="../slideLayouts/slideLayout134.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39" Type="http://schemas.openxmlformats.org/officeDocument/2006/relationships/slideLayout" Target="../slideLayouts/slideLayout164.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13.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slideLayout" Target="../slideLayouts/slideLayout234.xml"/><Relationship Id="rId50" Type="http://schemas.openxmlformats.org/officeDocument/2006/relationships/slideLayout" Target="../slideLayouts/slideLayout237.xml"/><Relationship Id="rId55" Type="http://schemas.openxmlformats.org/officeDocument/2006/relationships/slideLayout" Target="../slideLayouts/slideLayout242.xml"/><Relationship Id="rId63" Type="http://schemas.openxmlformats.org/officeDocument/2006/relationships/theme" Target="../theme/theme4.xml"/><Relationship Id="rId68" Type="http://schemas.openxmlformats.org/officeDocument/2006/relationships/image" Target="../media/image2.svg"/><Relationship Id="rId7" Type="http://schemas.openxmlformats.org/officeDocument/2006/relationships/slideLayout" Target="../slideLayouts/slideLayout194.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9" Type="http://schemas.openxmlformats.org/officeDocument/2006/relationships/slideLayout" Target="../slideLayouts/slideLayout216.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slideLayout" Target="../slideLayouts/slideLayout232.xml"/><Relationship Id="rId53" Type="http://schemas.openxmlformats.org/officeDocument/2006/relationships/slideLayout" Target="../slideLayouts/slideLayout240.xml"/><Relationship Id="rId58" Type="http://schemas.openxmlformats.org/officeDocument/2006/relationships/slideLayout" Target="../slideLayouts/slideLayout245.xml"/><Relationship Id="rId66" Type="http://schemas.openxmlformats.org/officeDocument/2006/relationships/image" Target="../media/image59.emf"/><Relationship Id="rId5" Type="http://schemas.openxmlformats.org/officeDocument/2006/relationships/slideLayout" Target="../slideLayouts/slideLayout192.xml"/><Relationship Id="rId61" Type="http://schemas.openxmlformats.org/officeDocument/2006/relationships/slideLayout" Target="../slideLayouts/slideLayout248.xml"/><Relationship Id="rId19" Type="http://schemas.openxmlformats.org/officeDocument/2006/relationships/slideLayout" Target="../slideLayouts/slideLayout20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slideLayout" Target="../slideLayouts/slideLayout230.xml"/><Relationship Id="rId48" Type="http://schemas.openxmlformats.org/officeDocument/2006/relationships/slideLayout" Target="../slideLayouts/slideLayout235.xml"/><Relationship Id="rId56" Type="http://schemas.openxmlformats.org/officeDocument/2006/relationships/slideLayout" Target="../slideLayouts/slideLayout243.xml"/><Relationship Id="rId64" Type="http://schemas.openxmlformats.org/officeDocument/2006/relationships/tags" Target="../tags/tag3.xml"/><Relationship Id="rId8" Type="http://schemas.openxmlformats.org/officeDocument/2006/relationships/slideLayout" Target="../slideLayouts/slideLayout195.xml"/><Relationship Id="rId51" Type="http://schemas.openxmlformats.org/officeDocument/2006/relationships/slideLayout" Target="../slideLayouts/slideLayout238.xml"/><Relationship Id="rId3" Type="http://schemas.openxmlformats.org/officeDocument/2006/relationships/slideLayout" Target="../slideLayouts/slideLayout190.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slideLayout" Target="../slideLayouts/slideLayout233.xml"/><Relationship Id="rId59" Type="http://schemas.openxmlformats.org/officeDocument/2006/relationships/slideLayout" Target="../slideLayouts/slideLayout246.xml"/><Relationship Id="rId67" Type="http://schemas.openxmlformats.org/officeDocument/2006/relationships/image" Target="../media/image1.png"/><Relationship Id="rId20" Type="http://schemas.openxmlformats.org/officeDocument/2006/relationships/slideLayout" Target="../slideLayouts/slideLayout207.xml"/><Relationship Id="rId41" Type="http://schemas.openxmlformats.org/officeDocument/2006/relationships/slideLayout" Target="../slideLayouts/slideLayout228.xml"/><Relationship Id="rId54" Type="http://schemas.openxmlformats.org/officeDocument/2006/relationships/slideLayout" Target="../slideLayouts/slideLayout241.xml"/><Relationship Id="rId62" Type="http://schemas.openxmlformats.org/officeDocument/2006/relationships/slideLayout" Target="../slideLayouts/slideLayout24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49" Type="http://schemas.openxmlformats.org/officeDocument/2006/relationships/slideLayout" Target="../slideLayouts/slideLayout236.xml"/><Relationship Id="rId57" Type="http://schemas.openxmlformats.org/officeDocument/2006/relationships/slideLayout" Target="../slideLayouts/slideLayout244.xml"/><Relationship Id="rId10" Type="http://schemas.openxmlformats.org/officeDocument/2006/relationships/slideLayout" Target="../slideLayouts/slideLayout197.xml"/><Relationship Id="rId31" Type="http://schemas.openxmlformats.org/officeDocument/2006/relationships/slideLayout" Target="../slideLayouts/slideLayout218.xml"/><Relationship Id="rId44" Type="http://schemas.openxmlformats.org/officeDocument/2006/relationships/slideLayout" Target="../slideLayouts/slideLayout231.xml"/><Relationship Id="rId52" Type="http://schemas.openxmlformats.org/officeDocument/2006/relationships/slideLayout" Target="../slideLayouts/slideLayout239.xml"/><Relationship Id="rId60" Type="http://schemas.openxmlformats.org/officeDocument/2006/relationships/slideLayout" Target="../slideLayouts/slideLayout247.xml"/><Relationship Id="rId65" Type="http://schemas.openxmlformats.org/officeDocument/2006/relationships/oleObject" Target="../embeddings/oleObject3.bin"/><Relationship Id="rId4" Type="http://schemas.openxmlformats.org/officeDocument/2006/relationships/slideLayout" Target="../slideLayouts/slideLayout191.xml"/><Relationship Id="rId9" Type="http://schemas.openxmlformats.org/officeDocument/2006/relationships/slideLayout" Target="../slideLayouts/slideLayout196.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39" Type="http://schemas.openxmlformats.org/officeDocument/2006/relationships/slideLayout" Target="../slideLayouts/slideLayout226.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275.xml"/><Relationship Id="rId21" Type="http://schemas.openxmlformats.org/officeDocument/2006/relationships/slideLayout" Target="../slideLayouts/slideLayout270.xml"/><Relationship Id="rId42" Type="http://schemas.openxmlformats.org/officeDocument/2006/relationships/slideLayout" Target="../slideLayouts/slideLayout291.xml"/><Relationship Id="rId47" Type="http://schemas.openxmlformats.org/officeDocument/2006/relationships/slideLayout" Target="../slideLayouts/slideLayout296.xml"/><Relationship Id="rId63" Type="http://schemas.openxmlformats.org/officeDocument/2006/relationships/slideLayout" Target="../slideLayouts/slideLayout312.xml"/><Relationship Id="rId68" Type="http://schemas.openxmlformats.org/officeDocument/2006/relationships/slideLayout" Target="../slideLayouts/slideLayout317.xml"/><Relationship Id="rId84" Type="http://schemas.openxmlformats.org/officeDocument/2006/relationships/image" Target="../media/image70.png"/><Relationship Id="rId16" Type="http://schemas.openxmlformats.org/officeDocument/2006/relationships/slideLayout" Target="../slideLayouts/slideLayout265.xml"/><Relationship Id="rId11" Type="http://schemas.openxmlformats.org/officeDocument/2006/relationships/slideLayout" Target="../slideLayouts/slideLayout260.xml"/><Relationship Id="rId32" Type="http://schemas.openxmlformats.org/officeDocument/2006/relationships/slideLayout" Target="../slideLayouts/slideLayout281.xml"/><Relationship Id="rId37" Type="http://schemas.openxmlformats.org/officeDocument/2006/relationships/slideLayout" Target="../slideLayouts/slideLayout286.xml"/><Relationship Id="rId53" Type="http://schemas.openxmlformats.org/officeDocument/2006/relationships/slideLayout" Target="../slideLayouts/slideLayout302.xml"/><Relationship Id="rId58" Type="http://schemas.openxmlformats.org/officeDocument/2006/relationships/slideLayout" Target="../slideLayouts/slideLayout307.xml"/><Relationship Id="rId74" Type="http://schemas.openxmlformats.org/officeDocument/2006/relationships/slideLayout" Target="../slideLayouts/slideLayout323.xml"/><Relationship Id="rId79" Type="http://schemas.openxmlformats.org/officeDocument/2006/relationships/theme" Target="../theme/theme5.xml"/><Relationship Id="rId5" Type="http://schemas.openxmlformats.org/officeDocument/2006/relationships/slideLayout" Target="../slideLayouts/slideLayout254.xml"/><Relationship Id="rId61" Type="http://schemas.openxmlformats.org/officeDocument/2006/relationships/slideLayout" Target="../slideLayouts/slideLayout310.xml"/><Relationship Id="rId82" Type="http://schemas.openxmlformats.org/officeDocument/2006/relationships/image" Target="../media/image68.emf"/><Relationship Id="rId19" Type="http://schemas.openxmlformats.org/officeDocument/2006/relationships/slideLayout" Target="../slideLayouts/slideLayout26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slideLayout" Target="../slideLayouts/slideLayout279.xml"/><Relationship Id="rId35" Type="http://schemas.openxmlformats.org/officeDocument/2006/relationships/slideLayout" Target="../slideLayouts/slideLayout284.xml"/><Relationship Id="rId43" Type="http://schemas.openxmlformats.org/officeDocument/2006/relationships/slideLayout" Target="../slideLayouts/slideLayout292.xml"/><Relationship Id="rId48" Type="http://schemas.openxmlformats.org/officeDocument/2006/relationships/slideLayout" Target="../slideLayouts/slideLayout297.xml"/><Relationship Id="rId56" Type="http://schemas.openxmlformats.org/officeDocument/2006/relationships/slideLayout" Target="../slideLayouts/slideLayout305.xml"/><Relationship Id="rId64" Type="http://schemas.openxmlformats.org/officeDocument/2006/relationships/slideLayout" Target="../slideLayouts/slideLayout313.xml"/><Relationship Id="rId69" Type="http://schemas.openxmlformats.org/officeDocument/2006/relationships/slideLayout" Target="../slideLayouts/slideLayout318.xml"/><Relationship Id="rId77" Type="http://schemas.openxmlformats.org/officeDocument/2006/relationships/slideLayout" Target="../slideLayouts/slideLayout326.xml"/><Relationship Id="rId8" Type="http://schemas.openxmlformats.org/officeDocument/2006/relationships/slideLayout" Target="../slideLayouts/slideLayout257.xml"/><Relationship Id="rId51" Type="http://schemas.openxmlformats.org/officeDocument/2006/relationships/slideLayout" Target="../slideLayouts/slideLayout300.xml"/><Relationship Id="rId72" Type="http://schemas.openxmlformats.org/officeDocument/2006/relationships/slideLayout" Target="../slideLayouts/slideLayout321.xml"/><Relationship Id="rId80" Type="http://schemas.openxmlformats.org/officeDocument/2006/relationships/tags" Target="../tags/tag5.xml"/><Relationship Id="rId3" Type="http://schemas.openxmlformats.org/officeDocument/2006/relationships/slideLayout" Target="../slideLayouts/slideLayout252.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33" Type="http://schemas.openxmlformats.org/officeDocument/2006/relationships/slideLayout" Target="../slideLayouts/slideLayout282.xml"/><Relationship Id="rId38" Type="http://schemas.openxmlformats.org/officeDocument/2006/relationships/slideLayout" Target="../slideLayouts/slideLayout287.xml"/><Relationship Id="rId46" Type="http://schemas.openxmlformats.org/officeDocument/2006/relationships/slideLayout" Target="../slideLayouts/slideLayout295.xml"/><Relationship Id="rId59" Type="http://schemas.openxmlformats.org/officeDocument/2006/relationships/slideLayout" Target="../slideLayouts/slideLayout308.xml"/><Relationship Id="rId67" Type="http://schemas.openxmlformats.org/officeDocument/2006/relationships/slideLayout" Target="../slideLayouts/slideLayout316.xml"/><Relationship Id="rId20" Type="http://schemas.openxmlformats.org/officeDocument/2006/relationships/slideLayout" Target="../slideLayouts/slideLayout269.xml"/><Relationship Id="rId41" Type="http://schemas.openxmlformats.org/officeDocument/2006/relationships/slideLayout" Target="../slideLayouts/slideLayout290.xml"/><Relationship Id="rId54" Type="http://schemas.openxmlformats.org/officeDocument/2006/relationships/slideLayout" Target="../slideLayouts/slideLayout303.xml"/><Relationship Id="rId62" Type="http://schemas.openxmlformats.org/officeDocument/2006/relationships/slideLayout" Target="../slideLayouts/slideLayout311.xml"/><Relationship Id="rId70" Type="http://schemas.openxmlformats.org/officeDocument/2006/relationships/slideLayout" Target="../slideLayouts/slideLayout319.xml"/><Relationship Id="rId75" Type="http://schemas.openxmlformats.org/officeDocument/2006/relationships/slideLayout" Target="../slideLayouts/slideLayout324.xml"/><Relationship Id="rId83" Type="http://schemas.openxmlformats.org/officeDocument/2006/relationships/image" Target="../media/image69.png"/><Relationship Id="rId1" Type="http://schemas.openxmlformats.org/officeDocument/2006/relationships/slideLayout" Target="../slideLayouts/slideLayout250.xml"/><Relationship Id="rId6" Type="http://schemas.openxmlformats.org/officeDocument/2006/relationships/slideLayout" Target="../slideLayouts/slideLayout255.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slideLayout" Target="../slideLayouts/slideLayout277.xml"/><Relationship Id="rId36" Type="http://schemas.openxmlformats.org/officeDocument/2006/relationships/slideLayout" Target="../slideLayouts/slideLayout285.xml"/><Relationship Id="rId49" Type="http://schemas.openxmlformats.org/officeDocument/2006/relationships/slideLayout" Target="../slideLayouts/slideLayout298.xml"/><Relationship Id="rId57" Type="http://schemas.openxmlformats.org/officeDocument/2006/relationships/slideLayout" Target="../slideLayouts/slideLayout306.xml"/><Relationship Id="rId10" Type="http://schemas.openxmlformats.org/officeDocument/2006/relationships/slideLayout" Target="../slideLayouts/slideLayout259.xml"/><Relationship Id="rId31" Type="http://schemas.openxmlformats.org/officeDocument/2006/relationships/slideLayout" Target="../slideLayouts/slideLayout280.xml"/><Relationship Id="rId44" Type="http://schemas.openxmlformats.org/officeDocument/2006/relationships/slideLayout" Target="../slideLayouts/slideLayout293.xml"/><Relationship Id="rId52" Type="http://schemas.openxmlformats.org/officeDocument/2006/relationships/slideLayout" Target="../slideLayouts/slideLayout301.xml"/><Relationship Id="rId60" Type="http://schemas.openxmlformats.org/officeDocument/2006/relationships/slideLayout" Target="../slideLayouts/slideLayout309.xml"/><Relationship Id="rId65" Type="http://schemas.openxmlformats.org/officeDocument/2006/relationships/slideLayout" Target="../slideLayouts/slideLayout314.xml"/><Relationship Id="rId73" Type="http://schemas.openxmlformats.org/officeDocument/2006/relationships/slideLayout" Target="../slideLayouts/slideLayout322.xml"/><Relationship Id="rId78" Type="http://schemas.openxmlformats.org/officeDocument/2006/relationships/slideLayout" Target="../slideLayouts/slideLayout327.xml"/><Relationship Id="rId81" Type="http://schemas.openxmlformats.org/officeDocument/2006/relationships/oleObject" Target="../embeddings/oleObject5.bin"/><Relationship Id="rId4" Type="http://schemas.openxmlformats.org/officeDocument/2006/relationships/slideLayout" Target="../slideLayouts/slideLayout253.xml"/><Relationship Id="rId9" Type="http://schemas.openxmlformats.org/officeDocument/2006/relationships/slideLayout" Target="../slideLayouts/slideLayout258.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39" Type="http://schemas.openxmlformats.org/officeDocument/2006/relationships/slideLayout" Target="../slideLayouts/slideLayout288.xml"/><Relationship Id="rId34" Type="http://schemas.openxmlformats.org/officeDocument/2006/relationships/slideLayout" Target="../slideLayouts/slideLayout283.xml"/><Relationship Id="rId50" Type="http://schemas.openxmlformats.org/officeDocument/2006/relationships/slideLayout" Target="../slideLayouts/slideLayout299.xml"/><Relationship Id="rId55" Type="http://schemas.openxmlformats.org/officeDocument/2006/relationships/slideLayout" Target="../slideLayouts/slideLayout304.xml"/><Relationship Id="rId76" Type="http://schemas.openxmlformats.org/officeDocument/2006/relationships/slideLayout" Target="../slideLayouts/slideLayout325.xml"/><Relationship Id="rId7" Type="http://schemas.openxmlformats.org/officeDocument/2006/relationships/slideLayout" Target="../slideLayouts/slideLayout256.xml"/><Relationship Id="rId71" Type="http://schemas.openxmlformats.org/officeDocument/2006/relationships/slideLayout" Target="../slideLayouts/slideLayout320.xml"/><Relationship Id="rId2" Type="http://schemas.openxmlformats.org/officeDocument/2006/relationships/slideLayout" Target="../slideLayouts/slideLayout251.xml"/><Relationship Id="rId29" Type="http://schemas.openxmlformats.org/officeDocument/2006/relationships/slideLayout" Target="../slideLayouts/slideLayout278.xml"/><Relationship Id="rId24" Type="http://schemas.openxmlformats.org/officeDocument/2006/relationships/slideLayout" Target="../slideLayouts/slideLayout273.xml"/><Relationship Id="rId40" Type="http://schemas.openxmlformats.org/officeDocument/2006/relationships/slideLayout" Target="../slideLayouts/slideLayout289.xml"/><Relationship Id="rId45" Type="http://schemas.openxmlformats.org/officeDocument/2006/relationships/slideLayout" Target="../slideLayouts/slideLayout294.xml"/><Relationship Id="rId66" Type="http://schemas.openxmlformats.org/officeDocument/2006/relationships/slideLayout" Target="../slideLayouts/slideLayout315.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353.xml"/><Relationship Id="rId21" Type="http://schemas.openxmlformats.org/officeDocument/2006/relationships/slideLayout" Target="../slideLayouts/slideLayout348.xml"/><Relationship Id="rId34" Type="http://schemas.openxmlformats.org/officeDocument/2006/relationships/slideLayout" Target="../slideLayouts/slideLayout361.xml"/><Relationship Id="rId42" Type="http://schemas.openxmlformats.org/officeDocument/2006/relationships/slideLayout" Target="../slideLayouts/slideLayout369.xml"/><Relationship Id="rId47" Type="http://schemas.openxmlformats.org/officeDocument/2006/relationships/slideLayout" Target="../slideLayouts/slideLayout374.xml"/><Relationship Id="rId50" Type="http://schemas.openxmlformats.org/officeDocument/2006/relationships/slideLayout" Target="../slideLayouts/slideLayout377.xml"/><Relationship Id="rId55" Type="http://schemas.openxmlformats.org/officeDocument/2006/relationships/slideLayout" Target="../slideLayouts/slideLayout382.xml"/><Relationship Id="rId63" Type="http://schemas.openxmlformats.org/officeDocument/2006/relationships/slideLayout" Target="../slideLayouts/slideLayout390.xml"/><Relationship Id="rId7" Type="http://schemas.openxmlformats.org/officeDocument/2006/relationships/slideLayout" Target="../slideLayouts/slideLayout334.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9" Type="http://schemas.openxmlformats.org/officeDocument/2006/relationships/slideLayout" Target="../slideLayouts/slideLayout356.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slideLayout" Target="../slideLayouts/slideLayout359.xml"/><Relationship Id="rId37" Type="http://schemas.openxmlformats.org/officeDocument/2006/relationships/slideLayout" Target="../slideLayouts/slideLayout364.xml"/><Relationship Id="rId40" Type="http://schemas.openxmlformats.org/officeDocument/2006/relationships/slideLayout" Target="../slideLayouts/slideLayout367.xml"/><Relationship Id="rId45" Type="http://schemas.openxmlformats.org/officeDocument/2006/relationships/slideLayout" Target="../slideLayouts/slideLayout372.xml"/><Relationship Id="rId53" Type="http://schemas.openxmlformats.org/officeDocument/2006/relationships/slideLayout" Target="../slideLayouts/slideLayout380.xml"/><Relationship Id="rId58" Type="http://schemas.openxmlformats.org/officeDocument/2006/relationships/slideLayout" Target="../slideLayouts/slideLayout385.xml"/><Relationship Id="rId66" Type="http://schemas.openxmlformats.org/officeDocument/2006/relationships/image" Target="../media/image2.svg"/><Relationship Id="rId5" Type="http://schemas.openxmlformats.org/officeDocument/2006/relationships/slideLayout" Target="../slideLayouts/slideLayout332.xml"/><Relationship Id="rId61" Type="http://schemas.openxmlformats.org/officeDocument/2006/relationships/slideLayout" Target="../slideLayouts/slideLayout388.xml"/><Relationship Id="rId19" Type="http://schemas.openxmlformats.org/officeDocument/2006/relationships/slideLayout" Target="../slideLayouts/slideLayout34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slideLayout" Target="../slideLayouts/slideLayout362.xml"/><Relationship Id="rId43" Type="http://schemas.openxmlformats.org/officeDocument/2006/relationships/slideLayout" Target="../slideLayouts/slideLayout370.xml"/><Relationship Id="rId48" Type="http://schemas.openxmlformats.org/officeDocument/2006/relationships/slideLayout" Target="../slideLayouts/slideLayout375.xml"/><Relationship Id="rId56" Type="http://schemas.openxmlformats.org/officeDocument/2006/relationships/slideLayout" Target="../slideLayouts/slideLayout383.xml"/><Relationship Id="rId64" Type="http://schemas.openxmlformats.org/officeDocument/2006/relationships/theme" Target="../theme/theme6.xml"/><Relationship Id="rId8" Type="http://schemas.openxmlformats.org/officeDocument/2006/relationships/slideLayout" Target="../slideLayouts/slideLayout335.xml"/><Relationship Id="rId51" Type="http://schemas.openxmlformats.org/officeDocument/2006/relationships/slideLayout" Target="../slideLayouts/slideLayout378.xml"/><Relationship Id="rId3" Type="http://schemas.openxmlformats.org/officeDocument/2006/relationships/slideLayout" Target="../slideLayouts/slideLayout330.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slideLayout" Target="../slideLayouts/slideLayout360.xml"/><Relationship Id="rId38" Type="http://schemas.openxmlformats.org/officeDocument/2006/relationships/slideLayout" Target="../slideLayouts/slideLayout365.xml"/><Relationship Id="rId46" Type="http://schemas.openxmlformats.org/officeDocument/2006/relationships/slideLayout" Target="../slideLayouts/slideLayout373.xml"/><Relationship Id="rId59" Type="http://schemas.openxmlformats.org/officeDocument/2006/relationships/slideLayout" Target="../slideLayouts/slideLayout386.xml"/><Relationship Id="rId20" Type="http://schemas.openxmlformats.org/officeDocument/2006/relationships/slideLayout" Target="../slideLayouts/slideLayout347.xml"/><Relationship Id="rId41" Type="http://schemas.openxmlformats.org/officeDocument/2006/relationships/slideLayout" Target="../slideLayouts/slideLayout368.xml"/><Relationship Id="rId54" Type="http://schemas.openxmlformats.org/officeDocument/2006/relationships/slideLayout" Target="../slideLayouts/slideLayout381.xml"/><Relationship Id="rId62" Type="http://schemas.openxmlformats.org/officeDocument/2006/relationships/slideLayout" Target="../slideLayouts/slideLayout38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slideLayout" Target="../slideLayouts/slideLayout363.xml"/><Relationship Id="rId49" Type="http://schemas.openxmlformats.org/officeDocument/2006/relationships/slideLayout" Target="../slideLayouts/slideLayout376.xml"/><Relationship Id="rId57" Type="http://schemas.openxmlformats.org/officeDocument/2006/relationships/slideLayout" Target="../slideLayouts/slideLayout384.xml"/><Relationship Id="rId10" Type="http://schemas.openxmlformats.org/officeDocument/2006/relationships/slideLayout" Target="../slideLayouts/slideLayout337.xml"/><Relationship Id="rId31" Type="http://schemas.openxmlformats.org/officeDocument/2006/relationships/slideLayout" Target="../slideLayouts/slideLayout358.xml"/><Relationship Id="rId44" Type="http://schemas.openxmlformats.org/officeDocument/2006/relationships/slideLayout" Target="../slideLayouts/slideLayout371.xml"/><Relationship Id="rId52" Type="http://schemas.openxmlformats.org/officeDocument/2006/relationships/slideLayout" Target="../slideLayouts/slideLayout379.xml"/><Relationship Id="rId60" Type="http://schemas.openxmlformats.org/officeDocument/2006/relationships/slideLayout" Target="../slideLayouts/slideLayout387.xml"/><Relationship Id="rId65" Type="http://schemas.openxmlformats.org/officeDocument/2006/relationships/image" Target="../media/image1.png"/><Relationship Id="rId4" Type="http://schemas.openxmlformats.org/officeDocument/2006/relationships/slideLayout" Target="../slideLayouts/slideLayout331.xml"/><Relationship Id="rId9" Type="http://schemas.openxmlformats.org/officeDocument/2006/relationships/slideLayout" Target="../slideLayouts/slideLayout336.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39" Type="http://schemas.openxmlformats.org/officeDocument/2006/relationships/slideLayout" Target="../slideLayouts/slideLayout3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78">
            <a:extLst>
              <a:ext uri="{96DAC541-7B7A-43D3-8B79-37D633B846F1}">
                <asvg:svgBlip xmlns:asvg="http://schemas.microsoft.com/office/drawing/2016/SVG/main" r:embed="rId79"/>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78">
            <a:extLst>
              <a:ext uri="{96DAC541-7B7A-43D3-8B79-37D633B846F1}">
                <asvg:svgBlip xmlns:asvg="http://schemas.microsoft.com/office/drawing/2016/SVG/main" r:embed="rId79"/>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33281422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5" r:id="rId54"/>
    <p:sldLayoutId id="2147483716" r:id="rId55"/>
    <p:sldLayoutId id="2147483717" r:id="rId56"/>
    <p:sldLayoutId id="2147483718" r:id="rId57"/>
    <p:sldLayoutId id="2147483719" r:id="rId58"/>
    <p:sldLayoutId id="2147483721" r:id="rId59"/>
    <p:sldLayoutId id="2147483723" r:id="rId60"/>
    <p:sldLayoutId id="2147483724" r:id="rId61"/>
    <p:sldLayoutId id="2147483725" r:id="rId62"/>
    <p:sldLayoutId id="2147483751" r:id="rId63"/>
    <p:sldLayoutId id="2147483754" r:id="rId64"/>
    <p:sldLayoutId id="2147483755" r:id="rId65"/>
    <p:sldLayoutId id="2147483756" r:id="rId66"/>
    <p:sldLayoutId id="2147483757" r:id="rId67"/>
    <p:sldLayoutId id="2147483758" r:id="rId68"/>
    <p:sldLayoutId id="2147483760" r:id="rId69"/>
    <p:sldLayoutId id="2147483776" r:id="rId70"/>
    <p:sldLayoutId id="2147483780" r:id="rId71"/>
    <p:sldLayoutId id="2147483781" r:id="rId72"/>
    <p:sldLayoutId id="2147483782" r:id="rId73"/>
    <p:sldLayoutId id="2147483785" r:id="rId74"/>
    <p:sldLayoutId id="2147484082" r:id="rId75"/>
    <p:sldLayoutId id="2147484148" r:id="rId7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51">
            <a:extLst>
              <a:ext uri="{96DAC541-7B7A-43D3-8B79-37D633B846F1}">
                <asvg:svgBlip xmlns:asvg="http://schemas.microsoft.com/office/drawing/2016/SVG/main" r:embed="rId52"/>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25134523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 id="2147483820" r:id="rId34"/>
    <p:sldLayoutId id="2147483821" r:id="rId35"/>
    <p:sldLayoutId id="2147483822" r:id="rId36"/>
    <p:sldLayoutId id="2147483823" r:id="rId37"/>
    <p:sldLayoutId id="2147483824" r:id="rId38"/>
    <p:sldLayoutId id="2147483825" r:id="rId39"/>
    <p:sldLayoutId id="2147483826" r:id="rId40"/>
    <p:sldLayoutId id="2147483827" r:id="rId41"/>
    <p:sldLayoutId id="2147483828" r:id="rId42"/>
    <p:sldLayoutId id="2147483829" r:id="rId43"/>
    <p:sldLayoutId id="2147483830" r:id="rId44"/>
    <p:sldLayoutId id="2147483831" r:id="rId45"/>
    <p:sldLayoutId id="2147483832" r:id="rId46"/>
    <p:sldLayoutId id="2147483833" r:id="rId47"/>
    <p:sldLayoutId id="2147483834" r:id="rId48"/>
    <p:sldLayoutId id="2147483835" r:id="rId49"/>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7F7F8"/>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64"/>
            </p:custDataLst>
            <p:extLst>
              <p:ext uri="{D42A27DB-BD31-4B8C-83A1-F6EECF244321}">
                <p14:modId xmlns:p14="http://schemas.microsoft.com/office/powerpoint/2010/main" val="15398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425" imgH="424" progId="TCLayout.ActiveDocument.1">
                  <p:embed/>
                </p:oleObj>
              </mc:Choice>
              <mc:Fallback>
                <p:oleObj name="think-cell Slide" r:id="rId65"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7">
            <a:extLst>
              <a:ext uri="{96DAC541-7B7A-43D3-8B79-37D633B846F1}">
                <asvg:svgBlip xmlns:asvg="http://schemas.microsoft.com/office/drawing/2016/SVG/main" r:embed="rId68"/>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67">
            <a:extLst>
              <a:ext uri="{96DAC541-7B7A-43D3-8B79-37D633B846F1}">
                <asvg:svgBlip xmlns:asvg="http://schemas.microsoft.com/office/drawing/2016/SVG/main" r:embed="rId6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55961074"/>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 id="2147483900" r:id="rId25"/>
    <p:sldLayoutId id="2147483901" r:id="rId26"/>
    <p:sldLayoutId id="2147483902" r:id="rId27"/>
    <p:sldLayoutId id="2147483903" r:id="rId28"/>
    <p:sldLayoutId id="2147483904" r:id="rId29"/>
    <p:sldLayoutId id="2147483905" r:id="rId30"/>
    <p:sldLayoutId id="2147483906" r:id="rId31"/>
    <p:sldLayoutId id="2147483907" r:id="rId32"/>
    <p:sldLayoutId id="2147483908" r:id="rId33"/>
    <p:sldLayoutId id="2147483909" r:id="rId34"/>
    <p:sldLayoutId id="2147483910"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 id="2147483924" r:id="rId49"/>
    <p:sldLayoutId id="2147483925" r:id="rId50"/>
    <p:sldLayoutId id="2147483926" r:id="rId51"/>
    <p:sldLayoutId id="2147483927" r:id="rId52"/>
    <p:sldLayoutId id="2147483928" r:id="rId53"/>
    <p:sldLayoutId id="2147483929" r:id="rId54"/>
    <p:sldLayoutId id="2147483930" r:id="rId55"/>
    <p:sldLayoutId id="2147483931" r:id="rId56"/>
    <p:sldLayoutId id="2147483932" r:id="rId57"/>
    <p:sldLayoutId id="2147483933" r:id="rId58"/>
    <p:sldLayoutId id="2147483934" r:id="rId59"/>
    <p:sldLayoutId id="2147483935" r:id="rId60"/>
    <p:sldLayoutId id="2147483936" r:id="rId61"/>
    <p:sldLayoutId id="2147483937"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7F7F8"/>
        </a:solidFill>
        <a:effectLst/>
      </p:bgPr>
    </p:bg>
    <p:spTree>
      <p:nvGrpSpPr>
        <p:cNvPr id="1" name=""/>
        <p:cNvGrpSpPr/>
        <p:nvPr/>
      </p:nvGrpSpPr>
      <p:grpSpPr>
        <a:xfrm>
          <a:off x="0" y="0"/>
          <a:ext cx="0" cy="0"/>
          <a:chOff x="0" y="0"/>
          <a:chExt cx="0" cy="0"/>
        </a:xfrm>
      </p:grpSpPr>
      <p:graphicFrame>
        <p:nvGraphicFramePr>
          <p:cNvPr id="145" name="Object 144" hidden="1">
            <a:extLst>
              <a:ext uri="{FF2B5EF4-FFF2-40B4-BE49-F238E27FC236}">
                <a16:creationId xmlns:a16="http://schemas.microsoft.com/office/drawing/2014/main" id="{FFB19668-BACF-0E5E-CEA5-D6D7D007E266}"/>
              </a:ext>
            </a:extLst>
          </p:cNvPr>
          <p:cNvGraphicFramePr>
            <a:graphicFrameLocks noChangeAspect="1"/>
          </p:cNvGraphicFramePr>
          <p:nvPr userDrawn="1">
            <p:custDataLst>
              <p:tags r:id="rId6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425" imgH="424" progId="TCLayout.ActiveDocument.1">
                  <p:embed/>
                </p:oleObj>
              </mc:Choice>
              <mc:Fallback>
                <p:oleObj name="think-cell Slide" r:id="rId65" imgW="425" imgH="424" progId="TCLayout.ActiveDocument.1">
                  <p:embed/>
                  <p:pic>
                    <p:nvPicPr>
                      <p:cNvPr id="145" name="Object 144" hidden="1">
                        <a:extLst>
                          <a:ext uri="{FF2B5EF4-FFF2-40B4-BE49-F238E27FC236}">
                            <a16:creationId xmlns:a16="http://schemas.microsoft.com/office/drawing/2014/main" id="{FFB19668-BACF-0E5E-CEA5-D6D7D007E266}"/>
                          </a:ext>
                        </a:extLst>
                      </p:cNvPr>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7">
            <a:extLst>
              <a:ext uri="{96DAC541-7B7A-43D3-8B79-37D633B846F1}">
                <asvg:svgBlip xmlns:asvg="http://schemas.microsoft.com/office/drawing/2016/SVG/main" r:embed="rId68"/>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67">
            <a:extLst>
              <a:ext uri="{96DAC541-7B7A-43D3-8B79-37D633B846F1}">
                <asvg:svgBlip xmlns:asvg="http://schemas.microsoft.com/office/drawing/2016/SVG/main" r:embed="rId68"/>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56322041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 id="2147483974"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987" r:id="rId49"/>
    <p:sldLayoutId id="2147483988" r:id="rId50"/>
    <p:sldLayoutId id="2147483989" r:id="rId51"/>
    <p:sldLayoutId id="2147483990" r:id="rId52"/>
    <p:sldLayoutId id="2147483991" r:id="rId53"/>
    <p:sldLayoutId id="2147483992" r:id="rId54"/>
    <p:sldLayoutId id="2147483993" r:id="rId55"/>
    <p:sldLayoutId id="2147483994" r:id="rId56"/>
    <p:sldLayoutId id="2147483995" r:id="rId57"/>
    <p:sldLayoutId id="2147483996" r:id="rId58"/>
    <p:sldLayoutId id="2147483997" r:id="rId59"/>
    <p:sldLayoutId id="2147483998" r:id="rId60"/>
    <p:sldLayoutId id="2147483999" r:id="rId61"/>
    <p:sldLayoutId id="2147484000" r:id="rId6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rgbClr val="454142"/>
          </a:solidFill>
          <a:effectLst/>
          <a:latin typeface="+mj-lt"/>
          <a:ea typeface="+mn-ea"/>
          <a:cs typeface="Segoe Sans Display Semibold" pitchFamily="2"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rgbClr val="454142"/>
          </a:solidFill>
          <a:latin typeface="+mn-lt"/>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454142"/>
          </a:solidFill>
          <a:latin typeface="+mn-lt"/>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454142"/>
          </a:solidFill>
          <a:latin typeface="+mn-lt"/>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454142"/>
          </a:solidFill>
          <a:latin typeface="+mn-lt"/>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68">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67B2A4-54A1-8BD8-C833-A33BFF58B5D2}"/>
              </a:ext>
            </a:extLst>
          </p:cNvPr>
          <p:cNvGraphicFramePr>
            <a:graphicFrameLocks noChangeAspect="1"/>
          </p:cNvGraphicFramePr>
          <p:nvPr userDrawn="1">
            <p:custDataLst>
              <p:tags r:id="rId80"/>
            </p:custDataLst>
            <p:extLst>
              <p:ext uri="{D42A27DB-BD31-4B8C-83A1-F6EECF244321}">
                <p14:modId xmlns:p14="http://schemas.microsoft.com/office/powerpoint/2010/main" val="2939648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1" imgW="532" imgH="533" progId="TCLayout.ActiveDocument.1">
                  <p:embed/>
                </p:oleObj>
              </mc:Choice>
              <mc:Fallback>
                <p:oleObj name="think-cell Slide" r:id="rId81" imgW="532" imgH="533" progId="TCLayout.ActiveDocument.1">
                  <p:embed/>
                  <p:pic>
                    <p:nvPicPr>
                      <p:cNvPr id="6" name="Object 5" hidden="1">
                        <a:extLst>
                          <a:ext uri="{FF2B5EF4-FFF2-40B4-BE49-F238E27FC236}">
                            <a16:creationId xmlns:a16="http://schemas.microsoft.com/office/drawing/2014/main" id="{DF67B2A4-54A1-8BD8-C833-A33BFF58B5D2}"/>
                          </a:ext>
                        </a:extLst>
                      </p:cNvPr>
                      <p:cNvPicPr/>
                      <p:nvPr/>
                    </p:nvPicPr>
                    <p:blipFill>
                      <a:blip r:embed="rId82"/>
                      <a:stretch>
                        <a:fillRect/>
                      </a:stretch>
                    </p:blipFill>
                    <p:spPr>
                      <a:xfrm>
                        <a:off x="1588" y="1588"/>
                        <a:ext cx="1588" cy="1588"/>
                      </a:xfrm>
                      <a:prstGeom prst="rect">
                        <a:avLst/>
                      </a:prstGeom>
                    </p:spPr>
                  </p:pic>
                </p:oleObj>
              </mc:Fallback>
            </mc:AlternateContent>
          </a:graphicData>
        </a:graphic>
      </p:graphicFrame>
      <p:grpSp>
        <p:nvGrpSpPr>
          <p:cNvPr id="47" name="GRID">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51" name="Picture 50" descr="Microsoft Palette">
            <a:extLst>
              <a:ext uri="{FF2B5EF4-FFF2-40B4-BE49-F238E27FC236}">
                <a16:creationId xmlns:a16="http://schemas.microsoft.com/office/drawing/2014/main" id="{467FCB69-E8FC-43B1-9D20-24836226607C}"/>
              </a:ext>
            </a:extLst>
          </p:cNvPr>
          <p:cNvPicPr>
            <a:picLocks noChangeAspect="1"/>
          </p:cNvPicPr>
          <p:nvPr userDrawn="1"/>
        </p:nvPicPr>
        <p:blipFill>
          <a:blip r:embed="rId83" cstate="screen">
            <a:extLst>
              <a:ext uri="{28A0092B-C50C-407E-A947-70E740481C1C}">
                <a14:useLocalDpi xmlns:a14="http://schemas.microsoft.com/office/drawing/2010/main"/>
              </a:ext>
            </a:extLst>
          </a:blip>
          <a:stretch>
            <a:fillRect/>
          </a:stretch>
        </p:blipFill>
        <p:spPr>
          <a:xfrm>
            <a:off x="12330030" y="-72426"/>
            <a:ext cx="1227865" cy="6949440"/>
          </a:xfrm>
          <a:prstGeom prst="rect">
            <a:avLst/>
          </a:prstGeom>
        </p:spPr>
      </p:pic>
      <p:sp>
        <p:nvSpPr>
          <p:cNvPr id="48" name="Rectangle 47">
            <a:extLst>
              <a:ext uri="{FF2B5EF4-FFF2-40B4-BE49-F238E27FC236}">
                <a16:creationId xmlns:a16="http://schemas.microsoft.com/office/drawing/2014/main" id="{681B1DB3-3593-F0A2-F17C-3F35819898E3}"/>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0D0D0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grpSp>
        <p:nvGrpSpPr>
          <p:cNvPr id="3" name="Group 2">
            <a:extLst>
              <a:ext uri="{FF2B5EF4-FFF2-40B4-BE49-F238E27FC236}">
                <a16:creationId xmlns:a16="http://schemas.microsoft.com/office/drawing/2014/main" id="{4E19BC95-8FCA-9248-D4E0-BA2D0C8F7A14}"/>
              </a:ext>
            </a:extLst>
          </p:cNvPr>
          <p:cNvGrpSpPr/>
          <p:nvPr userDrawn="1"/>
        </p:nvGrpSpPr>
        <p:grpSpPr>
          <a:xfrm>
            <a:off x="-3" y="6081347"/>
            <a:ext cx="12192001" cy="776653"/>
            <a:chOff x="-3" y="6081347"/>
            <a:chExt cx="12192001" cy="776653"/>
          </a:xfrm>
        </p:grpSpPr>
        <p:sp>
          <p:nvSpPr>
            <p:cNvPr id="35" name="Rectangle 34">
              <a:extLst>
                <a:ext uri="{FF2B5EF4-FFF2-40B4-BE49-F238E27FC236}">
                  <a16:creationId xmlns:a16="http://schemas.microsoft.com/office/drawing/2014/main" id="{E42E4AD1-6A19-F37C-33D2-CF24A0AA6792}"/>
                </a:ext>
                <a:ext uri="{C183D7F6-B498-43B3-948B-1728B52AA6E4}">
                  <adec:decorative xmlns:adec="http://schemas.microsoft.com/office/drawing/2017/decorative" val="1"/>
                </a:ext>
              </a:extLst>
            </p:cNvPr>
            <p:cNvSpPr>
              <a:spLocks/>
            </p:cNvSpPr>
            <p:nvPr/>
          </p:nvSpPr>
          <p:spPr bwMode="auto">
            <a:xfrm>
              <a:off x="0" y="6081347"/>
              <a:ext cx="12188952" cy="776653"/>
            </a:xfrm>
            <a:prstGeom prst="rect">
              <a:avLst/>
            </a:prstGeom>
            <a:gradFill>
              <a:gsLst>
                <a:gs pos="0">
                  <a:schemeClr val="accent1">
                    <a:lumMod val="60000"/>
                    <a:lumOff val="40000"/>
                    <a:alpha val="25000"/>
                  </a:schemeClr>
                </a:gs>
                <a:gs pos="78000">
                  <a:srgbClr val="50E6FF">
                    <a:alpha val="0"/>
                  </a:srgbClr>
                </a:gs>
              </a:gsLst>
              <a:lin ang="16200000" scaled="1"/>
            </a:gradFill>
            <a:ln w="12700" cap="flat" cmpd="sng" algn="ctr">
              <a:noFill/>
              <a:prstDash val="solid"/>
              <a:headEnd type="none" w="med" len="med"/>
              <a:tailEnd type="none" w="med" len="med"/>
            </a:ln>
            <a:effectLst/>
          </p:spPr>
          <p:txBody>
            <a:bodyPr rot="0" spcFirstLastPara="0" vertOverflow="overflow" horzOverflow="overflow" vert="horz" wrap="square" lIns="88900" tIns="91440" rIns="88900" bIns="91440" numCol="1" spcCol="0" rtlCol="0" fromWordArt="0" anchor="ctr" anchorCtr="0" forceAA="0" compatLnSpc="1">
              <a:prstTxWarp prst="textNoShape">
                <a:avLst/>
              </a:prstTxWarp>
              <a:noAutofit/>
            </a:bodyPr>
            <a:lstStyle/>
            <a:p>
              <a:pPr defTabSz="913874">
                <a:spcAft>
                  <a:spcPts val="400"/>
                </a:spcAft>
              </a:pPr>
              <a:endParaRPr lang="en-US" kern="0">
                <a:ln w="3175">
                  <a:noFill/>
                </a:ln>
                <a:solidFill>
                  <a:srgbClr val="FFFFFF"/>
                </a:solidFill>
                <a:latin typeface="Segoe UI Semibold"/>
                <a:cs typeface="Segoe UI" pitchFamily="34" charset="0"/>
              </a:endParaRPr>
            </a:p>
          </p:txBody>
        </p:sp>
        <p:pic>
          <p:nvPicPr>
            <p:cNvPr id="36" name="Picture 35" descr="See the source image">
              <a:extLst>
                <a:ext uri="{FF2B5EF4-FFF2-40B4-BE49-F238E27FC236}">
                  <a16:creationId xmlns:a16="http://schemas.microsoft.com/office/drawing/2014/main" id="{63179B06-4AA1-7A46-8004-34B096F214CA}"/>
                </a:ext>
              </a:extLst>
            </p:cNvPr>
            <p:cNvPicPr>
              <a:picLocks noChangeAspect="1" noChangeArrowheads="1"/>
            </p:cNvPicPr>
            <p:nvPr userDrawn="1"/>
          </p:nvPicPr>
          <p:blipFill rotWithShape="1">
            <a:blip r:embed="rId84"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rot="10800000">
              <a:off x="-3" y="6081348"/>
              <a:ext cx="12192001" cy="776652"/>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oter Placeholder 3">
            <a:extLst>
              <a:ext uri="{FF2B5EF4-FFF2-40B4-BE49-F238E27FC236}">
                <a16:creationId xmlns:a16="http://schemas.microsoft.com/office/drawing/2014/main" id="{6ACDB2B3-9CBA-3091-D204-98B4C32550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bg1"/>
                </a:solidFill>
              </a:defRPr>
            </a:lvl1pPr>
          </a:lstStyle>
          <a:p>
            <a:r>
              <a:rPr lang="en-US" dirty="0"/>
              <a:t>Microsoft Confidential</a:t>
            </a:r>
          </a:p>
        </p:txBody>
      </p:sp>
    </p:spTree>
    <p:extLst>
      <p:ext uri="{BB962C8B-B14F-4D97-AF65-F5344CB8AC3E}">
        <p14:creationId xmlns:p14="http://schemas.microsoft.com/office/powerpoint/2010/main" val="2923807002"/>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 id="2147484023" r:id="rId22"/>
    <p:sldLayoutId id="2147484024" r:id="rId23"/>
    <p:sldLayoutId id="2147484025" r:id="rId24"/>
    <p:sldLayoutId id="2147484026" r:id="rId25"/>
    <p:sldLayoutId id="2147484027" r:id="rId26"/>
    <p:sldLayoutId id="2147484028" r:id="rId27"/>
    <p:sldLayoutId id="2147484029" r:id="rId28"/>
    <p:sldLayoutId id="2147484030" r:id="rId29"/>
    <p:sldLayoutId id="2147484031" r:id="rId30"/>
    <p:sldLayoutId id="2147484032" r:id="rId31"/>
    <p:sldLayoutId id="2147484033" r:id="rId32"/>
    <p:sldLayoutId id="2147484034" r:id="rId33"/>
    <p:sldLayoutId id="2147484035" r:id="rId34"/>
    <p:sldLayoutId id="2147484036" r:id="rId35"/>
    <p:sldLayoutId id="2147484037" r:id="rId36"/>
    <p:sldLayoutId id="2147484038" r:id="rId37"/>
    <p:sldLayoutId id="2147484039" r:id="rId38"/>
    <p:sldLayoutId id="2147484040" r:id="rId39"/>
    <p:sldLayoutId id="2147484041" r:id="rId40"/>
    <p:sldLayoutId id="2147484042" r:id="rId41"/>
    <p:sldLayoutId id="2147484043" r:id="rId42"/>
    <p:sldLayoutId id="2147484044" r:id="rId43"/>
    <p:sldLayoutId id="2147484045" r:id="rId44"/>
    <p:sldLayoutId id="2147484046" r:id="rId45"/>
    <p:sldLayoutId id="2147484047" r:id="rId46"/>
    <p:sldLayoutId id="2147484048" r:id="rId47"/>
    <p:sldLayoutId id="2147484049" r:id="rId48"/>
    <p:sldLayoutId id="2147484050" r:id="rId49"/>
    <p:sldLayoutId id="2147484051" r:id="rId50"/>
    <p:sldLayoutId id="2147484052" r:id="rId51"/>
    <p:sldLayoutId id="2147484053" r:id="rId52"/>
    <p:sldLayoutId id="2147484054" r:id="rId53"/>
    <p:sldLayoutId id="2147484055" r:id="rId54"/>
    <p:sldLayoutId id="2147484056" r:id="rId55"/>
    <p:sldLayoutId id="2147484057" r:id="rId56"/>
    <p:sldLayoutId id="2147484058" r:id="rId57"/>
    <p:sldLayoutId id="2147484059" r:id="rId58"/>
    <p:sldLayoutId id="2147484060" r:id="rId59"/>
    <p:sldLayoutId id="2147484061" r:id="rId60"/>
    <p:sldLayoutId id="2147484062" r:id="rId61"/>
    <p:sldLayoutId id="2147484063" r:id="rId62"/>
    <p:sldLayoutId id="2147484064" r:id="rId63"/>
    <p:sldLayoutId id="2147484065" r:id="rId64"/>
    <p:sldLayoutId id="2147484066" r:id="rId65"/>
    <p:sldLayoutId id="2147484068" r:id="rId66"/>
    <p:sldLayoutId id="2147484069" r:id="rId67"/>
    <p:sldLayoutId id="2147484070" r:id="rId68"/>
    <p:sldLayoutId id="2147484071" r:id="rId69"/>
    <p:sldLayoutId id="2147484072" r:id="rId70"/>
    <p:sldLayoutId id="2147484074" r:id="rId71"/>
    <p:sldLayoutId id="2147484075" r:id="rId72"/>
    <p:sldLayoutId id="2147484076" r:id="rId73"/>
    <p:sldLayoutId id="2147484077" r:id="rId74"/>
    <p:sldLayoutId id="2147484078" r:id="rId75"/>
    <p:sldLayoutId id="2147484079" r:id="rId76"/>
    <p:sldLayoutId id="2147484080" r:id="rId77"/>
    <p:sldLayoutId id="2147484081" r:id="rId78"/>
  </p:sldLayoutIdLst>
  <p:transition>
    <p:fade/>
  </p:transition>
  <p:hf sldNum="0" hdr="0" dt="0"/>
  <p:txStyles>
    <p:titleStyle>
      <a:lvl1pPr algn="l" defTabSz="932742" rtl="0" eaLnBrk="1" latinLnBrk="0" hangingPunct="1">
        <a:lnSpc>
          <a:spcPct val="100000"/>
        </a:lnSpc>
        <a:spcBef>
          <a:spcPct val="0"/>
        </a:spcBef>
        <a:buNone/>
        <a:defRPr kumimoji="0" lang="en-US" sz="3600" b="0" i="0" u="none" strike="noStrike" kern="1200" cap="none" spc="0" normalizeH="0" baseline="0" dirty="0">
          <a:ln>
            <a:noFill/>
          </a:ln>
          <a:gradFill flip="none" rotWithShape="1">
            <a:gsLst>
              <a:gs pos="78000">
                <a:schemeClr val="accent1">
                  <a:lumMod val="60000"/>
                  <a:lumOff val="40000"/>
                </a:schemeClr>
              </a:gs>
              <a:gs pos="0">
                <a:schemeClr val="accent1">
                  <a:lumMod val="20000"/>
                  <a:lumOff val="80000"/>
                </a:schemeClr>
              </a:gs>
            </a:gsLst>
            <a:lin ang="2700000" scaled="1"/>
            <a:tileRect/>
          </a:gradFill>
          <a:effectLst/>
          <a:uLnTx/>
          <a:uFillTx/>
          <a:latin typeface="+mj-lt"/>
          <a:ea typeface="+mn-ea"/>
          <a:cs typeface="Segoe UI Semibold" panose="020B0702040204020203"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bg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369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65">
            <a:extLst>
              <a:ext uri="{96DAC541-7B7A-43D3-8B79-37D633B846F1}">
                <asvg:svgBlip xmlns:asvg="http://schemas.microsoft.com/office/drawing/2016/SVG/main" r:embed="rId66"/>
              </a:ext>
            </a:extLst>
          </a:blip>
          <a:srcRect/>
          <a:stretch/>
        </p:blipFill>
        <p:spPr>
          <a:xfrm rot="5400000">
            <a:off x="9509919" y="2743200"/>
            <a:ext cx="6858000" cy="1371600"/>
          </a:xfrm>
          <a:prstGeom prst="rect">
            <a:avLst/>
          </a:prstGeom>
        </p:spPr>
      </p:pic>
      <p:grpSp>
        <p:nvGrpSpPr>
          <p:cNvPr id="5" name="GRID" hidden="1">
            <a:extLst>
              <a:ext uri="{FF2B5EF4-FFF2-40B4-BE49-F238E27FC236}">
                <a16:creationId xmlns:a16="http://schemas.microsoft.com/office/drawing/2014/main" id="{50B40653-3095-5409-AF88-3DE01C56C0BD}"/>
              </a:ext>
            </a:extLst>
          </p:cNvPr>
          <p:cNvGrpSpPr/>
          <p:nvPr userDrawn="1"/>
        </p:nvGrpSpPr>
        <p:grpSpPr>
          <a:xfrm>
            <a:off x="0" y="0"/>
            <a:ext cx="12192000" cy="6858000"/>
            <a:chOff x="0" y="0"/>
            <a:chExt cx="12192000" cy="6858000"/>
          </a:xfrm>
        </p:grpSpPr>
        <p:cxnSp>
          <p:nvCxnSpPr>
            <p:cNvPr id="6" name="Straight Connector 5">
              <a:extLst>
                <a:ext uri="{FF2B5EF4-FFF2-40B4-BE49-F238E27FC236}">
                  <a16:creationId xmlns:a16="http://schemas.microsoft.com/office/drawing/2014/main" id="{66935197-7475-253E-35F9-725C66B342D8}"/>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EC3EF2E-A5B2-D2A9-F740-03AAA27E6A19}"/>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F0A76F-B355-867B-FF6D-F22822CEFE79}"/>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E17F9FA-4296-F115-3C5A-E4E06672BDD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96D4F38-E0A7-05C7-1A8B-6447E304B31C}"/>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D13B5F2-C404-D013-5BA1-42FF3AE7E41C}"/>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74F5559-8FA3-6EA3-DAB5-891CE057A2D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6D1909D-8405-DD51-025D-A9985950CDD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2D05B44-146F-0D71-6B17-0631ABDE9EC9}"/>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B24C807-9FA6-E204-20B6-2473904A789E}"/>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31505BA-A410-E722-7AAD-2DF4CC8A1323}"/>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72B61F5-642E-081E-0DED-2F31A3C43F6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03E72D-E58A-556B-A8EF-71C8664C7A3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FB7E760-EF13-BCFD-2E36-CFEB29A66399}"/>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307D1ED-8B6D-1A94-1791-BBB67BECEFA4}"/>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C29C4DC-DA7B-3D8B-E607-D26C42FE54AD}"/>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0DAA56E-BF97-068A-BC5C-1623B8A2D544}"/>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7786B85-1650-9240-DE22-45A294AEF682}"/>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75B1B47-5558-8B9E-7DC9-6CE9A06CF1E1}"/>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6BA73727-B7C9-2771-4609-439446DD52A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A4A69FD-FC28-F694-746F-F05209933D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89F58F0-B683-0A02-E5E9-56C0E3B5D9A7}"/>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865526F5-745E-3DED-5921-83448B292C71}"/>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6CE0CA17-DE49-59C6-DE10-28CB5C6104E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B7F53F9D-E601-E9D7-CCC9-9C6D4D308975}"/>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7ACEC8BB-71E0-463D-75AD-DD05EA03B2BD}"/>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80BB4EC2-E7F2-9FE8-6DD2-6021493CAE00}"/>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363A409F-1FD3-E286-3FD8-3B8A67AE54FF}"/>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C5A7289-3785-0F08-62F9-0A77D2E437B7}"/>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B65EC46A-D6D0-A02A-4596-D76BE2FE7F23}"/>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B85506E-90D6-DB35-FB26-A2A1BC9076A7}"/>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BE71234-F491-CCF9-EA34-E63F2A8A3155}"/>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826998-D865-2012-0554-C384C0A0E618}"/>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376F161-F07A-C2ED-641A-0B3DDBAA7778}"/>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40" name=".64 square" hidden="1">
            <a:extLst>
              <a:ext uri="{FF2B5EF4-FFF2-40B4-BE49-F238E27FC236}">
                <a16:creationId xmlns:a16="http://schemas.microsoft.com/office/drawing/2014/main" id="{F9A34688-B9A6-4073-6571-F94C9F19515D}"/>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41" name=".32 square" hidden="1">
            <a:extLst>
              <a:ext uri="{FF2B5EF4-FFF2-40B4-BE49-F238E27FC236}">
                <a16:creationId xmlns:a16="http://schemas.microsoft.com/office/drawing/2014/main" id="{C60A21A1-50D4-CBD3-DE73-998BE4B74555}"/>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2" name="Graphic 141">
            <a:extLst>
              <a:ext uri="{FF2B5EF4-FFF2-40B4-BE49-F238E27FC236}">
                <a16:creationId xmlns:a16="http://schemas.microsoft.com/office/drawing/2014/main" id="{1B722638-341D-272E-4E6E-9FB1F29ACB70}"/>
              </a:ext>
            </a:extLst>
          </p:cNvPr>
          <p:cNvPicPr>
            <a:picLocks noChangeAspect="1"/>
          </p:cNvPicPr>
          <p:nvPr userDrawn="1"/>
        </p:nvPicPr>
        <p:blipFill>
          <a:blip r:embed="rId65">
            <a:extLst>
              <a:ext uri="{96DAC541-7B7A-43D3-8B79-37D633B846F1}">
                <asvg:svgBlip xmlns:asvg="http://schemas.microsoft.com/office/drawing/2016/SVG/main" r:embed="rId66"/>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1595452207"/>
      </p:ext>
    </p:extLst>
  </p:cSld>
  <p:clrMap bg1="dk1" tx1="lt1" bg2="dk2" tx2="lt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 id="2147484105" r:id="rId22"/>
    <p:sldLayoutId id="2147484106" r:id="rId23"/>
    <p:sldLayoutId id="2147484107" r:id="rId24"/>
    <p:sldLayoutId id="2147484108" r:id="rId25"/>
    <p:sldLayoutId id="2147484109" r:id="rId26"/>
    <p:sldLayoutId id="2147484110" r:id="rId27"/>
    <p:sldLayoutId id="2147484111" r:id="rId28"/>
    <p:sldLayoutId id="2147484112" r:id="rId29"/>
    <p:sldLayoutId id="2147484113" r:id="rId30"/>
    <p:sldLayoutId id="2147484114" r:id="rId31"/>
    <p:sldLayoutId id="2147484115" r:id="rId32"/>
    <p:sldLayoutId id="2147484116" r:id="rId33"/>
    <p:sldLayoutId id="2147484117" r:id="rId34"/>
    <p:sldLayoutId id="2147484118" r:id="rId35"/>
    <p:sldLayoutId id="2147484119" r:id="rId36"/>
    <p:sldLayoutId id="2147484120" r:id="rId37"/>
    <p:sldLayoutId id="2147484121" r:id="rId38"/>
    <p:sldLayoutId id="2147484122" r:id="rId39"/>
    <p:sldLayoutId id="2147484123" r:id="rId40"/>
    <p:sldLayoutId id="2147484124" r:id="rId41"/>
    <p:sldLayoutId id="2147484125" r:id="rId42"/>
    <p:sldLayoutId id="2147484126" r:id="rId43"/>
    <p:sldLayoutId id="2147484127" r:id="rId44"/>
    <p:sldLayoutId id="2147484128" r:id="rId45"/>
    <p:sldLayoutId id="2147484129" r:id="rId46"/>
    <p:sldLayoutId id="2147484130" r:id="rId47"/>
    <p:sldLayoutId id="2147484131" r:id="rId48"/>
    <p:sldLayoutId id="2147484132" r:id="rId49"/>
    <p:sldLayoutId id="2147484133" r:id="rId50"/>
    <p:sldLayoutId id="2147484134" r:id="rId51"/>
    <p:sldLayoutId id="2147484135" r:id="rId52"/>
    <p:sldLayoutId id="2147484136" r:id="rId53"/>
    <p:sldLayoutId id="2147484137" r:id="rId54"/>
    <p:sldLayoutId id="2147484138" r:id="rId55"/>
    <p:sldLayoutId id="2147484139" r:id="rId56"/>
    <p:sldLayoutId id="2147484140" r:id="rId57"/>
    <p:sldLayoutId id="2147484141" r:id="rId58"/>
    <p:sldLayoutId id="2147484142" r:id="rId59"/>
    <p:sldLayoutId id="2147484143" r:id="rId60"/>
    <p:sldLayoutId id="2147484144" r:id="rId61"/>
    <p:sldLayoutId id="2147484146" r:id="rId62"/>
    <p:sldLayoutId id="2147484147" r:id="rId6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8" Type="http://schemas.openxmlformats.org/officeDocument/2006/relationships/image" Target="../media/image125.jpeg"/><Relationship Id="rId3" Type="http://schemas.openxmlformats.org/officeDocument/2006/relationships/image" Target="../media/image120.jpeg"/><Relationship Id="rId7" Type="http://schemas.openxmlformats.org/officeDocument/2006/relationships/image" Target="../media/image124.jpeg"/><Relationship Id="rId2" Type="http://schemas.openxmlformats.org/officeDocument/2006/relationships/notesSlide" Target="../notesSlides/notesSlide9.xml"/><Relationship Id="rId1" Type="http://schemas.openxmlformats.org/officeDocument/2006/relationships/slideLayout" Target="../slideLayouts/slideLayout48.xml"/><Relationship Id="rId6" Type="http://schemas.openxmlformats.org/officeDocument/2006/relationships/image" Target="../media/image123.jpeg"/><Relationship Id="rId5" Type="http://schemas.openxmlformats.org/officeDocument/2006/relationships/image" Target="../media/image122.jpeg"/><Relationship Id="rId10" Type="http://schemas.openxmlformats.org/officeDocument/2006/relationships/image" Target="../media/image127.jpeg"/><Relationship Id="rId4" Type="http://schemas.openxmlformats.org/officeDocument/2006/relationships/image" Target="../media/image121.jpeg"/><Relationship Id="rId9" Type="http://schemas.openxmlformats.org/officeDocument/2006/relationships/image" Target="../media/image126.jpeg"/></Relationships>
</file>

<file path=ppt/slides/_rels/slide11.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8.png"/><Relationship Id="rId7" Type="http://schemas.openxmlformats.org/officeDocument/2006/relationships/image" Target="../media/image131.png"/><Relationship Id="rId12" Type="http://schemas.openxmlformats.org/officeDocument/2006/relationships/image" Target="../media/image136.svg"/><Relationship Id="rId2" Type="http://schemas.openxmlformats.org/officeDocument/2006/relationships/notesSlide" Target="../notesSlides/notesSlide10.xml"/><Relationship Id="rId1" Type="http://schemas.openxmlformats.org/officeDocument/2006/relationships/slideLayout" Target="../slideLayouts/slideLayout141.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png"/><Relationship Id="rId4" Type="http://schemas.microsoft.com/office/2007/relationships/hdphoto" Target="../media/hdphoto7.wdp"/><Relationship Id="rId9" Type="http://schemas.openxmlformats.org/officeDocument/2006/relationships/image" Target="../media/image133.png"/></Relationships>
</file>

<file path=ppt/slides/_rels/slide12.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svg"/><Relationship Id="rId18" Type="http://schemas.openxmlformats.org/officeDocument/2006/relationships/image" Target="../media/image151.png"/><Relationship Id="rId26" Type="http://schemas.openxmlformats.org/officeDocument/2006/relationships/image" Target="../media/image158.png"/><Relationship Id="rId3" Type="http://schemas.openxmlformats.org/officeDocument/2006/relationships/notesSlide" Target="../notesSlides/notesSlide11.xml"/><Relationship Id="rId21" Type="http://schemas.openxmlformats.org/officeDocument/2006/relationships/image" Target="../media/image154.svg"/><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svg"/><Relationship Id="rId25" Type="http://schemas.microsoft.com/office/2007/relationships/hdphoto" Target="../media/hdphoto8.wdp"/><Relationship Id="rId2" Type="http://schemas.openxmlformats.org/officeDocument/2006/relationships/slideLayout" Target="../slideLayouts/slideLayout15.xml"/><Relationship Id="rId16" Type="http://schemas.openxmlformats.org/officeDocument/2006/relationships/image" Target="../media/image149.png"/><Relationship Id="rId20" Type="http://schemas.openxmlformats.org/officeDocument/2006/relationships/image" Target="../media/image153.png"/><Relationship Id="rId29" Type="http://schemas.openxmlformats.org/officeDocument/2006/relationships/image" Target="../media/image161.jpeg"/><Relationship Id="rId1" Type="http://schemas.openxmlformats.org/officeDocument/2006/relationships/tags" Target="../tags/tag10.xml"/><Relationship Id="rId6" Type="http://schemas.openxmlformats.org/officeDocument/2006/relationships/image" Target="../media/image139.png"/><Relationship Id="rId11" Type="http://schemas.openxmlformats.org/officeDocument/2006/relationships/image" Target="../media/image144.svg"/><Relationship Id="rId24" Type="http://schemas.openxmlformats.org/officeDocument/2006/relationships/image" Target="../media/image157.png"/><Relationship Id="rId5" Type="http://schemas.openxmlformats.org/officeDocument/2006/relationships/image" Target="../media/image138.png"/><Relationship Id="rId15" Type="http://schemas.openxmlformats.org/officeDocument/2006/relationships/image" Target="../media/image148.svg"/><Relationship Id="rId23" Type="http://schemas.openxmlformats.org/officeDocument/2006/relationships/image" Target="../media/image156.svg"/><Relationship Id="rId28" Type="http://schemas.openxmlformats.org/officeDocument/2006/relationships/image" Target="../media/image160.jpeg"/><Relationship Id="rId10" Type="http://schemas.openxmlformats.org/officeDocument/2006/relationships/image" Target="../media/image143.png"/><Relationship Id="rId19" Type="http://schemas.openxmlformats.org/officeDocument/2006/relationships/image" Target="../media/image152.svg"/><Relationship Id="rId4" Type="http://schemas.openxmlformats.org/officeDocument/2006/relationships/image" Target="../media/image137.png"/><Relationship Id="rId9" Type="http://schemas.openxmlformats.org/officeDocument/2006/relationships/image" Target="../media/image142.png"/><Relationship Id="rId14" Type="http://schemas.openxmlformats.org/officeDocument/2006/relationships/image" Target="../media/image147.png"/><Relationship Id="rId22" Type="http://schemas.openxmlformats.org/officeDocument/2006/relationships/image" Target="../media/image155.png"/><Relationship Id="rId27" Type="http://schemas.openxmlformats.org/officeDocument/2006/relationships/image" Target="../media/image159.svg"/><Relationship Id="rId30" Type="http://schemas.openxmlformats.org/officeDocument/2006/relationships/image" Target="../media/image162.png"/></Relationships>
</file>

<file path=ppt/slides/_rels/slide13.xml.rels><?xml version="1.0" encoding="UTF-8" standalone="yes"?>
<Relationships xmlns="http://schemas.openxmlformats.org/package/2006/relationships"><Relationship Id="rId8" Type="http://schemas.microsoft.com/office/2007/relationships/hdphoto" Target="../media/hdphoto10.wdp"/><Relationship Id="rId3" Type="http://schemas.openxmlformats.org/officeDocument/2006/relationships/image" Target="../media/image163.png"/><Relationship Id="rId7" Type="http://schemas.openxmlformats.org/officeDocument/2006/relationships/image" Target="../media/image166.png"/><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microsoft.com/office/2007/relationships/hdphoto" Target="../media/hdphoto9.wdp"/><Relationship Id="rId5" Type="http://schemas.openxmlformats.org/officeDocument/2006/relationships/image" Target="../media/image165.png"/><Relationship Id="rId4" Type="http://schemas.openxmlformats.org/officeDocument/2006/relationships/image" Target="../media/image16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4.xml"/><Relationship Id="rId1" Type="http://schemas.openxmlformats.org/officeDocument/2006/relationships/slideLayout" Target="../slideLayouts/slideLayout141.xml"/></Relationships>
</file>

<file path=ppt/slides/_rels/slide16.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1.svg"/><Relationship Id="rId2" Type="http://schemas.openxmlformats.org/officeDocument/2006/relationships/notesSlide" Target="../notesSlides/notesSlide15.xml"/><Relationship Id="rId1" Type="http://schemas.openxmlformats.org/officeDocument/2006/relationships/slideLayout" Target="../slideLayouts/slideLayout59.xml"/><Relationship Id="rId6" Type="http://schemas.openxmlformats.org/officeDocument/2006/relationships/image" Target="../media/image170.png"/><Relationship Id="rId5" Type="http://schemas.openxmlformats.org/officeDocument/2006/relationships/image" Target="../media/image169.svg"/><Relationship Id="rId4" Type="http://schemas.openxmlformats.org/officeDocument/2006/relationships/image" Target="../media/image16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5.xml"/></Relationships>
</file>

<file path=ppt/slides/_rels/slide18.xml.rels><?xml version="1.0" encoding="UTF-8" standalone="yes"?>
<Relationships xmlns="http://schemas.openxmlformats.org/package/2006/relationships"><Relationship Id="rId2" Type="http://schemas.openxmlformats.org/officeDocument/2006/relationships/image" Target="../media/image172.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image" Target="../media/image179.png"/><Relationship Id="rId3" Type="http://schemas.openxmlformats.org/officeDocument/2006/relationships/image" Target="../media/image174.svg"/><Relationship Id="rId7" Type="http://schemas.openxmlformats.org/officeDocument/2006/relationships/image" Target="../media/image178.svg"/><Relationship Id="rId2" Type="http://schemas.openxmlformats.org/officeDocument/2006/relationships/image" Target="../media/image173.png"/><Relationship Id="rId1" Type="http://schemas.openxmlformats.org/officeDocument/2006/relationships/slideLayout" Target="../slideLayouts/slideLayout16.xml"/><Relationship Id="rId6" Type="http://schemas.openxmlformats.org/officeDocument/2006/relationships/image" Target="../media/image177.png"/><Relationship Id="rId11" Type="http://schemas.openxmlformats.org/officeDocument/2006/relationships/image" Target="../media/image182.svg"/><Relationship Id="rId5" Type="http://schemas.openxmlformats.org/officeDocument/2006/relationships/image" Target="../media/image176.svg"/><Relationship Id="rId10" Type="http://schemas.openxmlformats.org/officeDocument/2006/relationships/image" Target="../media/image181.png"/><Relationship Id="rId4" Type="http://schemas.openxmlformats.org/officeDocument/2006/relationships/image" Target="../media/image175.png"/><Relationship Id="rId9" Type="http://schemas.openxmlformats.org/officeDocument/2006/relationships/image" Target="../media/image180.svg"/></Relationships>
</file>

<file path=ppt/slides/_rels/slide2.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1.png"/><Relationship Id="rId7" Type="http://schemas.openxmlformats.org/officeDocument/2006/relationships/image" Target="../media/image84.png"/><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2" Type="http://schemas.openxmlformats.org/officeDocument/2006/relationships/image" Target="../media/image183.jpeg"/><Relationship Id="rId1" Type="http://schemas.openxmlformats.org/officeDocument/2006/relationships/slideLayout" Target="../slideLayouts/slideLayout390.xml"/></Relationships>
</file>

<file path=ppt/slides/_rels/slide2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8.xml"/><Relationship Id="rId1" Type="http://schemas.openxmlformats.org/officeDocument/2006/relationships/slideLayout" Target="../slideLayouts/slideLayout343.xml"/></Relationships>
</file>

<file path=ppt/slides/_rels/slide23.xml.rels><?xml version="1.0" encoding="UTF-8" standalone="yes"?>
<Relationships xmlns="http://schemas.openxmlformats.org/package/2006/relationships"><Relationship Id="rId3" Type="http://schemas.openxmlformats.org/officeDocument/2006/relationships/hyperlink" Target="https://customers.microsoft.com/en-us/story/1637929534319366070-swift-banking-capital-markets-azure-machine-learning" TargetMode="External"/><Relationship Id="rId2" Type="http://schemas.openxmlformats.org/officeDocument/2006/relationships/notesSlide" Target="../notesSlides/notesSlide19.xml"/><Relationship Id="rId1" Type="http://schemas.openxmlformats.org/officeDocument/2006/relationships/slideLayout" Target="../slideLayouts/slideLayout141.xml"/><Relationship Id="rId5" Type="http://schemas.openxmlformats.org/officeDocument/2006/relationships/image" Target="../media/image186.png"/><Relationship Id="rId4" Type="http://schemas.openxmlformats.org/officeDocument/2006/relationships/image" Target="../media/image18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3" Type="http://schemas.openxmlformats.org/officeDocument/2006/relationships/image" Target="../media/image81.png"/><Relationship Id="rId7" Type="http://schemas.openxmlformats.org/officeDocument/2006/relationships/image" Target="../media/image88.png"/><Relationship Id="rId12" Type="http://schemas.openxmlformats.org/officeDocument/2006/relationships/image" Target="../media/image93.svg"/><Relationship Id="rId2" Type="http://schemas.openxmlformats.org/officeDocument/2006/relationships/notesSlide" Target="../notesSlides/notesSlide2.xml"/><Relationship Id="rId16" Type="http://schemas.openxmlformats.org/officeDocument/2006/relationships/image" Target="../media/image97.svg"/><Relationship Id="rId1" Type="http://schemas.openxmlformats.org/officeDocument/2006/relationships/slideLayout" Target="../slideLayouts/slideLayout16.xml"/><Relationship Id="rId6" Type="http://schemas.openxmlformats.org/officeDocument/2006/relationships/image" Target="../media/image87.svg"/><Relationship Id="rId11" Type="http://schemas.openxmlformats.org/officeDocument/2006/relationships/image" Target="../media/image92.png"/><Relationship Id="rId5" Type="http://schemas.openxmlformats.org/officeDocument/2006/relationships/image" Target="../media/image86.png"/><Relationship Id="rId15" Type="http://schemas.openxmlformats.org/officeDocument/2006/relationships/image" Target="../media/image96.png"/><Relationship Id="rId10" Type="http://schemas.openxmlformats.org/officeDocument/2006/relationships/image" Target="../media/image91.svg"/><Relationship Id="rId4" Type="http://schemas.openxmlformats.org/officeDocument/2006/relationships/chart" Target="../charts/chart2.xml"/><Relationship Id="rId9" Type="http://schemas.openxmlformats.org/officeDocument/2006/relationships/image" Target="../media/image90.png"/><Relationship Id="rId14" Type="http://schemas.openxmlformats.org/officeDocument/2006/relationships/image" Target="../media/image95.svg"/></Relationships>
</file>

<file path=ppt/slides/_rels/slide4.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microsoft.com/office/2007/relationships/hdphoto" Target="../media/hdphoto5.wdp"/><Relationship Id="rId5" Type="http://schemas.openxmlformats.org/officeDocument/2006/relationships/image" Target="../media/image100.png"/><Relationship Id="rId4" Type="http://schemas.openxmlformats.org/officeDocument/2006/relationships/image" Target="../media/image9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6.xml"/><Relationship Id="rId1" Type="http://schemas.openxmlformats.org/officeDocument/2006/relationships/tags" Target="../tags/tag6.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6.xml"/><Relationship Id="rId1" Type="http://schemas.openxmlformats.org/officeDocument/2006/relationships/tags" Target="../tags/tag7.xml"/><Relationship Id="rId6" Type="http://schemas.openxmlformats.org/officeDocument/2006/relationships/image" Target="../media/image107.jpeg"/><Relationship Id="rId5" Type="http://schemas.openxmlformats.org/officeDocument/2006/relationships/image" Target="../media/image106.jpeg"/><Relationship Id="rId4" Type="http://schemas.openxmlformats.org/officeDocument/2006/relationships/image" Target="../media/image105.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6.xml"/><Relationship Id="rId1" Type="http://schemas.openxmlformats.org/officeDocument/2006/relationships/tags" Target="../tags/tag8.xml"/><Relationship Id="rId6" Type="http://schemas.openxmlformats.org/officeDocument/2006/relationships/image" Target="../media/image110.jpeg"/><Relationship Id="rId5" Type="http://schemas.openxmlformats.org/officeDocument/2006/relationships/image" Target="../media/image109.jpeg"/><Relationship Id="rId4" Type="http://schemas.openxmlformats.org/officeDocument/2006/relationships/image" Target="../media/image108.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microsoft.com/office/2007/relationships/hdphoto" Target="../media/hdphoto6.wdp"/><Relationship Id="rId2" Type="http://schemas.openxmlformats.org/officeDocument/2006/relationships/slideLayout" Target="../slideLayouts/slideLayout76.xml"/><Relationship Id="rId1" Type="http://schemas.openxmlformats.org/officeDocument/2006/relationships/tags" Target="../tags/tag9.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image" Target="../media/image111.jpeg"/></Relationships>
</file>

<file path=ppt/slides/_rels/slide9.xml.rels><?xml version="1.0" encoding="UTF-8" standalone="yes"?>
<Relationships xmlns="http://schemas.openxmlformats.org/package/2006/relationships"><Relationship Id="rId8" Type="http://schemas.openxmlformats.org/officeDocument/2006/relationships/image" Target="../media/image119.png"/><Relationship Id="rId3" Type="http://schemas.openxmlformats.org/officeDocument/2006/relationships/image" Target="../media/image114.png"/><Relationship Id="rId7" Type="http://schemas.openxmlformats.org/officeDocument/2006/relationships/image" Target="../media/image118.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117.png"/><Relationship Id="rId5" Type="http://schemas.openxmlformats.org/officeDocument/2006/relationships/image" Target="../media/image116.png"/><Relationship Id="rId4" Type="http://schemas.openxmlformats.org/officeDocument/2006/relationships/image" Target="../media/image1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6C4C26-44E1-877C-9BC6-F97DAC3075F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BA048496-AEAF-3799-71C6-CF5CF2ABF08A}"/>
              </a:ext>
            </a:extLst>
          </p:cNvPr>
          <p:cNvSpPr txBox="1"/>
          <p:nvPr/>
        </p:nvSpPr>
        <p:spPr>
          <a:xfrm>
            <a:off x="588263" y="588963"/>
            <a:ext cx="4158362" cy="2535236"/>
          </a:xfrm>
          <a:prstGeom prst="rect">
            <a:avLst/>
          </a:prstGeom>
        </p:spPr>
        <p:txBody>
          <a:bodyPr vert="horz" wrap="square" lIns="0" tIns="0" rIns="0" bIns="0" rtlCol="0" anchor="b">
            <a:normAutofit/>
          </a:bodyPr>
          <a:lstStyle/>
          <a:p>
            <a:pPr marL="0" marR="0" lvl="0" indent="0" defTabSz="932742" fontAlgn="auto">
              <a:spcBef>
                <a:spcPct val="0"/>
              </a:spcBef>
              <a:spcAft>
                <a:spcPts val="600"/>
              </a:spcAft>
              <a:buClrTx/>
              <a:buSzTx/>
              <a:tabLst/>
              <a:defRPr/>
            </a:pPr>
            <a:r>
              <a:rPr lang="en-US" sz="3600" b="0" kern="1200" cap="none" spc="-50" baseline="0">
                <a:ln w="3175">
                  <a:noFill/>
                </a:ln>
                <a:effectLst/>
                <a:latin typeface="+mj-lt"/>
                <a:ea typeface="+mn-ea"/>
                <a:cs typeface="Segoe UI" pitchFamily="34" charset="0"/>
              </a:rPr>
              <a:t>AI Frontiers: Overcoming Challenges, Seizing Opportunities</a:t>
            </a:r>
            <a:endParaRPr kumimoji="0" lang="en-US" sz="3600" b="0" i="0" u="none" strike="noStrike" kern="1200" cap="none" spc="-50" normalizeH="0" baseline="0" noProof="0">
              <a:ln w="3175">
                <a:noFill/>
              </a:ln>
              <a:effectLst/>
              <a:uLnTx/>
              <a:uFillTx/>
              <a:latin typeface="+mj-lt"/>
              <a:ea typeface="+mn-ea"/>
              <a:cs typeface="Segoe UI" pitchFamily="34" charset="0"/>
            </a:endParaRPr>
          </a:p>
        </p:txBody>
      </p:sp>
      <p:sp>
        <p:nvSpPr>
          <p:cNvPr id="5" name="TextBox 4">
            <a:extLst>
              <a:ext uri="{FF2B5EF4-FFF2-40B4-BE49-F238E27FC236}">
                <a16:creationId xmlns:a16="http://schemas.microsoft.com/office/drawing/2014/main" id="{473CD4B9-2671-A8F3-3957-26F02EE5BE31}"/>
              </a:ext>
            </a:extLst>
          </p:cNvPr>
          <p:cNvSpPr txBox="1"/>
          <p:nvPr/>
        </p:nvSpPr>
        <p:spPr>
          <a:xfrm>
            <a:off x="584200" y="5190565"/>
            <a:ext cx="4162425" cy="1078472"/>
          </a:xfrm>
          <a:prstGeom prst="rect">
            <a:avLst/>
          </a:prstGeom>
        </p:spPr>
        <p:txBody>
          <a:bodyPr vert="horz" wrap="square" lIns="0" tIns="0" rIns="0" bIns="0" rtlCol="0">
            <a:normAutofit fontScale="77500" lnSpcReduction="20000"/>
          </a:bodyPr>
          <a:lstStyle/>
          <a:p>
            <a:pPr defTabSz="932742">
              <a:spcBef>
                <a:spcPct val="20000"/>
              </a:spcBef>
              <a:buSzPct val="90000"/>
            </a:pPr>
            <a:r>
              <a:rPr lang="en-US" sz="2200" kern="1200" spc="0" baseline="0" dirty="0">
                <a:latin typeface="+mn-lt"/>
                <a:ea typeface="+mn-ea"/>
                <a:cs typeface="Segoe UI" panose="020B0502040204020203" pitchFamily="34" charset="0"/>
              </a:rPr>
              <a:t>No Time for Downtime Event</a:t>
            </a:r>
          </a:p>
          <a:p>
            <a:pPr defTabSz="932742">
              <a:spcBef>
                <a:spcPct val="20000"/>
              </a:spcBef>
              <a:buSzPct val="90000"/>
            </a:pPr>
            <a:r>
              <a:rPr lang="en-US" sz="2200" kern="1200" spc="0" baseline="0" dirty="0">
                <a:latin typeface="+mn-lt"/>
                <a:ea typeface="+mn-ea"/>
                <a:cs typeface="Segoe UI" panose="020B0502040204020203" pitchFamily="34" charset="0"/>
              </a:rPr>
              <a:t>October 2024</a:t>
            </a:r>
          </a:p>
          <a:p>
            <a:pPr defTabSz="932742">
              <a:spcBef>
                <a:spcPct val="20000"/>
              </a:spcBef>
              <a:buSzPct val="90000"/>
            </a:pPr>
            <a:r>
              <a:rPr lang="en-US" sz="2200" dirty="0">
                <a:cs typeface="Segoe UI" panose="020B0502040204020203" pitchFamily="34" charset="0"/>
              </a:rPr>
              <a:t>Madalina Popa</a:t>
            </a:r>
          </a:p>
          <a:p>
            <a:pPr defTabSz="932742">
              <a:spcBef>
                <a:spcPct val="20000"/>
              </a:spcBef>
              <a:buSzPct val="90000"/>
            </a:pPr>
            <a:r>
              <a:rPr lang="en-US" sz="2200" kern="1200" spc="0" baseline="0" dirty="0">
                <a:latin typeface="+mn-lt"/>
                <a:ea typeface="+mn-ea"/>
                <a:cs typeface="Segoe UI" panose="020B0502040204020203" pitchFamily="34" charset="0"/>
              </a:rPr>
              <a:t>Cloud Solutions Sales Manager</a:t>
            </a:r>
          </a:p>
        </p:txBody>
      </p:sp>
      <p:pic>
        <p:nvPicPr>
          <p:cNvPr id="9" name="Picture 8" descr="Network Technology Background">
            <a:extLst>
              <a:ext uri="{FF2B5EF4-FFF2-40B4-BE49-F238E27FC236}">
                <a16:creationId xmlns:a16="http://schemas.microsoft.com/office/drawing/2014/main" id="{D3C7E994-2972-D9C8-65E4-416DF4116BEA}"/>
              </a:ext>
            </a:extLst>
          </p:cNvPr>
          <p:cNvPicPr>
            <a:picLocks noChangeAspect="1"/>
          </p:cNvPicPr>
          <p:nvPr/>
        </p:nvPicPr>
        <p:blipFill>
          <a:blip r:embed="rId2"/>
          <a:srcRect l="38035" r="3714" b="-1"/>
          <a:stretch/>
        </p:blipFill>
        <p:spPr>
          <a:xfrm>
            <a:off x="5334000" y="10"/>
            <a:ext cx="6858000" cy="6857990"/>
          </a:xfrm>
          <a:prstGeom prst="rect">
            <a:avLst/>
          </a:prstGeom>
          <a:noFill/>
        </p:spPr>
      </p:pic>
    </p:spTree>
    <p:extLst>
      <p:ext uri="{BB962C8B-B14F-4D97-AF65-F5344CB8AC3E}">
        <p14:creationId xmlns:p14="http://schemas.microsoft.com/office/powerpoint/2010/main" val="331737232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A118117-4F67-4A13-2E59-F50B1A06929C}"/>
              </a:ext>
            </a:extLst>
          </p:cNvPr>
          <p:cNvSpPr txBox="1">
            <a:spLocks/>
          </p:cNvSpPr>
          <p:nvPr/>
        </p:nvSpPr>
        <p:spPr>
          <a:xfrm>
            <a:off x="2927109" y="132441"/>
            <a:ext cx="6423377" cy="492443"/>
          </a:xfrm>
          <a:prstGeom prst="rect">
            <a:avLst/>
          </a:prstGeom>
        </p:spPr>
        <p:txBody>
          <a:bodyPr vert="horz" wrap="square" lIns="0" tIns="0" rIns="0" bIns="0" rtlCol="0" anchor="t" anchorCtr="0">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algn="ctr" defTabSz="568924" fontAlgn="base">
              <a:spcAft>
                <a:spcPts val="747"/>
              </a:spcAft>
              <a:defRPr/>
            </a:pPr>
            <a:r>
              <a:rPr lang="en-CA" sz="3200" spc="0" dirty="0">
                <a:gradFill>
                  <a:gsLst>
                    <a:gs pos="98276">
                      <a:schemeClr val="tx1"/>
                    </a:gs>
                    <a:gs pos="77528">
                      <a:schemeClr val="tx1"/>
                    </a:gs>
                  </a:gsLst>
                  <a:path path="circle">
                    <a:fillToRect l="100000" b="100000"/>
                  </a:path>
                </a:gradFill>
              </a:rPr>
              <a:t>Unlock productivity with </a:t>
            </a:r>
            <a:r>
              <a:rPr lang="en-CA" sz="3200" b="1" spc="0" dirty="0">
                <a:solidFill>
                  <a:schemeClr val="accent2"/>
                </a:solidFill>
              </a:rPr>
              <a:t>Copilot</a:t>
            </a:r>
          </a:p>
        </p:txBody>
      </p:sp>
      <p:sp>
        <p:nvSpPr>
          <p:cNvPr id="266" name="Rectangle 265">
            <a:extLst>
              <a:ext uri="{FF2B5EF4-FFF2-40B4-BE49-F238E27FC236}">
                <a16:creationId xmlns:a16="http://schemas.microsoft.com/office/drawing/2014/main" id="{62D0B729-CD5A-F024-6DA0-AD93887095F7}"/>
              </a:ext>
            </a:extLst>
          </p:cNvPr>
          <p:cNvSpPr/>
          <p:nvPr/>
        </p:nvSpPr>
        <p:spPr bwMode="auto">
          <a:xfrm>
            <a:off x="11768698" y="-189653"/>
            <a:ext cx="423302" cy="146689"/>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580169" fontAlgn="base">
              <a:spcBef>
                <a:spcPct val="0"/>
              </a:spcBef>
              <a:spcAft>
                <a:spcPct val="0"/>
              </a:spcAft>
            </a:pPr>
            <a:r>
              <a:rPr lang="en-US" sz="653" b="1">
                <a:solidFill>
                  <a:srgbClr val="FFFFFF"/>
                </a:solidFill>
                <a:ea typeface="Segoe UI" pitchFamily="34" charset="0"/>
                <a:cs typeface="Segoe UI" pitchFamily="34" charset="0"/>
              </a:rPr>
              <a:t>120 secs</a:t>
            </a:r>
          </a:p>
        </p:txBody>
      </p:sp>
      <p:grpSp>
        <p:nvGrpSpPr>
          <p:cNvPr id="6" name="Group 5">
            <a:extLst>
              <a:ext uri="{FF2B5EF4-FFF2-40B4-BE49-F238E27FC236}">
                <a16:creationId xmlns:a16="http://schemas.microsoft.com/office/drawing/2014/main" id="{4814DC89-15B7-3AA9-6226-DCA4F51A373C}"/>
              </a:ext>
            </a:extLst>
          </p:cNvPr>
          <p:cNvGrpSpPr/>
          <p:nvPr/>
        </p:nvGrpSpPr>
        <p:grpSpPr>
          <a:xfrm>
            <a:off x="700745" y="912712"/>
            <a:ext cx="1952394" cy="2625634"/>
            <a:chOff x="578133" y="2017713"/>
            <a:chExt cx="2651760" cy="3566160"/>
          </a:xfrm>
        </p:grpSpPr>
        <p:sp>
          <p:nvSpPr>
            <p:cNvPr id="88" name="Rectangle 87">
              <a:extLst>
                <a:ext uri="{FF2B5EF4-FFF2-40B4-BE49-F238E27FC236}">
                  <a16:creationId xmlns:a16="http://schemas.microsoft.com/office/drawing/2014/main" id="{971D8223-3B7B-253F-2FC1-F2BC0AE34C8A}"/>
                </a:ext>
              </a:extLst>
            </p:cNvPr>
            <p:cNvSpPr/>
            <p:nvPr/>
          </p:nvSpPr>
          <p:spPr bwMode="auto">
            <a:xfrm>
              <a:off x="57813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dirty="0">
                  <a:gradFill>
                    <a:gsLst>
                      <a:gs pos="41958">
                        <a:srgbClr val="FFFFFF"/>
                      </a:gs>
                      <a:gs pos="63000">
                        <a:srgbClr val="FFFFFF"/>
                      </a:gs>
                    </a:gsLst>
                    <a:lin ang="0" scaled="0"/>
                  </a:gradFill>
                  <a:latin typeface="Segoe UI Semibold"/>
                </a:rPr>
                <a:t>Code </a:t>
              </a:r>
              <a:br>
                <a:rPr lang="en-IN" dirty="0">
                  <a:gradFill>
                    <a:gsLst>
                      <a:gs pos="41958">
                        <a:srgbClr val="FFFFFF"/>
                      </a:gs>
                      <a:gs pos="63000">
                        <a:srgbClr val="FFFFFF"/>
                      </a:gs>
                    </a:gsLst>
                    <a:lin ang="0" scaled="0"/>
                  </a:gradFill>
                  <a:latin typeface="Segoe UI Semibold"/>
                </a:rPr>
              </a:br>
              <a:r>
                <a:rPr lang="en-IN" dirty="0">
                  <a:gradFill>
                    <a:gsLst>
                      <a:gs pos="41958">
                        <a:srgbClr val="FFFFFF"/>
                      </a:gs>
                      <a:gs pos="63000">
                        <a:srgbClr val="FFFFFF"/>
                      </a:gs>
                    </a:gsLst>
                    <a:lin ang="0" scaled="0"/>
                  </a:gradFill>
                  <a:latin typeface="Segoe UI Semibold"/>
                </a:rPr>
                <a:t>55% faster </a:t>
              </a:r>
            </a:p>
          </p:txBody>
        </p:sp>
        <p:pic>
          <p:nvPicPr>
            <p:cNvPr id="89" name="Picture 88">
              <a:extLst>
                <a:ext uri="{FF2B5EF4-FFF2-40B4-BE49-F238E27FC236}">
                  <a16:creationId xmlns:a16="http://schemas.microsoft.com/office/drawing/2014/main" id="{336BE6C0-C9E5-B5F2-0674-8D957D22C951}"/>
                </a:ext>
              </a:extLst>
            </p:cNvPr>
            <p:cNvPicPr>
              <a:picLocks noChangeAspect="1"/>
            </p:cNvPicPr>
            <p:nvPr/>
          </p:nvPicPr>
          <p:blipFill rotWithShape="1">
            <a:blip r:embed="rId3"/>
            <a:srcRect l="7831" t="502" r="16005" b="9138"/>
            <a:stretch/>
          </p:blipFill>
          <p:spPr>
            <a:xfrm>
              <a:off x="66957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90" name="Rectangle: Rounded Corners 89">
              <a:extLst>
                <a:ext uri="{FF2B5EF4-FFF2-40B4-BE49-F238E27FC236}">
                  <a16:creationId xmlns:a16="http://schemas.microsoft.com/office/drawing/2014/main" id="{E608A1F6-5536-1CC8-5250-6B707AD06DFD}"/>
                </a:ext>
              </a:extLst>
            </p:cNvPr>
            <p:cNvSpPr/>
            <p:nvPr/>
          </p:nvSpPr>
          <p:spPr bwMode="auto">
            <a:xfrm>
              <a:off x="57813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sp>
          <p:nvSpPr>
            <p:cNvPr id="97" name="TextBox 96">
              <a:extLst>
                <a:ext uri="{FF2B5EF4-FFF2-40B4-BE49-F238E27FC236}">
                  <a16:creationId xmlns:a16="http://schemas.microsoft.com/office/drawing/2014/main" id="{88E07E28-6BD6-6E5D-4A88-643B6B0550C9}"/>
                </a:ext>
              </a:extLst>
            </p:cNvPr>
            <p:cNvSpPr txBox="1"/>
            <p:nvPr/>
          </p:nvSpPr>
          <p:spPr>
            <a:xfrm>
              <a:off x="847011" y="3559855"/>
              <a:ext cx="2114007"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Software developers</a:t>
              </a:r>
            </a:p>
          </p:txBody>
        </p:sp>
      </p:grpSp>
      <p:grpSp>
        <p:nvGrpSpPr>
          <p:cNvPr id="7" name="Group 6">
            <a:extLst>
              <a:ext uri="{FF2B5EF4-FFF2-40B4-BE49-F238E27FC236}">
                <a16:creationId xmlns:a16="http://schemas.microsoft.com/office/drawing/2014/main" id="{8F7E9850-821F-336C-0484-B9E39C9B8B67}"/>
              </a:ext>
            </a:extLst>
          </p:cNvPr>
          <p:cNvGrpSpPr/>
          <p:nvPr/>
        </p:nvGrpSpPr>
        <p:grpSpPr>
          <a:xfrm>
            <a:off x="2754125" y="912712"/>
            <a:ext cx="1952394" cy="2625634"/>
            <a:chOff x="3367053" y="2017713"/>
            <a:chExt cx="2651760" cy="3566160"/>
          </a:xfrm>
        </p:grpSpPr>
        <p:pic>
          <p:nvPicPr>
            <p:cNvPr id="87" name="Picture 86">
              <a:extLst>
                <a:ext uri="{FF2B5EF4-FFF2-40B4-BE49-F238E27FC236}">
                  <a16:creationId xmlns:a16="http://schemas.microsoft.com/office/drawing/2014/main" id="{59CE7771-1093-7437-E080-B0A48037CF24}"/>
                </a:ext>
              </a:extLst>
            </p:cNvPr>
            <p:cNvPicPr>
              <a:picLocks noChangeAspect="1"/>
            </p:cNvPicPr>
            <p:nvPr/>
          </p:nvPicPr>
          <p:blipFill rotWithShape="1">
            <a:blip r:embed="rId4"/>
            <a:srcRect l="53704" t="8350" r="3669" b="41132"/>
            <a:stretch/>
          </p:blipFill>
          <p:spPr>
            <a:xfrm>
              <a:off x="345849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91" name="Rectangle 90">
              <a:extLst>
                <a:ext uri="{FF2B5EF4-FFF2-40B4-BE49-F238E27FC236}">
                  <a16:creationId xmlns:a16="http://schemas.microsoft.com/office/drawing/2014/main" id="{5B3EC979-03E6-B3C1-CD5F-E37B9C24EA1A}"/>
                </a:ext>
              </a:extLst>
            </p:cNvPr>
            <p:cNvSpPr/>
            <p:nvPr/>
          </p:nvSpPr>
          <p:spPr bwMode="auto">
            <a:xfrm>
              <a:off x="336705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sz="1600" dirty="0">
                  <a:gradFill>
                    <a:gsLst>
                      <a:gs pos="41958">
                        <a:srgbClr val="FFFFFF"/>
                      </a:gs>
                      <a:gs pos="63000">
                        <a:srgbClr val="FFFFFF"/>
                      </a:gs>
                    </a:gsLst>
                    <a:lin ang="0" scaled="0"/>
                  </a:gradFill>
                  <a:latin typeface="Segoe UI Semibold"/>
                </a:rPr>
                <a:t>Create workflows </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in half the time</a:t>
              </a:r>
            </a:p>
          </p:txBody>
        </p:sp>
        <p:sp>
          <p:nvSpPr>
            <p:cNvPr id="98" name="TextBox 97">
              <a:extLst>
                <a:ext uri="{FF2B5EF4-FFF2-40B4-BE49-F238E27FC236}">
                  <a16:creationId xmlns:a16="http://schemas.microsoft.com/office/drawing/2014/main" id="{D1152B97-5ED9-3A3F-B449-EF61B2BC3358}"/>
                </a:ext>
              </a:extLst>
            </p:cNvPr>
            <p:cNvSpPr txBox="1"/>
            <p:nvPr/>
          </p:nvSpPr>
          <p:spPr>
            <a:xfrm>
              <a:off x="3828027" y="3559855"/>
              <a:ext cx="1729816"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Domain experts</a:t>
              </a:r>
            </a:p>
          </p:txBody>
        </p:sp>
        <p:sp>
          <p:nvSpPr>
            <p:cNvPr id="151" name="Rectangle: Rounded Corners 150">
              <a:extLst>
                <a:ext uri="{FF2B5EF4-FFF2-40B4-BE49-F238E27FC236}">
                  <a16:creationId xmlns:a16="http://schemas.microsoft.com/office/drawing/2014/main" id="{1693201E-A4CB-C206-340D-5B210253A578}"/>
                </a:ext>
              </a:extLst>
            </p:cNvPr>
            <p:cNvSpPr/>
            <p:nvPr/>
          </p:nvSpPr>
          <p:spPr bwMode="auto">
            <a:xfrm>
              <a:off x="336705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8" name="Group 7">
            <a:extLst>
              <a:ext uri="{FF2B5EF4-FFF2-40B4-BE49-F238E27FC236}">
                <a16:creationId xmlns:a16="http://schemas.microsoft.com/office/drawing/2014/main" id="{F576093C-940F-C59F-E39B-A83F03CD9394}"/>
              </a:ext>
            </a:extLst>
          </p:cNvPr>
          <p:cNvGrpSpPr/>
          <p:nvPr/>
        </p:nvGrpSpPr>
        <p:grpSpPr>
          <a:xfrm>
            <a:off x="4807506" y="912712"/>
            <a:ext cx="1952394" cy="2625634"/>
            <a:chOff x="6155973" y="2017713"/>
            <a:chExt cx="2651760" cy="3566160"/>
          </a:xfrm>
        </p:grpSpPr>
        <p:pic>
          <p:nvPicPr>
            <p:cNvPr id="86" name="Picture 85">
              <a:extLst>
                <a:ext uri="{FF2B5EF4-FFF2-40B4-BE49-F238E27FC236}">
                  <a16:creationId xmlns:a16="http://schemas.microsoft.com/office/drawing/2014/main" id="{818DD60B-BB77-D622-CF4C-9F342ED99392}"/>
                </a:ext>
              </a:extLst>
            </p:cNvPr>
            <p:cNvPicPr>
              <a:picLocks noChangeAspect="1"/>
            </p:cNvPicPr>
            <p:nvPr/>
          </p:nvPicPr>
          <p:blipFill rotWithShape="1">
            <a:blip r:embed="rId5"/>
            <a:srcRect l="9970" r="5730"/>
            <a:stretch/>
          </p:blipFill>
          <p:spPr>
            <a:xfrm>
              <a:off x="624741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93" name="Rectangle 92">
              <a:extLst>
                <a:ext uri="{FF2B5EF4-FFF2-40B4-BE49-F238E27FC236}">
                  <a16:creationId xmlns:a16="http://schemas.microsoft.com/office/drawing/2014/main" id="{014B15C9-78D3-DBF3-D8F5-3947D97001A9}"/>
                </a:ext>
              </a:extLst>
            </p:cNvPr>
            <p:cNvSpPr/>
            <p:nvPr/>
          </p:nvSpPr>
          <p:spPr bwMode="auto">
            <a:xfrm>
              <a:off x="615597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sz="1600" dirty="0">
                  <a:gradFill>
                    <a:gsLst>
                      <a:gs pos="41958">
                        <a:srgbClr val="FFFFFF"/>
                      </a:gs>
                      <a:gs pos="63000">
                        <a:srgbClr val="FFFFFF"/>
                      </a:gs>
                    </a:gsLst>
                    <a:lin ang="0" scaled="0"/>
                  </a:gradFill>
                  <a:latin typeface="Segoe UI Semibold"/>
                </a:rPr>
                <a:t>Complete tasks</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37% faster</a:t>
              </a:r>
            </a:p>
          </p:txBody>
        </p:sp>
        <p:sp>
          <p:nvSpPr>
            <p:cNvPr id="99" name="TextBox 98">
              <a:extLst>
                <a:ext uri="{FF2B5EF4-FFF2-40B4-BE49-F238E27FC236}">
                  <a16:creationId xmlns:a16="http://schemas.microsoft.com/office/drawing/2014/main" id="{532EA603-4BFD-DB2F-214B-F819E55F1649}"/>
                </a:ext>
              </a:extLst>
            </p:cNvPr>
            <p:cNvSpPr txBox="1"/>
            <p:nvPr/>
          </p:nvSpPr>
          <p:spPr>
            <a:xfrm>
              <a:off x="6445678" y="3559855"/>
              <a:ext cx="2072351"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Knowledge workers</a:t>
              </a:r>
            </a:p>
          </p:txBody>
        </p:sp>
        <p:sp>
          <p:nvSpPr>
            <p:cNvPr id="152" name="Rectangle: Rounded Corners 151">
              <a:extLst>
                <a:ext uri="{FF2B5EF4-FFF2-40B4-BE49-F238E27FC236}">
                  <a16:creationId xmlns:a16="http://schemas.microsoft.com/office/drawing/2014/main" id="{11DFD58E-55EF-81D6-49E5-827F16054D5D}"/>
                </a:ext>
              </a:extLst>
            </p:cNvPr>
            <p:cNvSpPr/>
            <p:nvPr/>
          </p:nvSpPr>
          <p:spPr bwMode="auto">
            <a:xfrm>
              <a:off x="615597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9" name="Group 8">
            <a:extLst>
              <a:ext uri="{FF2B5EF4-FFF2-40B4-BE49-F238E27FC236}">
                <a16:creationId xmlns:a16="http://schemas.microsoft.com/office/drawing/2014/main" id="{37C4185B-7CE7-0273-920C-7297FECB2D4E}"/>
              </a:ext>
            </a:extLst>
          </p:cNvPr>
          <p:cNvGrpSpPr/>
          <p:nvPr/>
        </p:nvGrpSpPr>
        <p:grpSpPr>
          <a:xfrm>
            <a:off x="6860887" y="912712"/>
            <a:ext cx="1952394" cy="2625634"/>
            <a:chOff x="8944893" y="2017713"/>
            <a:chExt cx="2651760" cy="3566160"/>
          </a:xfrm>
        </p:grpSpPr>
        <p:pic>
          <p:nvPicPr>
            <p:cNvPr id="84" name="Picture 83">
              <a:extLst>
                <a:ext uri="{FF2B5EF4-FFF2-40B4-BE49-F238E27FC236}">
                  <a16:creationId xmlns:a16="http://schemas.microsoft.com/office/drawing/2014/main" id="{511C627D-6562-A5F7-53EE-AA25B98AC8D7}"/>
                </a:ext>
              </a:extLst>
            </p:cNvPr>
            <p:cNvPicPr>
              <a:picLocks noChangeAspect="1"/>
            </p:cNvPicPr>
            <p:nvPr/>
          </p:nvPicPr>
          <p:blipFill rotWithShape="1">
            <a:blip r:embed="rId6"/>
            <a:srcRect l="13444" t="11070" r="26858" b="18186"/>
            <a:stretch/>
          </p:blipFill>
          <p:spPr>
            <a:xfrm>
              <a:off x="903633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95" name="Rectangle 94">
              <a:extLst>
                <a:ext uri="{FF2B5EF4-FFF2-40B4-BE49-F238E27FC236}">
                  <a16:creationId xmlns:a16="http://schemas.microsoft.com/office/drawing/2014/main" id="{0471ED73-7E3D-2265-B8DA-1814DF0A8091}"/>
                </a:ext>
              </a:extLst>
            </p:cNvPr>
            <p:cNvSpPr/>
            <p:nvPr/>
          </p:nvSpPr>
          <p:spPr bwMode="auto">
            <a:xfrm>
              <a:off x="894489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sz="1600" dirty="0">
                  <a:gradFill>
                    <a:gsLst>
                      <a:gs pos="41958">
                        <a:srgbClr val="FFFFFF"/>
                      </a:gs>
                      <a:gs pos="63000">
                        <a:srgbClr val="FFFFFF"/>
                      </a:gs>
                    </a:gsLst>
                    <a:lin ang="0" scaled="0"/>
                  </a:gradFill>
                  <a:latin typeface="Segoe UI Semibold"/>
                </a:rPr>
                <a:t>Reduce employee </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attrition by 20%</a:t>
              </a:r>
            </a:p>
          </p:txBody>
        </p:sp>
        <p:sp>
          <p:nvSpPr>
            <p:cNvPr id="100" name="TextBox 99">
              <a:extLst>
                <a:ext uri="{FF2B5EF4-FFF2-40B4-BE49-F238E27FC236}">
                  <a16:creationId xmlns:a16="http://schemas.microsoft.com/office/drawing/2014/main" id="{C943E32F-862F-46A3-E2DE-53FF2D5D834E}"/>
                </a:ext>
              </a:extLst>
            </p:cNvPr>
            <p:cNvSpPr txBox="1"/>
            <p:nvPr/>
          </p:nvSpPr>
          <p:spPr>
            <a:xfrm>
              <a:off x="9084700" y="3559855"/>
              <a:ext cx="2372147"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US" sz="1067"/>
                <a:t>Employee performance</a:t>
              </a:r>
            </a:p>
          </p:txBody>
        </p:sp>
        <p:sp>
          <p:nvSpPr>
            <p:cNvPr id="153" name="Rectangle: Rounded Corners 152">
              <a:extLst>
                <a:ext uri="{FF2B5EF4-FFF2-40B4-BE49-F238E27FC236}">
                  <a16:creationId xmlns:a16="http://schemas.microsoft.com/office/drawing/2014/main" id="{6037824B-9B2C-1C89-0988-CFCF55B5827B}"/>
                </a:ext>
              </a:extLst>
            </p:cNvPr>
            <p:cNvSpPr/>
            <p:nvPr/>
          </p:nvSpPr>
          <p:spPr bwMode="auto">
            <a:xfrm>
              <a:off x="894489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10" name="Group 9">
            <a:extLst>
              <a:ext uri="{FF2B5EF4-FFF2-40B4-BE49-F238E27FC236}">
                <a16:creationId xmlns:a16="http://schemas.microsoft.com/office/drawing/2014/main" id="{9B6DD575-6A77-9DDE-8D83-297B4BCE53A4}"/>
              </a:ext>
            </a:extLst>
          </p:cNvPr>
          <p:cNvGrpSpPr/>
          <p:nvPr/>
        </p:nvGrpSpPr>
        <p:grpSpPr>
          <a:xfrm>
            <a:off x="8914268" y="912712"/>
            <a:ext cx="1952394" cy="2625634"/>
            <a:chOff x="11733813" y="2017713"/>
            <a:chExt cx="2651760" cy="3566160"/>
          </a:xfrm>
        </p:grpSpPr>
        <p:pic>
          <p:nvPicPr>
            <p:cNvPr id="144" name="Picture 143">
              <a:extLst>
                <a:ext uri="{FF2B5EF4-FFF2-40B4-BE49-F238E27FC236}">
                  <a16:creationId xmlns:a16="http://schemas.microsoft.com/office/drawing/2014/main" id="{83A57954-14AC-7A04-7EFB-AEAB284BEE35}"/>
                </a:ext>
              </a:extLst>
            </p:cNvPr>
            <p:cNvPicPr>
              <a:picLocks noChangeAspect="1"/>
            </p:cNvPicPr>
            <p:nvPr/>
          </p:nvPicPr>
          <p:blipFill rotWithShape="1">
            <a:blip r:embed="rId7"/>
            <a:srcRect l="26992" t="23716" r="22596" b="16498"/>
            <a:stretch/>
          </p:blipFill>
          <p:spPr>
            <a:xfrm>
              <a:off x="1182525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37" name="Rectangle 36">
              <a:extLst>
                <a:ext uri="{FF2B5EF4-FFF2-40B4-BE49-F238E27FC236}">
                  <a16:creationId xmlns:a16="http://schemas.microsoft.com/office/drawing/2014/main" id="{B9498E45-03CE-122D-77A2-75F891CC9F9B}"/>
                </a:ext>
              </a:extLst>
            </p:cNvPr>
            <p:cNvSpPr/>
            <p:nvPr/>
          </p:nvSpPr>
          <p:spPr bwMode="auto">
            <a:xfrm>
              <a:off x="1173381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896" tIns="256032" rIns="56896" bIns="113792" numCol="1" spcCol="0" rtlCol="0" fromWordArt="0" anchor="t" anchorCtr="0" forceAA="0" compatLnSpc="1">
              <a:prstTxWarp prst="textNoShape">
                <a:avLst/>
              </a:prstTxWarp>
              <a:noAutofit/>
            </a:bodyPr>
            <a:lstStyle/>
            <a:p>
              <a:pPr algn="ctr" defTabSz="580155">
                <a:spcBef>
                  <a:spcPts val="747"/>
                </a:spcBef>
                <a:defRPr/>
              </a:pPr>
              <a:r>
                <a:rPr lang="en-US" sz="1400" dirty="0">
                  <a:gradFill>
                    <a:gsLst>
                      <a:gs pos="41958">
                        <a:srgbClr val="FFFFFF"/>
                      </a:gs>
                      <a:gs pos="63000">
                        <a:srgbClr val="FFFFFF"/>
                      </a:gs>
                    </a:gsLst>
                    <a:lin ang="0" scaled="0"/>
                  </a:gradFill>
                  <a:latin typeface="Segoe UI Semibold"/>
                </a:rPr>
                <a:t>67% say it saves  time</a:t>
              </a:r>
            </a:p>
            <a:p>
              <a:pPr algn="ctr" defTabSz="580155">
                <a:spcBef>
                  <a:spcPts val="747"/>
                </a:spcBef>
                <a:defRPr/>
              </a:pPr>
              <a:r>
                <a:rPr lang="en-US" sz="1400" dirty="0">
                  <a:gradFill>
                    <a:gsLst>
                      <a:gs pos="41958">
                        <a:srgbClr val="FFFFFF"/>
                      </a:gs>
                      <a:gs pos="63000">
                        <a:srgbClr val="FFFFFF"/>
                      </a:gs>
                    </a:gsLst>
                    <a:lin ang="0" scaled="0"/>
                  </a:gradFill>
                  <a:latin typeface="Segoe UI Semibold"/>
                </a:rPr>
                <a:t> 50% say </a:t>
              </a:r>
              <a:br>
                <a:rPr lang="en-US" sz="1400" dirty="0">
                  <a:gradFill>
                    <a:gsLst>
                      <a:gs pos="41958">
                        <a:srgbClr val="FFFFFF"/>
                      </a:gs>
                      <a:gs pos="63000">
                        <a:srgbClr val="FFFFFF"/>
                      </a:gs>
                    </a:gsLst>
                    <a:lin ang="0" scaled="0"/>
                  </a:gradFill>
                  <a:latin typeface="Segoe UI Semibold"/>
                </a:rPr>
              </a:br>
              <a:r>
                <a:rPr lang="en-US" sz="1400" dirty="0">
                  <a:gradFill>
                    <a:gsLst>
                      <a:gs pos="41958">
                        <a:srgbClr val="FFFFFF"/>
                      </a:gs>
                      <a:gs pos="63000">
                        <a:srgbClr val="FFFFFF"/>
                      </a:gs>
                    </a:gsLst>
                    <a:lin ang="0" scaled="0"/>
                  </a:gradFill>
                  <a:latin typeface="Segoe UI Semibold"/>
                </a:rPr>
                <a:t>it improves the </a:t>
              </a:r>
              <a:br>
                <a:rPr lang="en-US" sz="1400" dirty="0">
                  <a:gradFill>
                    <a:gsLst>
                      <a:gs pos="41958">
                        <a:srgbClr val="FFFFFF"/>
                      </a:gs>
                      <a:gs pos="63000">
                        <a:srgbClr val="FFFFFF"/>
                      </a:gs>
                    </a:gsLst>
                    <a:lin ang="0" scaled="0"/>
                  </a:gradFill>
                  <a:latin typeface="Segoe UI Semibold"/>
                </a:rPr>
              </a:br>
              <a:r>
                <a:rPr lang="en-US" sz="1400" dirty="0">
                  <a:gradFill>
                    <a:gsLst>
                      <a:gs pos="41958">
                        <a:srgbClr val="FFFFFF"/>
                      </a:gs>
                      <a:gs pos="63000">
                        <a:srgbClr val="FFFFFF"/>
                      </a:gs>
                    </a:gsLst>
                    <a:lin ang="0" scaled="0"/>
                  </a:gradFill>
                  <a:latin typeface="Segoe UI Semibold"/>
                </a:rPr>
                <a:t>work quality </a:t>
              </a:r>
            </a:p>
          </p:txBody>
        </p:sp>
        <p:sp>
          <p:nvSpPr>
            <p:cNvPr id="39" name="TextBox 38">
              <a:extLst>
                <a:ext uri="{FF2B5EF4-FFF2-40B4-BE49-F238E27FC236}">
                  <a16:creationId xmlns:a16="http://schemas.microsoft.com/office/drawing/2014/main" id="{25420FDE-2A71-1415-05F3-ED16AAC73F47}"/>
                </a:ext>
              </a:extLst>
            </p:cNvPr>
            <p:cNvSpPr txBox="1"/>
            <p:nvPr/>
          </p:nvSpPr>
          <p:spPr>
            <a:xfrm>
              <a:off x="12428987" y="3559855"/>
              <a:ext cx="1261413"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Marketing</a:t>
              </a:r>
            </a:p>
          </p:txBody>
        </p:sp>
        <p:sp>
          <p:nvSpPr>
            <p:cNvPr id="154" name="Rectangle: Rounded Corners 153">
              <a:extLst>
                <a:ext uri="{FF2B5EF4-FFF2-40B4-BE49-F238E27FC236}">
                  <a16:creationId xmlns:a16="http://schemas.microsoft.com/office/drawing/2014/main" id="{8DE794C0-479E-3359-1661-457E3668C5AD}"/>
                </a:ext>
              </a:extLst>
            </p:cNvPr>
            <p:cNvSpPr/>
            <p:nvPr/>
          </p:nvSpPr>
          <p:spPr bwMode="auto">
            <a:xfrm>
              <a:off x="1173381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11" name="Group 10">
            <a:extLst>
              <a:ext uri="{FF2B5EF4-FFF2-40B4-BE49-F238E27FC236}">
                <a16:creationId xmlns:a16="http://schemas.microsoft.com/office/drawing/2014/main" id="{5A3F3AC1-9371-8614-5F55-7273A13DE016}"/>
              </a:ext>
            </a:extLst>
          </p:cNvPr>
          <p:cNvGrpSpPr/>
          <p:nvPr/>
        </p:nvGrpSpPr>
        <p:grpSpPr>
          <a:xfrm>
            <a:off x="7029198" y="3724313"/>
            <a:ext cx="1952394" cy="2625634"/>
            <a:chOff x="14522733" y="2017713"/>
            <a:chExt cx="2651760" cy="3566160"/>
          </a:xfrm>
        </p:grpSpPr>
        <p:pic>
          <p:nvPicPr>
            <p:cNvPr id="145" name="Picture 144">
              <a:extLst>
                <a:ext uri="{FF2B5EF4-FFF2-40B4-BE49-F238E27FC236}">
                  <a16:creationId xmlns:a16="http://schemas.microsoft.com/office/drawing/2014/main" id="{94093D9F-00B6-C92F-55FE-1D53206D011F}"/>
                </a:ext>
              </a:extLst>
            </p:cNvPr>
            <p:cNvPicPr>
              <a:picLocks noChangeAspect="1"/>
            </p:cNvPicPr>
            <p:nvPr/>
          </p:nvPicPr>
          <p:blipFill rotWithShape="1">
            <a:blip r:embed="rId8"/>
            <a:srcRect l="26809" t="6959" r="15847" b="25079"/>
            <a:stretch/>
          </p:blipFill>
          <p:spPr>
            <a:xfrm>
              <a:off x="1461417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32" name="Rectangle 31">
              <a:extLst>
                <a:ext uri="{FF2B5EF4-FFF2-40B4-BE49-F238E27FC236}">
                  <a16:creationId xmlns:a16="http://schemas.microsoft.com/office/drawing/2014/main" id="{17E00DB6-EEBC-E9B0-899A-A894D69ED53A}"/>
                </a:ext>
              </a:extLst>
            </p:cNvPr>
            <p:cNvSpPr/>
            <p:nvPr/>
          </p:nvSpPr>
          <p:spPr bwMode="auto">
            <a:xfrm>
              <a:off x="1452273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6896" tIns="256032" rIns="56896" bIns="113792" numCol="1" spcCol="0" rtlCol="0" fromWordArt="0" anchor="t" anchorCtr="0" forceAA="0" compatLnSpc="1">
              <a:prstTxWarp prst="textNoShape">
                <a:avLst/>
              </a:prstTxWarp>
              <a:noAutofit/>
            </a:bodyPr>
            <a:lstStyle/>
            <a:p>
              <a:pPr algn="ctr" defTabSz="580155">
                <a:spcBef>
                  <a:spcPts val="747"/>
                </a:spcBef>
                <a:defRPr/>
              </a:pPr>
              <a:r>
                <a:rPr lang="en-US" sz="1600" dirty="0">
                  <a:gradFill>
                    <a:gsLst>
                      <a:gs pos="41958">
                        <a:srgbClr val="FFFFFF"/>
                      </a:gs>
                      <a:gs pos="63000">
                        <a:srgbClr val="FFFFFF"/>
                      </a:gs>
                    </a:gsLst>
                    <a:lin ang="0" scaled="0"/>
                  </a:gradFill>
                  <a:latin typeface="Segoe UI Semibold"/>
                </a:rPr>
                <a:t>Streamline the </a:t>
              </a:r>
              <a:br>
                <a:rPr lang="en-US" sz="1600" dirty="0">
                  <a:gradFill>
                    <a:gsLst>
                      <a:gs pos="41958">
                        <a:srgbClr val="FFFFFF"/>
                      </a:gs>
                      <a:gs pos="63000">
                        <a:srgbClr val="FFFFFF"/>
                      </a:gs>
                    </a:gsLst>
                    <a:lin ang="0" scaled="0"/>
                  </a:gradFill>
                  <a:latin typeface="Segoe UI Semibold"/>
                </a:rPr>
              </a:br>
              <a:r>
                <a:rPr lang="en-US" sz="1600" dirty="0">
                  <a:gradFill>
                    <a:gsLst>
                      <a:gs pos="41958">
                        <a:srgbClr val="FFFFFF"/>
                      </a:gs>
                      <a:gs pos="63000">
                        <a:srgbClr val="FFFFFF"/>
                      </a:gs>
                    </a:gsLst>
                    <a:lin ang="0" scaled="0"/>
                  </a:gradFill>
                  <a:latin typeface="Segoe UI Semibold"/>
                </a:rPr>
                <a:t>process of checking </a:t>
              </a:r>
              <a:br>
                <a:rPr lang="en-US" sz="1600" dirty="0">
                  <a:gradFill>
                    <a:gsLst>
                      <a:gs pos="41958">
                        <a:srgbClr val="FFFFFF"/>
                      </a:gs>
                      <a:gs pos="63000">
                        <a:srgbClr val="FFFFFF"/>
                      </a:gs>
                    </a:gsLst>
                    <a:lin ang="0" scaled="0"/>
                  </a:gradFill>
                  <a:latin typeface="Segoe UI Semibold"/>
                </a:rPr>
              </a:br>
              <a:r>
                <a:rPr lang="en-US" sz="1600" dirty="0">
                  <a:gradFill>
                    <a:gsLst>
                      <a:gs pos="41958">
                        <a:srgbClr val="FFFFFF"/>
                      </a:gs>
                      <a:gs pos="63000">
                        <a:srgbClr val="FFFFFF"/>
                      </a:gs>
                    </a:gsLst>
                    <a:lin ang="0" scaled="0"/>
                  </a:gradFill>
                  <a:latin typeface="Segoe UI Semibold"/>
                </a:rPr>
                <a:t>and answering emails</a:t>
              </a:r>
            </a:p>
          </p:txBody>
        </p:sp>
        <p:sp>
          <p:nvSpPr>
            <p:cNvPr id="34" name="TextBox 33">
              <a:extLst>
                <a:ext uri="{FF2B5EF4-FFF2-40B4-BE49-F238E27FC236}">
                  <a16:creationId xmlns:a16="http://schemas.microsoft.com/office/drawing/2014/main" id="{200858A3-3473-ABDB-35D4-8A39A04CA098}"/>
                </a:ext>
              </a:extLst>
            </p:cNvPr>
            <p:cNvSpPr txBox="1"/>
            <p:nvPr/>
          </p:nvSpPr>
          <p:spPr>
            <a:xfrm>
              <a:off x="15434642" y="3559855"/>
              <a:ext cx="827944"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Sales</a:t>
              </a:r>
            </a:p>
          </p:txBody>
        </p:sp>
        <p:sp>
          <p:nvSpPr>
            <p:cNvPr id="155" name="Rectangle: Rounded Corners 154">
              <a:extLst>
                <a:ext uri="{FF2B5EF4-FFF2-40B4-BE49-F238E27FC236}">
                  <a16:creationId xmlns:a16="http://schemas.microsoft.com/office/drawing/2014/main" id="{F2E4B199-BA40-0C42-4516-F0FB41A4FF0F}"/>
                </a:ext>
              </a:extLst>
            </p:cNvPr>
            <p:cNvSpPr/>
            <p:nvPr/>
          </p:nvSpPr>
          <p:spPr bwMode="auto">
            <a:xfrm>
              <a:off x="1452273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12" name="Group 11">
            <a:extLst>
              <a:ext uri="{FF2B5EF4-FFF2-40B4-BE49-F238E27FC236}">
                <a16:creationId xmlns:a16="http://schemas.microsoft.com/office/drawing/2014/main" id="{4E6880A5-F6A3-78FD-4B5C-0CA3989072A7}"/>
              </a:ext>
            </a:extLst>
          </p:cNvPr>
          <p:cNvGrpSpPr/>
          <p:nvPr/>
        </p:nvGrpSpPr>
        <p:grpSpPr>
          <a:xfrm>
            <a:off x="2133023" y="3724313"/>
            <a:ext cx="1952394" cy="2625634"/>
            <a:chOff x="17311653" y="2017713"/>
            <a:chExt cx="2651760" cy="3566160"/>
          </a:xfrm>
        </p:grpSpPr>
        <p:pic>
          <p:nvPicPr>
            <p:cNvPr id="146" name="Picture 145">
              <a:extLst>
                <a:ext uri="{FF2B5EF4-FFF2-40B4-BE49-F238E27FC236}">
                  <a16:creationId xmlns:a16="http://schemas.microsoft.com/office/drawing/2014/main" id="{54E0BD0B-8F28-3454-C070-02B8952D3F7C}"/>
                </a:ext>
              </a:extLst>
            </p:cNvPr>
            <p:cNvPicPr>
              <a:picLocks noChangeAspect="1"/>
            </p:cNvPicPr>
            <p:nvPr/>
          </p:nvPicPr>
          <p:blipFill rotWithShape="1">
            <a:blip r:embed="rId9"/>
            <a:srcRect l="6481" t="1451" r="15153" b="5657"/>
            <a:stretch/>
          </p:blipFill>
          <p:spPr>
            <a:xfrm>
              <a:off x="1740309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23" name="Rectangle 22">
              <a:extLst>
                <a:ext uri="{FF2B5EF4-FFF2-40B4-BE49-F238E27FC236}">
                  <a16:creationId xmlns:a16="http://schemas.microsoft.com/office/drawing/2014/main" id="{1B21AC50-E649-9840-3D33-59783183AB08}"/>
                </a:ext>
              </a:extLst>
            </p:cNvPr>
            <p:cNvSpPr/>
            <p:nvPr/>
          </p:nvSpPr>
          <p:spPr bwMode="auto">
            <a:xfrm>
              <a:off x="1731165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sz="1600" dirty="0">
                  <a:gradFill>
                    <a:gsLst>
                      <a:gs pos="41958">
                        <a:srgbClr val="FFFFFF"/>
                      </a:gs>
                      <a:gs pos="63000">
                        <a:srgbClr val="FFFFFF"/>
                      </a:gs>
                    </a:gsLst>
                    <a:lin ang="0" scaled="0"/>
                  </a:gradFill>
                  <a:latin typeface="Segoe UI Semibold"/>
                </a:rPr>
                <a:t>Resolve 14% more </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customer issues </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per hour </a:t>
              </a:r>
            </a:p>
          </p:txBody>
        </p:sp>
        <p:sp>
          <p:nvSpPr>
            <p:cNvPr id="25" name="TextBox 24">
              <a:extLst>
                <a:ext uri="{FF2B5EF4-FFF2-40B4-BE49-F238E27FC236}">
                  <a16:creationId xmlns:a16="http://schemas.microsoft.com/office/drawing/2014/main" id="{E1BE1F63-3ABD-963E-4AF6-9786FD9BFAD0}"/>
                </a:ext>
              </a:extLst>
            </p:cNvPr>
            <p:cNvSpPr txBox="1"/>
            <p:nvPr/>
          </p:nvSpPr>
          <p:spPr>
            <a:xfrm>
              <a:off x="17719417" y="3559855"/>
              <a:ext cx="1836233"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a:t>Customer service</a:t>
              </a:r>
            </a:p>
          </p:txBody>
        </p:sp>
        <p:sp>
          <p:nvSpPr>
            <p:cNvPr id="156" name="Rectangle: Rounded Corners 155">
              <a:extLst>
                <a:ext uri="{FF2B5EF4-FFF2-40B4-BE49-F238E27FC236}">
                  <a16:creationId xmlns:a16="http://schemas.microsoft.com/office/drawing/2014/main" id="{0EF6A2CE-DD99-789A-3453-B82AA76E194C}"/>
                </a:ext>
              </a:extLst>
            </p:cNvPr>
            <p:cNvSpPr/>
            <p:nvPr/>
          </p:nvSpPr>
          <p:spPr bwMode="auto">
            <a:xfrm>
              <a:off x="1731165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grpSp>
        <p:nvGrpSpPr>
          <p:cNvPr id="13" name="Group 12">
            <a:extLst>
              <a:ext uri="{FF2B5EF4-FFF2-40B4-BE49-F238E27FC236}">
                <a16:creationId xmlns:a16="http://schemas.microsoft.com/office/drawing/2014/main" id="{6C13D65F-6B17-7822-22B7-6DB27C86A364}"/>
              </a:ext>
            </a:extLst>
          </p:cNvPr>
          <p:cNvGrpSpPr/>
          <p:nvPr/>
        </p:nvGrpSpPr>
        <p:grpSpPr>
          <a:xfrm>
            <a:off x="4581110" y="3724313"/>
            <a:ext cx="1952394" cy="2625634"/>
            <a:chOff x="20100573" y="2017713"/>
            <a:chExt cx="2651760" cy="3566160"/>
          </a:xfrm>
        </p:grpSpPr>
        <p:pic>
          <p:nvPicPr>
            <p:cNvPr id="147" name="Picture 146">
              <a:extLst>
                <a:ext uri="{FF2B5EF4-FFF2-40B4-BE49-F238E27FC236}">
                  <a16:creationId xmlns:a16="http://schemas.microsoft.com/office/drawing/2014/main" id="{216BD9B6-2F50-9DB1-83A7-38BB9E04404E}"/>
                </a:ext>
              </a:extLst>
            </p:cNvPr>
            <p:cNvPicPr>
              <a:picLocks noChangeAspect="1"/>
            </p:cNvPicPr>
            <p:nvPr/>
          </p:nvPicPr>
          <p:blipFill rotWithShape="1">
            <a:blip r:embed="rId10"/>
            <a:srcRect l="6830" t="4566" r="21340" b="23641"/>
            <a:stretch/>
          </p:blipFill>
          <p:spPr>
            <a:xfrm>
              <a:off x="20192013" y="2109152"/>
              <a:ext cx="2468880" cy="1645920"/>
            </a:xfrm>
            <a:prstGeom prst="roundRect">
              <a:avLst>
                <a:gd name="adj" fmla="val 5324"/>
              </a:avLst>
            </a:prstGeom>
            <a:noFill/>
            <a:ln w="15875">
              <a:noFill/>
              <a:headEnd type="none" w="med" len="med"/>
              <a:tailEnd type="none" w="med" len="med"/>
            </a:ln>
            <a:effectLst>
              <a:outerShdw blurRad="63500" dist="127000" dir="2700000" algn="tl" rotWithShape="0">
                <a:prstClr val="black">
                  <a:alpha val="50000"/>
                </a:prstClr>
              </a:outerShdw>
            </a:effectLst>
          </p:spPr>
        </p:pic>
        <p:sp>
          <p:nvSpPr>
            <p:cNvPr id="56" name="Rectangle 55">
              <a:extLst>
                <a:ext uri="{FF2B5EF4-FFF2-40B4-BE49-F238E27FC236}">
                  <a16:creationId xmlns:a16="http://schemas.microsoft.com/office/drawing/2014/main" id="{A39D62D3-B092-F356-1109-092C4B166075}"/>
                </a:ext>
              </a:extLst>
            </p:cNvPr>
            <p:cNvSpPr/>
            <p:nvPr/>
          </p:nvSpPr>
          <p:spPr bwMode="auto">
            <a:xfrm>
              <a:off x="20100573" y="3755073"/>
              <a:ext cx="2651760" cy="1828800"/>
            </a:xfrm>
            <a:prstGeom prst="rect">
              <a:avLst/>
            </a:prstGeom>
            <a:no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0688" tIns="256032" rIns="170688" bIns="113792" numCol="1" spcCol="0" rtlCol="0" fromWordArt="0" anchor="t" anchorCtr="0" forceAA="0" compatLnSpc="1">
              <a:prstTxWarp prst="textNoShape">
                <a:avLst/>
              </a:prstTxWarp>
              <a:noAutofit/>
            </a:bodyPr>
            <a:lstStyle/>
            <a:p>
              <a:pPr algn="ctr" defTabSz="580155">
                <a:spcBef>
                  <a:spcPts val="747"/>
                </a:spcBef>
                <a:defRPr/>
              </a:pPr>
              <a:r>
                <a:rPr lang="en-IN" sz="1600" dirty="0">
                  <a:gradFill>
                    <a:gsLst>
                      <a:gs pos="41958">
                        <a:srgbClr val="FFFFFF"/>
                      </a:gs>
                      <a:gs pos="63000">
                        <a:srgbClr val="FFFFFF"/>
                      </a:gs>
                    </a:gsLst>
                    <a:lin ang="0" scaled="0"/>
                  </a:gradFill>
                  <a:latin typeface="Segoe UI Semibold"/>
                </a:rPr>
                <a:t>Respond to </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threats in minutes,</a:t>
              </a:r>
              <a:br>
                <a:rPr lang="en-IN" sz="1600" dirty="0">
                  <a:gradFill>
                    <a:gsLst>
                      <a:gs pos="41958">
                        <a:srgbClr val="FFFFFF"/>
                      </a:gs>
                      <a:gs pos="63000">
                        <a:srgbClr val="FFFFFF"/>
                      </a:gs>
                    </a:gsLst>
                    <a:lin ang="0" scaled="0"/>
                  </a:gradFill>
                  <a:latin typeface="Segoe UI Semibold"/>
                </a:rPr>
              </a:br>
              <a:r>
                <a:rPr lang="en-IN" sz="1600" dirty="0">
                  <a:gradFill>
                    <a:gsLst>
                      <a:gs pos="41958">
                        <a:srgbClr val="FFFFFF"/>
                      </a:gs>
                      <a:gs pos="63000">
                        <a:srgbClr val="FFFFFF"/>
                      </a:gs>
                    </a:gsLst>
                    <a:lin ang="0" scaled="0"/>
                  </a:gradFill>
                  <a:latin typeface="Segoe UI Semibold"/>
                </a:rPr>
                <a:t>not hours</a:t>
              </a:r>
            </a:p>
          </p:txBody>
        </p:sp>
        <p:sp>
          <p:nvSpPr>
            <p:cNvPr id="59" name="TextBox 58">
              <a:extLst>
                <a:ext uri="{FF2B5EF4-FFF2-40B4-BE49-F238E27FC236}">
                  <a16:creationId xmlns:a16="http://schemas.microsoft.com/office/drawing/2014/main" id="{1CD7F956-530C-DC5D-610C-BBA9577316CA}"/>
                </a:ext>
              </a:extLst>
            </p:cNvPr>
            <p:cNvSpPr txBox="1"/>
            <p:nvPr/>
          </p:nvSpPr>
          <p:spPr>
            <a:xfrm>
              <a:off x="20410694" y="3559855"/>
              <a:ext cx="2031516" cy="390439"/>
            </a:xfrm>
            <a:prstGeom prst="roundRect">
              <a:avLst>
                <a:gd name="adj" fmla="val 50000"/>
              </a:avLst>
            </a:prstGeom>
            <a:gradFill flip="none" rotWithShape="1">
              <a:gsLst>
                <a:gs pos="35000">
                  <a:srgbClr val="8DC8E8"/>
                </a:gs>
                <a:gs pos="10000">
                  <a:srgbClr val="D59ED7"/>
                </a:gs>
              </a:gsLst>
              <a:path path="circle">
                <a:fillToRect l="100000" t="100000"/>
              </a:path>
              <a:tileRect r="-100000" b="-100000"/>
            </a:gradFill>
            <a:ln>
              <a:no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380" rIns="0" bIns="28448" numCol="1" spcCol="0" rtlCol="0" fromWordArt="0" anchor="ctr" anchorCtr="0" forceAA="0" compatLnSpc="1">
              <a:prstTxWarp prst="textNoShape">
                <a:avLst/>
              </a:prstTxWarp>
              <a:spAutoFit/>
            </a:bodyPr>
            <a:lstStyle>
              <a:defPPr>
                <a:defRPr lang="en-US"/>
              </a:defPPr>
              <a:lvl1pPr lvl="0" algn="ctr" fontAlgn="base">
                <a:lnSpc>
                  <a:spcPct val="100000"/>
                </a:lnSpc>
                <a:spcBef>
                  <a:spcPct val="0"/>
                </a:spcBef>
                <a:spcAft>
                  <a:spcPct val="0"/>
                </a:spcAft>
                <a:defRPr sz="1400" b="1">
                  <a:ln w="3175">
                    <a:noFill/>
                  </a:ln>
                  <a:gradFill>
                    <a:gsLst>
                      <a:gs pos="77528">
                        <a:srgbClr val="000000"/>
                      </a:gs>
                      <a:gs pos="53933">
                        <a:srgbClr val="000000"/>
                      </a:gs>
                    </a:gsLst>
                    <a:path path="circle">
                      <a:fillToRect l="100000" b="100000"/>
                    </a:path>
                  </a:gradFill>
                  <a:latin typeface="+mj-lt"/>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defRPr/>
              </a:pPr>
              <a:r>
                <a:rPr lang="en-IN" sz="1067" dirty="0"/>
                <a:t>Security operations</a:t>
              </a:r>
            </a:p>
          </p:txBody>
        </p:sp>
        <p:sp>
          <p:nvSpPr>
            <p:cNvPr id="157" name="Rectangle: Rounded Corners 156">
              <a:extLst>
                <a:ext uri="{FF2B5EF4-FFF2-40B4-BE49-F238E27FC236}">
                  <a16:creationId xmlns:a16="http://schemas.microsoft.com/office/drawing/2014/main" id="{F4951807-F8B5-1CF3-E2AD-A3816A58B63D}"/>
                </a:ext>
              </a:extLst>
            </p:cNvPr>
            <p:cNvSpPr/>
            <p:nvPr/>
          </p:nvSpPr>
          <p:spPr bwMode="auto">
            <a:xfrm>
              <a:off x="20100573" y="2017713"/>
              <a:ext cx="2651760" cy="3566160"/>
            </a:xfrm>
            <a:prstGeom prst="roundRect">
              <a:avLst>
                <a:gd name="adj" fmla="val 3359"/>
              </a:avLst>
            </a:prstGeom>
            <a:noFill/>
            <a:ln w="2540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580155">
                <a:spcBef>
                  <a:spcPts val="124"/>
                </a:spcBef>
              </a:pPr>
              <a:endParaRPr lang="en-IN" sz="2000">
                <a:gradFill>
                  <a:gsLst>
                    <a:gs pos="41958">
                      <a:srgbClr val="FFFFFF"/>
                    </a:gs>
                    <a:gs pos="63000">
                      <a:srgbClr val="FFFFFF"/>
                    </a:gs>
                  </a:gsLst>
                  <a:lin ang="0" scaled="0"/>
                </a:gradFill>
                <a:latin typeface="+mj-lt"/>
              </a:endParaRPr>
            </a:p>
          </p:txBody>
        </p:sp>
      </p:grpSp>
      <p:sp>
        <p:nvSpPr>
          <p:cNvPr id="132" name="TextBox 131">
            <a:extLst>
              <a:ext uri="{FF2B5EF4-FFF2-40B4-BE49-F238E27FC236}">
                <a16:creationId xmlns:a16="http://schemas.microsoft.com/office/drawing/2014/main" id="{C5A3A7F5-B67C-A534-1386-3862698CD070}"/>
              </a:ext>
            </a:extLst>
          </p:cNvPr>
          <p:cNvSpPr txBox="1"/>
          <p:nvPr/>
        </p:nvSpPr>
        <p:spPr>
          <a:xfrm>
            <a:off x="-25777372" y="3907972"/>
            <a:ext cx="65" cy="102657"/>
          </a:xfrm>
          <a:prstGeom prst="rect">
            <a:avLst/>
          </a:prstGeom>
          <a:noFill/>
        </p:spPr>
        <p:txBody>
          <a:bodyPr wrap="none" lIns="0" tIns="0" rIns="0" bIns="0" rtlCol="0">
            <a:spAutoFit/>
          </a:bodyPr>
          <a:lstStyle/>
          <a:p>
            <a:pPr algn="l"/>
            <a:endParaRPr lang="en-US" sz="667" err="1"/>
          </a:p>
        </p:txBody>
      </p:sp>
    </p:spTree>
    <p:extLst>
      <p:ext uri="{BB962C8B-B14F-4D97-AF65-F5344CB8AC3E}">
        <p14:creationId xmlns:p14="http://schemas.microsoft.com/office/powerpoint/2010/main" val="7833418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0 2.70833E-6 L 0 0.01975 " pathEditMode="relative" rAng="0" ptsTypes="AA">
                                      <p:cBhvr>
                                        <p:cTn id="9" dur="500" spd="-100000" fill="hold"/>
                                        <p:tgtEl>
                                          <p:spTgt spid="4"/>
                                        </p:tgtEl>
                                        <p:attrNameLst>
                                          <p:attrName>ppt_x</p:attrName>
                                          <p:attrName>ppt_y</p:attrName>
                                        </p:attrNameLst>
                                      </p:cBhvr>
                                      <p:rCtr x="0" y="987"/>
                                    </p:animMotion>
                                  </p:childTnLst>
                                </p:cTn>
                              </p:par>
                              <p:par>
                                <p:cTn id="10" presetID="10" presetClass="entr" presetSubtype="0" fill="hold"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6" presetClass="emph" presetSubtype="0" autoRev="1" fill="hold" nodeType="withEffect">
                                  <p:stCondLst>
                                    <p:cond delay="0"/>
                                  </p:stCondLst>
                                  <p:childTnLst>
                                    <p:animScale>
                                      <p:cBhvr>
                                        <p:cTn id="14" dur="500" fill="hold"/>
                                        <p:tgtEl>
                                          <p:spTgt spid="6"/>
                                        </p:tgtEl>
                                      </p:cBhvr>
                                      <p:by x="90000" y="90000"/>
                                    </p:animScale>
                                  </p:childTnLst>
                                </p:cTn>
                              </p:par>
                              <p:par>
                                <p:cTn id="15" presetID="10" presetClass="entr" presetSubtype="0" fill="hold" nodeType="withEffect">
                                  <p:stCondLst>
                                    <p:cond delay="55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6" presetClass="emph" presetSubtype="0" autoRev="1" fill="hold" nodeType="withEffect">
                                  <p:stCondLst>
                                    <p:cond delay="50"/>
                                  </p:stCondLst>
                                  <p:childTnLst>
                                    <p:animScale>
                                      <p:cBhvr>
                                        <p:cTn id="19" dur="500" fill="hold"/>
                                        <p:tgtEl>
                                          <p:spTgt spid="7"/>
                                        </p:tgtEl>
                                      </p:cBhvr>
                                      <p:by x="90000" y="90000"/>
                                    </p:animScale>
                                  </p:childTnLst>
                                </p:cTn>
                              </p:par>
                              <p:par>
                                <p:cTn id="20" presetID="10" presetClass="entr" presetSubtype="0" fill="hold" nodeType="withEffect">
                                  <p:stCondLst>
                                    <p:cond delay="6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6" presetClass="emph" presetSubtype="0" autoRev="1" fill="hold" nodeType="withEffect">
                                  <p:stCondLst>
                                    <p:cond delay="100"/>
                                  </p:stCondLst>
                                  <p:childTnLst>
                                    <p:animScale>
                                      <p:cBhvr>
                                        <p:cTn id="24" dur="500" fill="hold"/>
                                        <p:tgtEl>
                                          <p:spTgt spid="8"/>
                                        </p:tgtEl>
                                      </p:cBhvr>
                                      <p:by x="90000" y="90000"/>
                                    </p:animScale>
                                  </p:childTnLst>
                                </p:cTn>
                              </p:par>
                              <p:par>
                                <p:cTn id="25" presetID="10" presetClass="entr" presetSubtype="0" fill="hold" nodeType="withEffect">
                                  <p:stCondLst>
                                    <p:cond delay="65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6" presetClass="emph" presetSubtype="0" autoRev="1" fill="hold" nodeType="withEffect">
                                  <p:stCondLst>
                                    <p:cond delay="150"/>
                                  </p:stCondLst>
                                  <p:childTnLst>
                                    <p:animScale>
                                      <p:cBhvr>
                                        <p:cTn id="29" dur="500" fill="hold"/>
                                        <p:tgtEl>
                                          <p:spTgt spid="9"/>
                                        </p:tgtEl>
                                      </p:cBhvr>
                                      <p:by x="90000" y="90000"/>
                                    </p:animScale>
                                  </p:childTnLst>
                                </p:cTn>
                              </p:par>
                              <p:par>
                                <p:cTn id="30" presetID="10" presetClass="entr" presetSubtype="0" fill="hold" nodeType="withEffect">
                                  <p:stCondLst>
                                    <p:cond delay="70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6" presetClass="emph" presetSubtype="0" autoRev="1" fill="hold" nodeType="withEffect">
                                  <p:stCondLst>
                                    <p:cond delay="200"/>
                                  </p:stCondLst>
                                  <p:childTnLst>
                                    <p:animScale>
                                      <p:cBhvr>
                                        <p:cTn id="34" dur="500" fill="hold"/>
                                        <p:tgtEl>
                                          <p:spTgt spid="10"/>
                                        </p:tgtEl>
                                      </p:cBhvr>
                                      <p:by x="90000" y="90000"/>
                                    </p:animScale>
                                  </p:childTnLst>
                                </p:cTn>
                              </p:par>
                              <p:par>
                                <p:cTn id="35" presetID="10" presetClass="entr" presetSubtype="0" fill="hold" nodeType="withEffect">
                                  <p:stCondLst>
                                    <p:cond delay="75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6" presetClass="emph" presetSubtype="0" autoRev="1" fill="hold" nodeType="withEffect">
                                  <p:stCondLst>
                                    <p:cond delay="250"/>
                                  </p:stCondLst>
                                  <p:childTnLst>
                                    <p:animScale>
                                      <p:cBhvr>
                                        <p:cTn id="39" dur="500" fill="hold"/>
                                        <p:tgtEl>
                                          <p:spTgt spid="11"/>
                                        </p:tgtEl>
                                      </p:cBhvr>
                                      <p:by x="90000" y="90000"/>
                                    </p:animScale>
                                  </p:childTnLst>
                                </p:cTn>
                              </p:par>
                              <p:par>
                                <p:cTn id="40" presetID="10" presetClass="entr" presetSubtype="0" fill="hold" nodeType="withEffect">
                                  <p:stCondLst>
                                    <p:cond delay="80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par>
                                <p:cTn id="43" presetID="6" presetClass="emph" presetSubtype="0" autoRev="1" fill="hold" nodeType="withEffect">
                                  <p:stCondLst>
                                    <p:cond delay="300"/>
                                  </p:stCondLst>
                                  <p:childTnLst>
                                    <p:animScale>
                                      <p:cBhvr>
                                        <p:cTn id="44" dur="500" fill="hold"/>
                                        <p:tgtEl>
                                          <p:spTgt spid="12"/>
                                        </p:tgtEl>
                                      </p:cBhvr>
                                      <p:by x="90000" y="90000"/>
                                    </p:animScale>
                                  </p:childTnLst>
                                </p:cTn>
                              </p:par>
                              <p:par>
                                <p:cTn id="45" presetID="10" presetClass="entr" presetSubtype="0" fill="hold" nodeType="withEffect">
                                  <p:stCondLst>
                                    <p:cond delay="85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par>
                                <p:cTn id="48" presetID="6" presetClass="emph" presetSubtype="0" autoRev="1" fill="hold" nodeType="withEffect">
                                  <p:stCondLst>
                                    <p:cond delay="350"/>
                                  </p:stCondLst>
                                  <p:childTnLst>
                                    <p:animScale>
                                      <p:cBhvr>
                                        <p:cTn id="49" dur="500" fill="hold"/>
                                        <p:tgtEl>
                                          <p:spTgt spid="13"/>
                                        </p:tgtEl>
                                      </p:cBhvr>
                                      <p:by x="90000" y="90000"/>
                                    </p:animScale>
                                  </p:childTnLst>
                                </p:cTn>
                              </p:par>
                              <p:par>
                                <p:cTn id="50" presetID="42" presetClass="path" presetSubtype="0" repeatCount="indefinite" fill="hold" nodeType="withEffect">
                                  <p:stCondLst>
                                    <p:cond delay="4000"/>
                                  </p:stCondLst>
                                  <p:childTnLst>
                                    <p:animMotion origin="layout" path="M 3.125E-6 1.5625E-6 L -1.5158 -2.88194E-6 " pathEditMode="relative" rAng="0" ptsTypes="AA">
                                      <p:cBhvr>
                                        <p:cTn id="51" dur="120000" fill="hold"/>
                                        <p:tgtEl>
                                          <p:spTgt spid="6"/>
                                        </p:tgtEl>
                                        <p:attrNameLst>
                                          <p:attrName>ppt_x</p:attrName>
                                          <p:attrName>ppt_y</p:attrName>
                                        </p:attrNameLst>
                                      </p:cBhvr>
                                      <p:rCtr x="-75712" y="347"/>
                                    </p:animMotion>
                                  </p:childTnLst>
                                </p:cTn>
                              </p:par>
                              <p:par>
                                <p:cTn id="52" presetID="42" presetClass="path" presetSubtype="0" repeatCount="indefinite" fill="hold" nodeType="withEffect">
                                  <p:stCondLst>
                                    <p:cond delay="4000"/>
                                  </p:stCondLst>
                                  <p:childTnLst>
                                    <p:animMotion origin="layout" path="M 3.47222E-7 1.5625E-6 L -1.51575 -2.5E-6 " pathEditMode="relative" rAng="0" ptsTypes="AA">
                                      <p:cBhvr>
                                        <p:cTn id="53" dur="120000" fill="hold"/>
                                        <p:tgtEl>
                                          <p:spTgt spid="7"/>
                                        </p:tgtEl>
                                        <p:attrNameLst>
                                          <p:attrName>ppt_x</p:attrName>
                                          <p:attrName>ppt_y</p:attrName>
                                        </p:attrNameLst>
                                      </p:cBhvr>
                                      <p:rCtr x="-75747" y="-347"/>
                                    </p:animMotion>
                                  </p:childTnLst>
                                </p:cTn>
                              </p:par>
                              <p:par>
                                <p:cTn id="54" presetID="42" presetClass="path" presetSubtype="0" repeatCount="indefinite" fill="hold" nodeType="withEffect">
                                  <p:stCondLst>
                                    <p:cond delay="4000"/>
                                  </p:stCondLst>
                                  <p:childTnLst>
                                    <p:animMotion origin="layout" path="M -2.43056E-6 1.5625E-6 L -1.51576 -2.5E-6 " pathEditMode="relative" rAng="0" ptsTypes="AA">
                                      <p:cBhvr>
                                        <p:cTn id="55" dur="120000" fill="hold"/>
                                        <p:tgtEl>
                                          <p:spTgt spid="8"/>
                                        </p:tgtEl>
                                        <p:attrNameLst>
                                          <p:attrName>ppt_x</p:attrName>
                                          <p:attrName>ppt_y</p:attrName>
                                        </p:attrNameLst>
                                      </p:cBhvr>
                                      <p:rCtr x="-75859" y="-347"/>
                                    </p:animMotion>
                                  </p:childTnLst>
                                </p:cTn>
                              </p:par>
                              <p:par>
                                <p:cTn id="56" presetID="42" presetClass="path" presetSubtype="0" repeatCount="indefinite" fill="hold" nodeType="withEffect">
                                  <p:stCondLst>
                                    <p:cond delay="4000"/>
                                  </p:stCondLst>
                                  <p:childTnLst>
                                    <p:animMotion origin="layout" path="M 1.38889E-6 1.5625E-6 L -1.51576 -2.5E-6 " pathEditMode="relative" rAng="0" ptsTypes="AA">
                                      <p:cBhvr>
                                        <p:cTn id="57" dur="120000" fill="hold"/>
                                        <p:tgtEl>
                                          <p:spTgt spid="9"/>
                                        </p:tgtEl>
                                        <p:attrNameLst>
                                          <p:attrName>ppt_x</p:attrName>
                                          <p:attrName>ppt_y</p:attrName>
                                        </p:attrNameLst>
                                      </p:cBhvr>
                                      <p:rCtr x="-75742" y="-347"/>
                                    </p:animMotion>
                                  </p:childTnLst>
                                </p:cTn>
                              </p:par>
                              <p:par>
                                <p:cTn id="58" presetID="42" presetClass="path" presetSubtype="0" repeatCount="indefinite" fill="hold" nodeType="withEffect">
                                  <p:stCondLst>
                                    <p:cond delay="4000"/>
                                  </p:stCondLst>
                                  <p:childTnLst>
                                    <p:animMotion origin="layout" path="M -1.38889E-6 1.5625E-6 L -1.51576 1.21528E-6 " pathEditMode="relative" rAng="0" ptsTypes="AA">
                                      <p:cBhvr>
                                        <p:cTn id="59" dur="120000" fill="hold"/>
                                        <p:tgtEl>
                                          <p:spTgt spid="10"/>
                                        </p:tgtEl>
                                        <p:attrNameLst>
                                          <p:attrName>ppt_x</p:attrName>
                                          <p:attrName>ppt_y</p:attrName>
                                        </p:attrNameLst>
                                      </p:cBhvr>
                                      <p:rCtr x="-75747" y="-510"/>
                                    </p:animMotion>
                                  </p:childTnLst>
                                </p:cTn>
                              </p:par>
                              <p:par>
                                <p:cTn id="60" presetID="42" presetClass="path" presetSubtype="0" repeatCount="indefinite" fill="hold" nodeType="withEffect">
                                  <p:stCondLst>
                                    <p:cond delay="4000"/>
                                  </p:stCondLst>
                                  <p:childTnLst>
                                    <p:animMotion origin="layout" path="M 2.43056E-6 1.5625E-6 L -1.5158 -2.5E-6 " pathEditMode="relative" rAng="0" ptsTypes="AA">
                                      <p:cBhvr>
                                        <p:cTn id="61" dur="120000" fill="hold"/>
                                        <p:tgtEl>
                                          <p:spTgt spid="11"/>
                                        </p:tgtEl>
                                        <p:attrNameLst>
                                          <p:attrName>ppt_x</p:attrName>
                                          <p:attrName>ppt_y</p:attrName>
                                        </p:attrNameLst>
                                      </p:cBhvr>
                                      <p:rCtr x="-75764" y="-347"/>
                                    </p:animMotion>
                                  </p:childTnLst>
                                </p:cTn>
                              </p:par>
                              <p:par>
                                <p:cTn id="62" presetID="42" presetClass="path" presetSubtype="0" repeatCount="indefinite" fill="hold" nodeType="withEffect">
                                  <p:stCondLst>
                                    <p:cond delay="4000"/>
                                  </p:stCondLst>
                                  <p:childTnLst>
                                    <p:animMotion origin="layout" path="M -3.47222E-7 1.5625E-6 L -1.51576 -2.5E-6 " pathEditMode="relative" rAng="0" ptsTypes="AA">
                                      <p:cBhvr>
                                        <p:cTn id="63" dur="120000" fill="hold"/>
                                        <p:tgtEl>
                                          <p:spTgt spid="12"/>
                                        </p:tgtEl>
                                        <p:attrNameLst>
                                          <p:attrName>ppt_x</p:attrName>
                                          <p:attrName>ppt_y</p:attrName>
                                        </p:attrNameLst>
                                      </p:cBhvr>
                                      <p:rCtr x="-75799" y="-347"/>
                                    </p:animMotion>
                                  </p:childTnLst>
                                </p:cTn>
                              </p:par>
                              <p:par>
                                <p:cTn id="64" presetID="42" presetClass="path" presetSubtype="0" repeatCount="indefinite" fill="hold" nodeType="withEffect">
                                  <p:stCondLst>
                                    <p:cond delay="4000"/>
                                  </p:stCondLst>
                                  <p:childTnLst>
                                    <p:animMotion origin="layout" path="M -3.125E-6 1.5625E-6 L -1.51575 2.15278E-6 " pathEditMode="relative" rAng="0" ptsTypes="AA">
                                      <p:cBhvr>
                                        <p:cTn id="65" dur="120000" fill="hold"/>
                                        <p:tgtEl>
                                          <p:spTgt spid="13"/>
                                        </p:tgtEl>
                                        <p:attrNameLst>
                                          <p:attrName>ppt_x</p:attrName>
                                          <p:attrName>ppt_y</p:attrName>
                                        </p:attrNameLst>
                                      </p:cBhvr>
                                      <p:rCtr x="-75747" y="-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AEFCCC59-3058-0B33-51B0-98B7041E843D}"/>
              </a:ext>
              <a:ext uri="{C183D7F6-B498-43B3-948B-1728B52AA6E4}">
                <adec:decorative xmlns:adec="http://schemas.microsoft.com/office/drawing/2017/decorative" val="1"/>
              </a:ext>
            </a:extLst>
          </p:cNvPr>
          <p:cNvGrpSpPr/>
          <p:nvPr/>
        </p:nvGrpSpPr>
        <p:grpSpPr>
          <a:xfrm>
            <a:off x="0" y="0"/>
            <a:ext cx="12192000" cy="6858000"/>
            <a:chOff x="0" y="0"/>
            <a:chExt cx="12192000" cy="6858000"/>
          </a:xfrm>
        </p:grpSpPr>
        <p:pic>
          <p:nvPicPr>
            <p:cNvPr id="13" name="Picture 12" descr="A blue and white wavy design&#10;&#10;Description automatically generated">
              <a:extLst>
                <a:ext uri="{FF2B5EF4-FFF2-40B4-BE49-F238E27FC236}">
                  <a16:creationId xmlns:a16="http://schemas.microsoft.com/office/drawing/2014/main" id="{097EA43B-DE55-5876-896F-2E2645A81500}"/>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64000"/>
                      </a14:imgEffect>
                    </a14:imgLayer>
                  </a14:imgProps>
                </a:ext>
                <a:ext uri="{28A0092B-C50C-407E-A947-70E740481C1C}">
                  <a14:useLocalDpi xmlns:a14="http://schemas.microsoft.com/office/drawing/2010/main" val="0"/>
                </a:ext>
              </a:extLst>
            </a:blip>
            <a:srcRect l="28266" t="61909" b="1"/>
            <a:stretch/>
          </p:blipFill>
          <p:spPr>
            <a:xfrm>
              <a:off x="0" y="3239821"/>
              <a:ext cx="12192000" cy="3618179"/>
            </a:xfrm>
            <a:prstGeom prst="rect">
              <a:avLst/>
            </a:prstGeom>
          </p:spPr>
        </p:pic>
        <p:sp>
          <p:nvSpPr>
            <p:cNvPr id="15" name="Rectangle 14">
              <a:extLst>
                <a:ext uri="{FF2B5EF4-FFF2-40B4-BE49-F238E27FC236}">
                  <a16:creationId xmlns:a16="http://schemas.microsoft.com/office/drawing/2014/main" id="{57E5C981-9880-0F44-DEA6-54EF6D2C1DD9}"/>
                </a:ext>
              </a:extLst>
            </p:cNvPr>
            <p:cNvSpPr>
              <a:spLocks/>
            </p:cNvSpPr>
            <p:nvPr/>
          </p:nvSpPr>
          <p:spPr bwMode="auto">
            <a:xfrm>
              <a:off x="0" y="0"/>
              <a:ext cx="12192000" cy="6858000"/>
            </a:xfrm>
            <a:prstGeom prst="rect">
              <a:avLst/>
            </a:prstGeom>
            <a:gradFill flip="none" rotWithShape="1">
              <a:gsLst>
                <a:gs pos="0">
                  <a:srgbClr val="F7F7F8"/>
                </a:gs>
                <a:gs pos="100000">
                  <a:srgbClr val="F7F7F8">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Sans Text"/>
                <a:ea typeface="Segoe UI" pitchFamily="34" charset="0"/>
                <a:cs typeface="Segoe UI" pitchFamily="34" charset="0"/>
              </a:endParaRPr>
            </a:p>
          </p:txBody>
        </p:sp>
      </p:grpSp>
      <p:sp>
        <p:nvSpPr>
          <p:cNvPr id="1620" name="Rectangle: Rounded Corners 1619">
            <a:extLst>
              <a:ext uri="{FF2B5EF4-FFF2-40B4-BE49-F238E27FC236}">
                <a16:creationId xmlns:a16="http://schemas.microsoft.com/office/drawing/2014/main" id="{D1D56AE0-6490-41C9-2C4C-F237DCAC5992}"/>
              </a:ext>
              <a:ext uri="{C183D7F6-B498-43B3-948B-1728B52AA6E4}">
                <adec:decorative xmlns:adec="http://schemas.microsoft.com/office/drawing/2017/decorative" val="1"/>
              </a:ext>
            </a:extLst>
          </p:cNvPr>
          <p:cNvSpPr/>
          <p:nvPr/>
        </p:nvSpPr>
        <p:spPr bwMode="auto">
          <a:xfrm>
            <a:off x="9541445" y="1549402"/>
            <a:ext cx="2065338" cy="4813297"/>
          </a:xfrm>
          <a:prstGeom prst="roundRect">
            <a:avLst>
              <a:gd name="adj" fmla="val 4853"/>
            </a:avLst>
          </a:prstGeom>
          <a:gradFill flip="none" rotWithShape="1">
            <a:gsLst>
              <a:gs pos="0">
                <a:srgbClr val="8DC8E8">
                  <a:alpha val="60000"/>
                </a:srgbClr>
              </a:gs>
              <a:gs pos="22465">
                <a:srgbClr val="8DC8E8">
                  <a:alpha val="37112"/>
                </a:srgbClr>
              </a:gs>
              <a:gs pos="41583">
                <a:srgbClr val="D4EC8E">
                  <a:alpha val="0"/>
                </a:srgbClr>
              </a:gs>
              <a:gs pos="48805">
                <a:srgbClr val="D4EC8E">
                  <a:alpha val="0"/>
                </a:srgbClr>
              </a:gs>
              <a:gs pos="55970">
                <a:srgbClr val="D4EC8E">
                  <a:alpha val="0"/>
                </a:srgbClr>
              </a:gs>
              <a:gs pos="100000">
                <a:srgbClr val="D4EC8E">
                  <a:alpha val="32000"/>
                </a:srgbClr>
              </a:gs>
            </a:gsLst>
            <a:lin ang="13500000" scaled="1"/>
            <a:tileRect/>
          </a:gradFill>
          <a:ln w="28575">
            <a:solidFill>
              <a:schemeClr val="bg1"/>
            </a:solidFill>
            <a:miter lim="400000"/>
          </a:ln>
          <a:effectLst>
            <a:outerShdw blurRad="377557" sx="102000" sy="102000" algn="ctr" rotWithShape="0">
              <a:schemeClr val="bg1">
                <a:lumMod val="85000"/>
                <a:alpha val="40000"/>
              </a:schemeClr>
            </a:outerShdw>
          </a:effectLst>
        </p:spPr>
        <p:txBody>
          <a:bodyPr lIns="146304" tIns="146304" rIns="146304" bIns="14630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D2D2D2">
                  <a:lumMod val="10000"/>
                </a:srgbClr>
              </a:solidFill>
              <a:effectLst/>
              <a:uLnTx/>
              <a:uFillTx/>
              <a:latin typeface="Segoe Sans Display Semibold"/>
              <a:ea typeface="+mn-ea"/>
              <a:cs typeface="+mn-cs"/>
            </a:endParaRPr>
          </a:p>
        </p:txBody>
      </p:sp>
      <p:sp>
        <p:nvSpPr>
          <p:cNvPr id="6" name="Title 5">
            <a:extLst>
              <a:ext uri="{FF2B5EF4-FFF2-40B4-BE49-F238E27FC236}">
                <a16:creationId xmlns:a16="http://schemas.microsoft.com/office/drawing/2014/main" id="{6143DAFF-637D-776E-98E5-CBB550DC715C}"/>
              </a:ext>
            </a:extLst>
          </p:cNvPr>
          <p:cNvSpPr>
            <a:spLocks noGrp="1"/>
          </p:cNvSpPr>
          <p:nvPr>
            <p:ph type="title"/>
          </p:nvPr>
        </p:nvSpPr>
        <p:spPr/>
        <p:txBody>
          <a:bodyPr/>
          <a:lstStyle/>
          <a:p>
            <a:r>
              <a:rPr lang="en-US" dirty="0"/>
              <a:t>Choosing a </a:t>
            </a:r>
            <a:r>
              <a:rPr lang="en-US" b="1" dirty="0">
                <a:solidFill>
                  <a:schemeClr val="accent2"/>
                </a:solidFill>
              </a:rPr>
              <a:t>Copilot</a:t>
            </a:r>
          </a:p>
        </p:txBody>
      </p:sp>
      <p:sp>
        <p:nvSpPr>
          <p:cNvPr id="1500" name="Rectangle 1499">
            <a:extLst>
              <a:ext uri="{FF2B5EF4-FFF2-40B4-BE49-F238E27FC236}">
                <a16:creationId xmlns:a16="http://schemas.microsoft.com/office/drawing/2014/main" id="{B91AE5EE-511D-E119-ACEA-8982DB8B3761}"/>
              </a:ext>
              <a:ext uri="{C183D7F6-B498-43B3-948B-1728B52AA6E4}">
                <adec:decorative xmlns:adec="http://schemas.microsoft.com/office/drawing/2017/decorative" val="0"/>
              </a:ext>
            </a:extLst>
          </p:cNvPr>
          <p:cNvSpPr/>
          <p:nvPr/>
        </p:nvSpPr>
        <p:spPr bwMode="auto">
          <a:xfrm>
            <a:off x="588963" y="1064082"/>
            <a:ext cx="11017250" cy="30777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0" tIns="0" rIns="0" bIns="0" numCol="1" spcCol="0" rtlCol="0" fromWordArt="0" anchor="t" anchorCtr="0" forceAA="0" compatLnSpc="1">
            <a:prstTxWarp prst="textNoShape">
              <a:avLst/>
            </a:prstTxWarp>
            <a:spAutoFit/>
          </a:bodyPr>
          <a:lstStyle/>
          <a:p>
            <a:pPr marL="1270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000" b="0" i="0" u="none" strike="noStrike" kern="1200" cap="none" spc="0" normalizeH="0" baseline="0" noProof="0">
                <a:ln>
                  <a:noFill/>
                </a:ln>
                <a:solidFill>
                  <a:srgbClr val="225B62"/>
                </a:solidFill>
                <a:effectLst/>
                <a:uLnTx/>
                <a:uFillTx/>
                <a:latin typeface="Segoe Sans Text"/>
                <a:ea typeface="+mn-ea"/>
                <a:cs typeface="Segoe Sans Display" pitchFamily="2" charset="0"/>
                <a:sym typeface="Helvetica Light"/>
              </a:rPr>
              <a:t>Working back from a use case to the Microsoft Capability</a:t>
            </a:r>
          </a:p>
        </p:txBody>
      </p:sp>
      <p:cxnSp>
        <p:nvCxnSpPr>
          <p:cNvPr id="1565" name="Straight Connector 1564">
            <a:extLst>
              <a:ext uri="{FF2B5EF4-FFF2-40B4-BE49-F238E27FC236}">
                <a16:creationId xmlns:a16="http://schemas.microsoft.com/office/drawing/2014/main" id="{1612BA25-C81C-DDC9-D0D4-8D2DB96DFA6C}"/>
              </a:ext>
              <a:ext uri="{C183D7F6-B498-43B3-948B-1728B52AA6E4}">
                <adec:decorative xmlns:adec="http://schemas.microsoft.com/office/drawing/2017/decorative" val="1"/>
              </a:ext>
            </a:extLst>
          </p:cNvPr>
          <p:cNvCxnSpPr>
            <a:cxnSpLocks/>
          </p:cNvCxnSpPr>
          <p:nvPr/>
        </p:nvCxnSpPr>
        <p:spPr>
          <a:xfrm>
            <a:off x="588963" y="1646548"/>
            <a:ext cx="8673650" cy="0"/>
          </a:xfrm>
          <a:prstGeom prst="line">
            <a:avLst/>
          </a:prstGeom>
          <a:noFill/>
          <a:ln w="28575" cap="rnd">
            <a:gradFill flip="none" rotWithShape="1">
              <a:gsLst>
                <a:gs pos="31000">
                  <a:srgbClr val="57B9C5"/>
                </a:gs>
                <a:gs pos="0">
                  <a:srgbClr val="D4EC8E"/>
                </a:gs>
                <a:gs pos="88000">
                  <a:srgbClr val="0F656B"/>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66" name="Straight Connector 1174_1">
            <a:extLst>
              <a:ext uri="{FF2B5EF4-FFF2-40B4-BE49-F238E27FC236}">
                <a16:creationId xmlns:a16="http://schemas.microsoft.com/office/drawing/2014/main" id="{94025A40-910D-27EC-6B50-AEBE7DEE312F}"/>
              </a:ext>
              <a:ext uri="{C183D7F6-B498-43B3-948B-1728B52AA6E4}">
                <adec:decorative xmlns:adec="http://schemas.microsoft.com/office/drawing/2017/decorative" val="1"/>
              </a:ext>
            </a:extLst>
          </p:cNvPr>
          <p:cNvCxnSpPr>
            <a:cxnSpLocks/>
          </p:cNvCxnSpPr>
          <p:nvPr/>
        </p:nvCxnSpPr>
        <p:spPr>
          <a:xfrm>
            <a:off x="1228526" y="1714500"/>
            <a:ext cx="0" cy="148732"/>
          </a:xfrm>
          <a:prstGeom prst="line">
            <a:avLst/>
          </a:prstGeom>
          <a:ln w="6350" cap="rnd">
            <a:solidFill>
              <a:srgbClr val="225B62"/>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1567" name="Oval 1566">
            <a:extLst>
              <a:ext uri="{FF2B5EF4-FFF2-40B4-BE49-F238E27FC236}">
                <a16:creationId xmlns:a16="http://schemas.microsoft.com/office/drawing/2014/main" id="{D81ACFB7-6723-0EF8-336C-21C3A263D367}"/>
              </a:ext>
              <a:ext uri="{C183D7F6-B498-43B3-948B-1728B52AA6E4}">
                <adec:decorative xmlns:adec="http://schemas.microsoft.com/office/drawing/2017/decorative" val="1"/>
              </a:ext>
            </a:extLst>
          </p:cNvPr>
          <p:cNvSpPr/>
          <p:nvPr/>
        </p:nvSpPr>
        <p:spPr bwMode="auto">
          <a:xfrm>
            <a:off x="1160574" y="1578596"/>
            <a:ext cx="135904" cy="135904"/>
          </a:xfrm>
          <a:prstGeom prst="ellipse">
            <a:avLst/>
          </a:prstGeom>
          <a:gradFill flip="none" rotWithShape="1">
            <a:gsLst>
              <a:gs pos="0">
                <a:srgbClr val="D4EC8E"/>
              </a:gs>
              <a:gs pos="31000">
                <a:srgbClr val="57B9C5"/>
              </a:gs>
              <a:gs pos="88000">
                <a:srgbClr val="0F656B"/>
              </a:gs>
            </a:gsLst>
            <a:path path="circle">
              <a:fillToRect l="100000" t="100000"/>
            </a:path>
            <a:tileRect r="-100000" b="-100000"/>
          </a:gradFill>
          <a:ln w="19050" cap="flat" cmpd="sng" algn="ctr">
            <a:solidFill>
              <a:schemeClr val="bg1"/>
            </a:solidFill>
            <a:prstDash val="solid"/>
            <a:headEnd type="none" w="med" len="med"/>
            <a:tailEnd type="none" w="med" len="med"/>
          </a:ln>
          <a:effectLst>
            <a:outerShdw blurRad="50800" dist="38100" dir="5400000" algn="t" rotWithShape="0">
              <a:prstClr val="black">
                <a:alpha val="10000"/>
              </a:prstClr>
            </a:outerShdw>
          </a:effectLst>
        </p:spPr>
        <p:txBody>
          <a:bodyPr vert="horz" wrap="square" lIns="0" tIns="20271" rIns="0" bIns="20271" numCol="1" rtlCol="0" anchor="ctr" anchorCtr="0" compatLnSpc="1">
            <a:prstTxWarp prst="textNoShape">
              <a:avLst/>
            </a:prstTxWarp>
            <a:normAutofit fontScale="47500" lnSpcReduction="20000"/>
          </a:bodyPr>
          <a:lstStyle/>
          <a:p>
            <a:pPr marL="0" marR="0" lvl="0" indent="0" algn="ctr" defTabSz="405297" rtl="0" eaLnBrk="1" fontAlgn="base" latinLnBrk="0" hangingPunct="1">
              <a:lnSpc>
                <a:spcPct val="120000"/>
              </a:lnSpc>
              <a:spcBef>
                <a:spcPct val="0"/>
              </a:spcBef>
              <a:spcAft>
                <a:spcPct val="0"/>
              </a:spcAft>
              <a:buClrTx/>
              <a:buSzTx/>
              <a:buFontTx/>
              <a:buNone/>
              <a:tabLst/>
              <a:defRPr/>
            </a:pPr>
            <a:endParaRPr kumimoji="0" lang="en-US" sz="682" b="0" i="0" u="none" strike="noStrike" kern="0" cap="none" spc="0" normalizeH="0" baseline="0" noProof="0" err="1">
              <a:ln>
                <a:noFill/>
              </a:ln>
              <a:solidFill>
                <a:srgbClr val="FFFFFF"/>
              </a:solidFill>
              <a:effectLst/>
              <a:uLnTx/>
              <a:uFillTx/>
              <a:latin typeface="Segoe Sans Display"/>
              <a:ea typeface="+mn-ea"/>
              <a:cs typeface="+mn-cs"/>
            </a:endParaRPr>
          </a:p>
        </p:txBody>
      </p:sp>
      <p:sp>
        <p:nvSpPr>
          <p:cNvPr id="1568" name="Rectangle 1567">
            <a:extLst>
              <a:ext uri="{FF2B5EF4-FFF2-40B4-BE49-F238E27FC236}">
                <a16:creationId xmlns:a16="http://schemas.microsoft.com/office/drawing/2014/main" id="{8B90723E-52CB-233E-2A2C-BE1D6BB1AD3A}"/>
              </a:ext>
            </a:extLst>
          </p:cNvPr>
          <p:cNvSpPr>
            <a:spLocks/>
          </p:cNvSpPr>
          <p:nvPr/>
        </p:nvSpPr>
        <p:spPr bwMode="auto">
          <a:xfrm>
            <a:off x="588963" y="1935802"/>
            <a:ext cx="1279126"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What is the </a:t>
            </a:r>
            <a:b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b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business problem?</a:t>
            </a:r>
          </a:p>
        </p:txBody>
      </p:sp>
      <p:cxnSp>
        <p:nvCxnSpPr>
          <p:cNvPr id="1569" name="Straight Connector 1568" descr="Arrow pointing right">
            <a:extLst>
              <a:ext uri="{FF2B5EF4-FFF2-40B4-BE49-F238E27FC236}">
                <a16:creationId xmlns:a16="http://schemas.microsoft.com/office/drawing/2014/main" id="{7A4C5858-D786-5A7B-6983-B362761FD5B1}"/>
              </a:ext>
            </a:extLst>
          </p:cNvPr>
          <p:cNvCxnSpPr>
            <a:cxnSpLocks/>
          </p:cNvCxnSpPr>
          <p:nvPr/>
        </p:nvCxnSpPr>
        <p:spPr>
          <a:xfrm>
            <a:off x="1868089" y="2258967"/>
            <a:ext cx="913211" cy="0"/>
          </a:xfrm>
          <a:prstGeom prst="line">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cxnSp>
        <p:nvCxnSpPr>
          <p:cNvPr id="1570" name="Straight Connector 1569">
            <a:extLst>
              <a:ext uri="{FF2B5EF4-FFF2-40B4-BE49-F238E27FC236}">
                <a16:creationId xmlns:a16="http://schemas.microsoft.com/office/drawing/2014/main" id="{5A53DD46-3068-5140-42BD-AFFF977AC431}"/>
              </a:ext>
              <a:ext uri="{C183D7F6-B498-43B3-948B-1728B52AA6E4}">
                <adec:decorative xmlns:adec="http://schemas.microsoft.com/office/drawing/2017/decorative" val="1"/>
              </a:ext>
            </a:extLst>
          </p:cNvPr>
          <p:cNvCxnSpPr>
            <a:cxnSpLocks/>
            <a:stCxn id="1571" idx="4"/>
            <a:endCxn id="1572" idx="0"/>
          </p:cNvCxnSpPr>
          <p:nvPr/>
        </p:nvCxnSpPr>
        <p:spPr>
          <a:xfrm>
            <a:off x="3469588" y="1714500"/>
            <a:ext cx="0" cy="221302"/>
          </a:xfrm>
          <a:prstGeom prst="line">
            <a:avLst/>
          </a:prstGeom>
          <a:ln w="6350" cap="rnd">
            <a:solidFill>
              <a:srgbClr val="225B62"/>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1571" name="Oval 1570">
            <a:extLst>
              <a:ext uri="{FF2B5EF4-FFF2-40B4-BE49-F238E27FC236}">
                <a16:creationId xmlns:a16="http://schemas.microsoft.com/office/drawing/2014/main" id="{AF5909F3-43C4-2BD5-E9CB-1178959C3259}"/>
              </a:ext>
              <a:ext uri="{C183D7F6-B498-43B3-948B-1728B52AA6E4}">
                <adec:decorative xmlns:adec="http://schemas.microsoft.com/office/drawing/2017/decorative" val="1"/>
              </a:ext>
            </a:extLst>
          </p:cNvPr>
          <p:cNvSpPr/>
          <p:nvPr/>
        </p:nvSpPr>
        <p:spPr bwMode="auto">
          <a:xfrm>
            <a:off x="3401636" y="1578596"/>
            <a:ext cx="135904" cy="135904"/>
          </a:xfrm>
          <a:prstGeom prst="ellipse">
            <a:avLst/>
          </a:prstGeom>
          <a:gradFill flip="none" rotWithShape="1">
            <a:gsLst>
              <a:gs pos="0">
                <a:srgbClr val="D4EC8E"/>
              </a:gs>
              <a:gs pos="31000">
                <a:srgbClr val="57B9C5"/>
              </a:gs>
              <a:gs pos="88000">
                <a:srgbClr val="0F656B"/>
              </a:gs>
            </a:gsLst>
            <a:path path="circle">
              <a:fillToRect l="100000" t="100000"/>
            </a:path>
            <a:tileRect r="-100000" b="-100000"/>
          </a:gradFill>
          <a:ln w="19050" cap="flat" cmpd="sng" algn="ctr">
            <a:solidFill>
              <a:schemeClr val="bg1"/>
            </a:solidFill>
            <a:prstDash val="solid"/>
            <a:headEnd type="none" w="med" len="med"/>
            <a:tailEnd type="none" w="med" len="med"/>
          </a:ln>
          <a:effectLst>
            <a:outerShdw blurRad="50800" dist="38100" dir="5400000" algn="t" rotWithShape="0">
              <a:prstClr val="black">
                <a:alpha val="10000"/>
              </a:prstClr>
            </a:outerShdw>
          </a:effectLst>
        </p:spPr>
        <p:txBody>
          <a:bodyPr vert="horz" wrap="square" lIns="0" tIns="20271" rIns="0" bIns="20271" numCol="1" rtlCol="0" anchor="ctr" anchorCtr="0" compatLnSpc="1">
            <a:prstTxWarp prst="textNoShape">
              <a:avLst/>
            </a:prstTxWarp>
            <a:normAutofit fontScale="47500" lnSpcReduction="20000"/>
          </a:bodyPr>
          <a:lstStyle/>
          <a:p>
            <a:pPr marL="0" marR="0" lvl="0" indent="0" algn="ctr" defTabSz="405297" rtl="0" eaLnBrk="1" fontAlgn="base" latinLnBrk="0" hangingPunct="1">
              <a:lnSpc>
                <a:spcPct val="120000"/>
              </a:lnSpc>
              <a:spcBef>
                <a:spcPct val="0"/>
              </a:spcBef>
              <a:spcAft>
                <a:spcPct val="0"/>
              </a:spcAft>
              <a:buClrTx/>
              <a:buSzTx/>
              <a:buFontTx/>
              <a:buNone/>
              <a:tabLst/>
              <a:defRPr/>
            </a:pPr>
            <a:endParaRPr kumimoji="0" lang="en-US" sz="682" b="0" i="0" u="none" strike="noStrike" kern="0" cap="none" spc="0" normalizeH="0" baseline="0" noProof="0" err="1">
              <a:ln>
                <a:noFill/>
              </a:ln>
              <a:solidFill>
                <a:srgbClr val="FFFFFF"/>
              </a:solidFill>
              <a:effectLst/>
              <a:uLnTx/>
              <a:uFillTx/>
              <a:latin typeface="Segoe Sans Display"/>
              <a:ea typeface="+mn-ea"/>
              <a:cs typeface="+mn-cs"/>
            </a:endParaRPr>
          </a:p>
        </p:txBody>
      </p:sp>
      <p:sp>
        <p:nvSpPr>
          <p:cNvPr id="1572" name="Rectangle 1571">
            <a:extLst>
              <a:ext uri="{FF2B5EF4-FFF2-40B4-BE49-F238E27FC236}">
                <a16:creationId xmlns:a16="http://schemas.microsoft.com/office/drawing/2014/main" id="{BC3A44A3-0C86-8A4C-F2E1-D5E8DE331348}"/>
              </a:ext>
            </a:extLst>
          </p:cNvPr>
          <p:cNvSpPr>
            <a:spLocks/>
          </p:cNvSpPr>
          <p:nvPr/>
        </p:nvSpPr>
        <p:spPr bwMode="auto">
          <a:xfrm>
            <a:off x="2781300" y="1935802"/>
            <a:ext cx="1376576"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Who is </a:t>
            </a:r>
            <a:b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b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the persona?</a:t>
            </a:r>
          </a:p>
        </p:txBody>
      </p:sp>
      <p:cxnSp>
        <p:nvCxnSpPr>
          <p:cNvPr id="1573" name="Straight Connector 1572" descr="Arrow pointing right">
            <a:extLst>
              <a:ext uri="{FF2B5EF4-FFF2-40B4-BE49-F238E27FC236}">
                <a16:creationId xmlns:a16="http://schemas.microsoft.com/office/drawing/2014/main" id="{61E16E3B-192A-E346-C907-52F3AF3B41BE}"/>
              </a:ext>
            </a:extLst>
          </p:cNvPr>
          <p:cNvCxnSpPr>
            <a:cxnSpLocks/>
          </p:cNvCxnSpPr>
          <p:nvPr/>
        </p:nvCxnSpPr>
        <p:spPr>
          <a:xfrm>
            <a:off x="4157876" y="2258967"/>
            <a:ext cx="913211" cy="0"/>
          </a:xfrm>
          <a:prstGeom prst="line">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cxnSp>
        <p:nvCxnSpPr>
          <p:cNvPr id="1574" name="Straight Connector 1174_3">
            <a:extLst>
              <a:ext uri="{FF2B5EF4-FFF2-40B4-BE49-F238E27FC236}">
                <a16:creationId xmlns:a16="http://schemas.microsoft.com/office/drawing/2014/main" id="{FB0A0F3D-778F-F6A2-0902-FA9ED97C1196}"/>
              </a:ext>
              <a:ext uri="{C183D7F6-B498-43B3-948B-1728B52AA6E4}">
                <adec:decorative xmlns:adec="http://schemas.microsoft.com/office/drawing/2017/decorative" val="1"/>
              </a:ext>
            </a:extLst>
          </p:cNvPr>
          <p:cNvCxnSpPr>
            <a:cxnSpLocks/>
          </p:cNvCxnSpPr>
          <p:nvPr/>
        </p:nvCxnSpPr>
        <p:spPr>
          <a:xfrm>
            <a:off x="5939387" y="1714500"/>
            <a:ext cx="0" cy="148732"/>
          </a:xfrm>
          <a:prstGeom prst="line">
            <a:avLst/>
          </a:prstGeom>
          <a:ln w="6350" cap="rnd">
            <a:solidFill>
              <a:srgbClr val="225B62"/>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1575" name="Oval 1574">
            <a:extLst>
              <a:ext uri="{FF2B5EF4-FFF2-40B4-BE49-F238E27FC236}">
                <a16:creationId xmlns:a16="http://schemas.microsoft.com/office/drawing/2014/main" id="{C62F3CF0-4B68-EFC9-3F8F-7CF0E87014E8}"/>
              </a:ext>
              <a:ext uri="{C183D7F6-B498-43B3-948B-1728B52AA6E4}">
                <adec:decorative xmlns:adec="http://schemas.microsoft.com/office/drawing/2017/decorative" val="1"/>
              </a:ext>
            </a:extLst>
          </p:cNvPr>
          <p:cNvSpPr/>
          <p:nvPr/>
        </p:nvSpPr>
        <p:spPr bwMode="auto">
          <a:xfrm>
            <a:off x="5871435" y="1578596"/>
            <a:ext cx="135904" cy="135904"/>
          </a:xfrm>
          <a:prstGeom prst="ellipse">
            <a:avLst/>
          </a:prstGeom>
          <a:gradFill flip="none" rotWithShape="1">
            <a:gsLst>
              <a:gs pos="0">
                <a:srgbClr val="D4EC8E"/>
              </a:gs>
              <a:gs pos="31000">
                <a:srgbClr val="57B9C5"/>
              </a:gs>
              <a:gs pos="88000">
                <a:srgbClr val="0F656B"/>
              </a:gs>
            </a:gsLst>
            <a:path path="circle">
              <a:fillToRect l="100000" t="100000"/>
            </a:path>
            <a:tileRect r="-100000" b="-100000"/>
          </a:gradFill>
          <a:ln w="19050" cap="flat" cmpd="sng" algn="ctr">
            <a:solidFill>
              <a:schemeClr val="bg1"/>
            </a:solidFill>
            <a:prstDash val="solid"/>
            <a:headEnd type="none" w="med" len="med"/>
            <a:tailEnd type="none" w="med" len="med"/>
          </a:ln>
          <a:effectLst>
            <a:outerShdw blurRad="50800" dist="38100" dir="5400000" algn="t" rotWithShape="0">
              <a:prstClr val="black">
                <a:alpha val="10000"/>
              </a:prstClr>
            </a:outerShdw>
          </a:effectLst>
        </p:spPr>
        <p:txBody>
          <a:bodyPr vert="horz" wrap="square" lIns="0" tIns="20271" rIns="0" bIns="20271" numCol="1" rtlCol="0" anchor="ctr" anchorCtr="0" compatLnSpc="1">
            <a:prstTxWarp prst="textNoShape">
              <a:avLst/>
            </a:prstTxWarp>
            <a:normAutofit fontScale="47500" lnSpcReduction="20000"/>
          </a:bodyPr>
          <a:lstStyle/>
          <a:p>
            <a:pPr marL="0" marR="0" lvl="0" indent="0" algn="ctr" defTabSz="405297" rtl="0" eaLnBrk="1" fontAlgn="base" latinLnBrk="0" hangingPunct="1">
              <a:lnSpc>
                <a:spcPct val="120000"/>
              </a:lnSpc>
              <a:spcBef>
                <a:spcPct val="0"/>
              </a:spcBef>
              <a:spcAft>
                <a:spcPct val="0"/>
              </a:spcAft>
              <a:buClrTx/>
              <a:buSzTx/>
              <a:buFontTx/>
              <a:buNone/>
              <a:tabLst/>
              <a:defRPr/>
            </a:pPr>
            <a:endParaRPr kumimoji="0" lang="en-US" sz="682" b="0" i="0" u="none" strike="noStrike" kern="0" cap="none" spc="0" normalizeH="0" baseline="0" noProof="0">
              <a:ln>
                <a:noFill/>
              </a:ln>
              <a:solidFill>
                <a:srgbClr val="FFFFFF"/>
              </a:solidFill>
              <a:effectLst/>
              <a:uLnTx/>
              <a:uFillTx/>
              <a:latin typeface="Segoe Sans Display"/>
              <a:ea typeface="+mn-ea"/>
              <a:cs typeface="+mn-cs"/>
            </a:endParaRPr>
          </a:p>
        </p:txBody>
      </p:sp>
      <p:sp>
        <p:nvSpPr>
          <p:cNvPr id="1576" name="Rectangle 1575">
            <a:extLst>
              <a:ext uri="{FF2B5EF4-FFF2-40B4-BE49-F238E27FC236}">
                <a16:creationId xmlns:a16="http://schemas.microsoft.com/office/drawing/2014/main" id="{6BCFC397-CD6D-B9E0-7A84-C6FF8DBB0B1B}"/>
              </a:ext>
            </a:extLst>
          </p:cNvPr>
          <p:cNvSpPr>
            <a:spLocks/>
          </p:cNvSpPr>
          <p:nvPr/>
        </p:nvSpPr>
        <p:spPr bwMode="auto">
          <a:xfrm>
            <a:off x="5071087" y="1935802"/>
            <a:ext cx="1736600" cy="6463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Can we leverage</a:t>
            </a:r>
            <a:b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b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out of the box”</a:t>
            </a:r>
            <a:b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br>
            <a:r>
              <a:rPr kumimoji="0" lang="en-US" sz="1400" b="0" i="0" u="none" strike="noStrike" kern="1200" cap="none" spc="0" normalizeH="0" baseline="0" noProof="0">
                <a:ln>
                  <a:noFill/>
                </a:ln>
                <a:solidFill>
                  <a:srgbClr val="225B62"/>
                </a:solidFill>
                <a:effectLst/>
                <a:uLnTx/>
                <a:uFillTx/>
                <a:latin typeface="Segoe Sans Display Semibold"/>
                <a:ea typeface="+mn-ea"/>
                <a:cs typeface="Segoe UI Semibold" panose="020B0702040204020203" pitchFamily="34" charset="0"/>
              </a:rPr>
              <a:t>gen AI?</a:t>
            </a:r>
          </a:p>
        </p:txBody>
      </p:sp>
      <p:cxnSp>
        <p:nvCxnSpPr>
          <p:cNvPr id="1615" name="Straight Connector 1614" descr="Arrow pointing right">
            <a:extLst>
              <a:ext uri="{FF2B5EF4-FFF2-40B4-BE49-F238E27FC236}">
                <a16:creationId xmlns:a16="http://schemas.microsoft.com/office/drawing/2014/main" id="{3BD936B8-5897-CD05-E5D3-8254DDD3A97B}"/>
              </a:ext>
            </a:extLst>
          </p:cNvPr>
          <p:cNvCxnSpPr>
            <a:cxnSpLocks/>
          </p:cNvCxnSpPr>
          <p:nvPr/>
        </p:nvCxnSpPr>
        <p:spPr>
          <a:xfrm>
            <a:off x="6807687" y="2258967"/>
            <a:ext cx="961937" cy="0"/>
          </a:xfrm>
          <a:prstGeom prst="line">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sp>
        <p:nvSpPr>
          <p:cNvPr id="1618" name="Rectangle 1617">
            <a:extLst>
              <a:ext uri="{FF2B5EF4-FFF2-40B4-BE49-F238E27FC236}">
                <a16:creationId xmlns:a16="http://schemas.microsoft.com/office/drawing/2014/main" id="{A28BB79B-E996-BE39-4A95-6B72565B819A}"/>
              </a:ext>
            </a:extLst>
          </p:cNvPr>
          <p:cNvSpPr>
            <a:spLocks/>
          </p:cNvSpPr>
          <p:nvPr/>
        </p:nvSpPr>
        <p:spPr bwMode="auto">
          <a:xfrm>
            <a:off x="7769624" y="1935802"/>
            <a:ext cx="1279126" cy="646331"/>
          </a:xfrm>
          <a:prstGeom prst="rect">
            <a:avLst/>
          </a:prstGeom>
          <a:solidFill>
            <a:srgbClr val="F7F7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225B62"/>
                </a:solidFill>
                <a:effectLst/>
                <a:uLnTx/>
                <a:uFillTx/>
                <a:latin typeface="Segoe Sans Display Semibold"/>
                <a:ea typeface="Segoe UI" pitchFamily="34" charset="0"/>
                <a:cs typeface="Segoe UI" pitchFamily="34" charset="0"/>
              </a:rPr>
              <a:t>Build your custom use case </a:t>
            </a:r>
          </a:p>
        </p:txBody>
      </p:sp>
      <p:cxnSp>
        <p:nvCxnSpPr>
          <p:cNvPr id="1577" name="Straight Connector 1576" descr="Arrow pointing from Can we leverage “out of the box” generative AI? downward to">
            <a:extLst>
              <a:ext uri="{FF2B5EF4-FFF2-40B4-BE49-F238E27FC236}">
                <a16:creationId xmlns:a16="http://schemas.microsoft.com/office/drawing/2014/main" id="{6FD40A1F-3928-33C8-4A7E-3A984F096D00}"/>
              </a:ext>
            </a:extLst>
          </p:cNvPr>
          <p:cNvCxnSpPr>
            <a:cxnSpLocks/>
          </p:cNvCxnSpPr>
          <p:nvPr/>
        </p:nvCxnSpPr>
        <p:spPr>
          <a:xfrm flipH="1">
            <a:off x="5939387" y="2639283"/>
            <a:ext cx="1" cy="313467"/>
          </a:xfrm>
          <a:prstGeom prst="line">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sp>
        <p:nvSpPr>
          <p:cNvPr id="1578" name="Rectangle: Rounded Corners 1577">
            <a:extLst>
              <a:ext uri="{FF2B5EF4-FFF2-40B4-BE49-F238E27FC236}">
                <a16:creationId xmlns:a16="http://schemas.microsoft.com/office/drawing/2014/main" id="{7DAA8F1F-DBDF-8407-886B-E2110F561E80}"/>
              </a:ext>
              <a:ext uri="{C183D7F6-B498-43B3-948B-1728B52AA6E4}">
                <adec:decorative xmlns:adec="http://schemas.microsoft.com/office/drawing/2017/decorative" val="1"/>
              </a:ext>
            </a:extLst>
          </p:cNvPr>
          <p:cNvSpPr/>
          <p:nvPr/>
        </p:nvSpPr>
        <p:spPr bwMode="auto">
          <a:xfrm>
            <a:off x="588963" y="3084521"/>
            <a:ext cx="8459787" cy="3278176"/>
          </a:xfrm>
          <a:prstGeom prst="roundRect">
            <a:avLst>
              <a:gd name="adj" fmla="val 4315"/>
            </a:avLst>
          </a:prstGeom>
          <a:solidFill>
            <a:schemeClr val="bg1"/>
          </a:solidFill>
          <a:ln w="3175" cap="flat">
            <a:solidFill>
              <a:schemeClr val="bg1">
                <a:lumMod val="95000"/>
              </a:schemeClr>
            </a:solidFill>
            <a:prstDash val="solid"/>
            <a:miter/>
          </a:ln>
          <a:effectLst>
            <a:outerShdw blurRad="50800" dist="38100" dir="8100000" algn="tr" rotWithShape="0">
              <a:prstClr val="black">
                <a:alpha val="5000"/>
              </a:prstClr>
            </a:outerShdw>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err="1">
              <a:ln>
                <a:noFill/>
              </a:ln>
              <a:solidFill>
                <a:srgbClr val="D2D2D2">
                  <a:lumMod val="10000"/>
                </a:srgbClr>
              </a:solidFill>
              <a:effectLst/>
              <a:uLnTx/>
              <a:uFillTx/>
              <a:latin typeface="Segoe Sans Display Semibold"/>
              <a:ea typeface="+mn-ea"/>
              <a:cs typeface="Segoe Sans Display Semibold" pitchFamily="2" charset="0"/>
            </a:endParaRPr>
          </a:p>
        </p:txBody>
      </p:sp>
      <p:sp>
        <p:nvSpPr>
          <p:cNvPr id="1579" name="Oval 1578">
            <a:extLst>
              <a:ext uri="{FF2B5EF4-FFF2-40B4-BE49-F238E27FC236}">
                <a16:creationId xmlns:a16="http://schemas.microsoft.com/office/drawing/2014/main" id="{1EB83DD9-F658-EE68-7ED0-6BC54EB0F1D8}"/>
              </a:ext>
              <a:ext uri="{C183D7F6-B498-43B3-948B-1728B52AA6E4}">
                <adec:decorative xmlns:adec="http://schemas.microsoft.com/office/drawing/2017/decorative" val="1"/>
              </a:ext>
            </a:extLst>
          </p:cNvPr>
          <p:cNvSpPr/>
          <p:nvPr/>
        </p:nvSpPr>
        <p:spPr bwMode="auto">
          <a:xfrm>
            <a:off x="930960"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80" name="Oval 1579">
            <a:extLst>
              <a:ext uri="{FF2B5EF4-FFF2-40B4-BE49-F238E27FC236}">
                <a16:creationId xmlns:a16="http://schemas.microsoft.com/office/drawing/2014/main" id="{93ED9CD6-5F73-301C-D767-5423C7C0E255}"/>
              </a:ext>
              <a:ext uri="{C183D7F6-B498-43B3-948B-1728B52AA6E4}">
                <adec:decorative xmlns:adec="http://schemas.microsoft.com/office/drawing/2017/decorative" val="1"/>
              </a:ext>
            </a:extLst>
          </p:cNvPr>
          <p:cNvSpPr/>
          <p:nvPr/>
        </p:nvSpPr>
        <p:spPr bwMode="auto">
          <a:xfrm>
            <a:off x="2340956"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81" name="Oval 1580">
            <a:extLst>
              <a:ext uri="{FF2B5EF4-FFF2-40B4-BE49-F238E27FC236}">
                <a16:creationId xmlns:a16="http://schemas.microsoft.com/office/drawing/2014/main" id="{60F92910-3FCA-801A-BDA3-9350321EBB21}"/>
              </a:ext>
              <a:ext uri="{C183D7F6-B498-43B3-948B-1728B52AA6E4}">
                <adec:decorative xmlns:adec="http://schemas.microsoft.com/office/drawing/2017/decorative" val="1"/>
              </a:ext>
            </a:extLst>
          </p:cNvPr>
          <p:cNvSpPr/>
          <p:nvPr/>
        </p:nvSpPr>
        <p:spPr bwMode="auto">
          <a:xfrm>
            <a:off x="3750952"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82" name="Oval 1581">
            <a:extLst>
              <a:ext uri="{FF2B5EF4-FFF2-40B4-BE49-F238E27FC236}">
                <a16:creationId xmlns:a16="http://schemas.microsoft.com/office/drawing/2014/main" id="{47C36A0A-2029-315E-7232-CC42281309AA}"/>
              </a:ext>
              <a:ext uri="{C183D7F6-B498-43B3-948B-1728B52AA6E4}">
                <adec:decorative xmlns:adec="http://schemas.microsoft.com/office/drawing/2017/decorative" val="1"/>
              </a:ext>
            </a:extLst>
          </p:cNvPr>
          <p:cNvSpPr/>
          <p:nvPr/>
        </p:nvSpPr>
        <p:spPr bwMode="auto">
          <a:xfrm>
            <a:off x="5160948"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583" name="Oval 1582">
            <a:extLst>
              <a:ext uri="{FF2B5EF4-FFF2-40B4-BE49-F238E27FC236}">
                <a16:creationId xmlns:a16="http://schemas.microsoft.com/office/drawing/2014/main" id="{F86AECC3-61B9-BEC6-B7B8-E7AFAEA42E91}"/>
              </a:ext>
              <a:ext uri="{C183D7F6-B498-43B3-948B-1728B52AA6E4}">
                <adec:decorative xmlns:adec="http://schemas.microsoft.com/office/drawing/2017/decorative" val="1"/>
              </a:ext>
            </a:extLst>
          </p:cNvPr>
          <p:cNvSpPr/>
          <p:nvPr/>
        </p:nvSpPr>
        <p:spPr bwMode="auto">
          <a:xfrm>
            <a:off x="6570944"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cxnSp>
        <p:nvCxnSpPr>
          <p:cNvPr id="1584" name="Straight Connector 1583">
            <a:extLst>
              <a:ext uri="{FF2B5EF4-FFF2-40B4-BE49-F238E27FC236}">
                <a16:creationId xmlns:a16="http://schemas.microsoft.com/office/drawing/2014/main" id="{71B0739B-163E-EAE7-7639-9C166B023ADB}"/>
              </a:ext>
              <a:ext uri="{C183D7F6-B498-43B3-948B-1728B52AA6E4}">
                <adec:decorative xmlns:adec="http://schemas.microsoft.com/office/drawing/2017/decorative" val="1"/>
              </a:ext>
            </a:extLst>
          </p:cNvPr>
          <p:cNvCxnSpPr>
            <a:cxnSpLocks/>
          </p:cNvCxnSpPr>
          <p:nvPr/>
        </p:nvCxnSpPr>
        <p:spPr>
          <a:xfrm>
            <a:off x="1997419" y="3084521"/>
            <a:ext cx="0" cy="3278178"/>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5" name="Straight Connector 1584">
            <a:extLst>
              <a:ext uri="{FF2B5EF4-FFF2-40B4-BE49-F238E27FC236}">
                <a16:creationId xmlns:a16="http://schemas.microsoft.com/office/drawing/2014/main" id="{C9F1FBC3-4D64-7A16-5838-858F4C5EEEEA}"/>
              </a:ext>
              <a:ext uri="{C183D7F6-B498-43B3-948B-1728B52AA6E4}">
                <adec:decorative xmlns:adec="http://schemas.microsoft.com/office/drawing/2017/decorative" val="1"/>
              </a:ext>
            </a:extLst>
          </p:cNvPr>
          <p:cNvCxnSpPr>
            <a:cxnSpLocks/>
          </p:cNvCxnSpPr>
          <p:nvPr/>
        </p:nvCxnSpPr>
        <p:spPr>
          <a:xfrm>
            <a:off x="4811313" y="3084521"/>
            <a:ext cx="0" cy="3278178"/>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6" name="Straight Connector 1585">
            <a:extLst>
              <a:ext uri="{FF2B5EF4-FFF2-40B4-BE49-F238E27FC236}">
                <a16:creationId xmlns:a16="http://schemas.microsoft.com/office/drawing/2014/main" id="{9264D912-CD6A-206E-E76C-CE288F6135DC}"/>
              </a:ext>
              <a:ext uri="{C183D7F6-B498-43B3-948B-1728B52AA6E4}">
                <adec:decorative xmlns:adec="http://schemas.microsoft.com/office/drawing/2017/decorative" val="1"/>
              </a:ext>
            </a:extLst>
          </p:cNvPr>
          <p:cNvCxnSpPr>
            <a:cxnSpLocks/>
          </p:cNvCxnSpPr>
          <p:nvPr/>
        </p:nvCxnSpPr>
        <p:spPr>
          <a:xfrm>
            <a:off x="6233345" y="3084521"/>
            <a:ext cx="0" cy="3278178"/>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87" name="Straight Connector 1586">
            <a:extLst>
              <a:ext uri="{FF2B5EF4-FFF2-40B4-BE49-F238E27FC236}">
                <a16:creationId xmlns:a16="http://schemas.microsoft.com/office/drawing/2014/main" id="{011C4C6E-C90C-5FC0-F318-CD633F13F5CC}"/>
              </a:ext>
              <a:ext uri="{C183D7F6-B498-43B3-948B-1728B52AA6E4}">
                <adec:decorative xmlns:adec="http://schemas.microsoft.com/office/drawing/2017/decorative" val="1"/>
              </a:ext>
            </a:extLst>
          </p:cNvPr>
          <p:cNvCxnSpPr>
            <a:cxnSpLocks/>
          </p:cNvCxnSpPr>
          <p:nvPr/>
        </p:nvCxnSpPr>
        <p:spPr>
          <a:xfrm>
            <a:off x="3404366" y="3084521"/>
            <a:ext cx="0" cy="3278178"/>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588" name="Graphic 1295" descr="Icon of two people with a gear">
            <a:extLst>
              <a:ext uri="{FF2B5EF4-FFF2-40B4-BE49-F238E27FC236}">
                <a16:creationId xmlns:a16="http://schemas.microsoft.com/office/drawing/2014/main" id="{DBDB429F-87EA-076C-2C82-525C6D8F2B95}"/>
              </a:ext>
            </a:extLst>
          </p:cNvPr>
          <p:cNvSpPr/>
          <p:nvPr/>
        </p:nvSpPr>
        <p:spPr>
          <a:xfrm>
            <a:off x="1111387" y="3436359"/>
            <a:ext cx="390492" cy="386893"/>
          </a:xfrm>
          <a:custGeom>
            <a:avLst/>
            <a:gdLst>
              <a:gd name="connsiteX0" fmla="*/ 35001 w 485696"/>
              <a:gd name="connsiteY0" fmla="*/ 256676 h 481220"/>
              <a:gd name="connsiteX1" fmla="*/ 252219 w 485696"/>
              <a:gd name="connsiteY1" fmla="*/ 256676 h 481220"/>
              <a:gd name="connsiteX2" fmla="*/ 210008 w 485696"/>
              <a:gd name="connsiteY2" fmla="*/ 361680 h 481220"/>
              <a:gd name="connsiteX3" fmla="*/ 227251 w 485696"/>
              <a:gd name="connsiteY3" fmla="*/ 431985 h 481220"/>
              <a:gd name="connsiteX4" fmla="*/ 151672 w 485696"/>
              <a:gd name="connsiteY4" fmla="*/ 443349 h 481220"/>
              <a:gd name="connsiteX5" fmla="*/ 117 w 485696"/>
              <a:gd name="connsiteY5" fmla="*/ 343712 h 481220"/>
              <a:gd name="connsiteX6" fmla="*/ 0 w 485696"/>
              <a:gd name="connsiteY6" fmla="*/ 338345 h 481220"/>
              <a:gd name="connsiteX7" fmla="*/ 0 w 485696"/>
              <a:gd name="connsiteY7" fmla="*/ 291677 h 481220"/>
              <a:gd name="connsiteX8" fmla="*/ 31641 w 485696"/>
              <a:gd name="connsiteY8" fmla="*/ 256839 h 481220"/>
              <a:gd name="connsiteX9" fmla="*/ 35001 w 485696"/>
              <a:gd name="connsiteY9" fmla="*/ 256676 h 481220"/>
              <a:gd name="connsiteX10" fmla="*/ 443349 w 485696"/>
              <a:gd name="connsiteY10" fmla="*/ 128338 h 481220"/>
              <a:gd name="connsiteX11" fmla="*/ 361680 w 485696"/>
              <a:gd name="connsiteY11" fmla="*/ 210008 h 481220"/>
              <a:gd name="connsiteX12" fmla="*/ 280010 w 485696"/>
              <a:gd name="connsiteY12" fmla="*/ 128338 h 481220"/>
              <a:gd name="connsiteX13" fmla="*/ 361680 w 485696"/>
              <a:gd name="connsiteY13" fmla="*/ 46668 h 481220"/>
              <a:gd name="connsiteX14" fmla="*/ 443349 w 485696"/>
              <a:gd name="connsiteY14" fmla="*/ 128338 h 481220"/>
              <a:gd name="connsiteX15" fmla="*/ 151672 w 485696"/>
              <a:gd name="connsiteY15" fmla="*/ 0 h 481220"/>
              <a:gd name="connsiteX16" fmla="*/ 256676 w 485696"/>
              <a:gd name="connsiteY16" fmla="*/ 105004 h 481220"/>
              <a:gd name="connsiteX17" fmla="*/ 151672 w 485696"/>
              <a:gd name="connsiteY17" fmla="*/ 210008 h 481220"/>
              <a:gd name="connsiteX18" fmla="*/ 46668 w 485696"/>
              <a:gd name="connsiteY18" fmla="*/ 105004 h 481220"/>
              <a:gd name="connsiteX19" fmla="*/ 151672 w 485696"/>
              <a:gd name="connsiteY19" fmla="*/ 0 h 481220"/>
              <a:gd name="connsiteX20" fmla="*/ 286474 w 485696"/>
              <a:gd name="connsiteY20" fmla="*/ 279427 h 481220"/>
              <a:gd name="connsiteX21" fmla="*/ 254604 w 485696"/>
              <a:gd name="connsiteY21" fmla="*/ 337221 h 481220"/>
              <a:gd name="connsiteX22" fmla="*/ 252849 w 485696"/>
              <a:gd name="connsiteY22" fmla="*/ 337692 h 481220"/>
              <a:gd name="connsiteX23" fmla="*/ 239222 w 485696"/>
              <a:gd name="connsiteY23" fmla="*/ 341052 h 481220"/>
              <a:gd name="connsiteX24" fmla="*/ 239362 w 485696"/>
              <a:gd name="connsiteY24" fmla="*/ 383217 h 481220"/>
              <a:gd name="connsiteX25" fmla="*/ 251962 w 485696"/>
              <a:gd name="connsiteY25" fmla="*/ 386250 h 481220"/>
              <a:gd name="connsiteX26" fmla="*/ 286404 w 485696"/>
              <a:gd name="connsiteY26" fmla="*/ 442549 h 481220"/>
              <a:gd name="connsiteX27" fmla="*/ 285797 w 485696"/>
              <a:gd name="connsiteY27" fmla="*/ 444819 h 481220"/>
              <a:gd name="connsiteX28" fmla="*/ 281433 w 485696"/>
              <a:gd name="connsiteY28" fmla="*/ 459566 h 481220"/>
              <a:gd name="connsiteX29" fmla="*/ 316085 w 485696"/>
              <a:gd name="connsiteY29" fmla="*/ 481057 h 481220"/>
              <a:gd name="connsiteX30" fmla="*/ 327588 w 485696"/>
              <a:gd name="connsiteY30" fmla="*/ 468970 h 481220"/>
              <a:gd name="connsiteX31" fmla="*/ 393566 w 485696"/>
              <a:gd name="connsiteY31" fmla="*/ 467302 h 481220"/>
              <a:gd name="connsiteX32" fmla="*/ 395234 w 485696"/>
              <a:gd name="connsiteY32" fmla="*/ 468970 h 481220"/>
              <a:gd name="connsiteX33" fmla="*/ 406878 w 485696"/>
              <a:gd name="connsiteY33" fmla="*/ 481221 h 481220"/>
              <a:gd name="connsiteX34" fmla="*/ 441459 w 485696"/>
              <a:gd name="connsiteY34" fmla="*/ 459916 h 481220"/>
              <a:gd name="connsiteX35" fmla="*/ 436839 w 485696"/>
              <a:gd name="connsiteY35" fmla="*/ 443909 h 481220"/>
              <a:gd name="connsiteX36" fmla="*/ 468744 w 485696"/>
              <a:gd name="connsiteY36" fmla="*/ 386134 h 481220"/>
              <a:gd name="connsiteX37" fmla="*/ 470487 w 485696"/>
              <a:gd name="connsiteY37" fmla="*/ 385667 h 481220"/>
              <a:gd name="connsiteX38" fmla="*/ 484091 w 485696"/>
              <a:gd name="connsiteY38" fmla="*/ 382307 h 481220"/>
              <a:gd name="connsiteX39" fmla="*/ 483951 w 485696"/>
              <a:gd name="connsiteY39" fmla="*/ 340119 h 481220"/>
              <a:gd name="connsiteX40" fmla="*/ 471350 w 485696"/>
              <a:gd name="connsiteY40" fmla="*/ 337085 h 481220"/>
              <a:gd name="connsiteX41" fmla="*/ 436935 w 485696"/>
              <a:gd name="connsiteY41" fmla="*/ 280768 h 481220"/>
              <a:gd name="connsiteX42" fmla="*/ 437539 w 485696"/>
              <a:gd name="connsiteY42" fmla="*/ 278517 h 481220"/>
              <a:gd name="connsiteX43" fmla="*/ 441879 w 485696"/>
              <a:gd name="connsiteY43" fmla="*/ 263816 h 481220"/>
              <a:gd name="connsiteX44" fmla="*/ 407251 w 485696"/>
              <a:gd name="connsiteY44" fmla="*/ 242279 h 481220"/>
              <a:gd name="connsiteX45" fmla="*/ 395747 w 485696"/>
              <a:gd name="connsiteY45" fmla="*/ 254389 h 481220"/>
              <a:gd name="connsiteX46" fmla="*/ 329770 w 485696"/>
              <a:gd name="connsiteY46" fmla="*/ 256081 h 481220"/>
              <a:gd name="connsiteX47" fmla="*/ 328078 w 485696"/>
              <a:gd name="connsiteY47" fmla="*/ 254389 h 481220"/>
              <a:gd name="connsiteX48" fmla="*/ 316458 w 485696"/>
              <a:gd name="connsiteY48" fmla="*/ 242139 h 481220"/>
              <a:gd name="connsiteX49" fmla="*/ 281853 w 485696"/>
              <a:gd name="connsiteY49" fmla="*/ 263419 h 481220"/>
              <a:gd name="connsiteX50" fmla="*/ 286474 w 485696"/>
              <a:gd name="connsiteY50" fmla="*/ 279427 h 481220"/>
              <a:gd name="connsiteX51" fmla="*/ 361680 w 485696"/>
              <a:gd name="connsiteY51" fmla="*/ 396681 h 481220"/>
              <a:gd name="connsiteX52" fmla="*/ 327845 w 485696"/>
              <a:gd name="connsiteY52" fmla="*/ 361680 h 481220"/>
              <a:gd name="connsiteX53" fmla="*/ 361680 w 485696"/>
              <a:gd name="connsiteY53" fmla="*/ 326678 h 481220"/>
              <a:gd name="connsiteX54" fmla="*/ 395514 w 485696"/>
              <a:gd name="connsiteY54" fmla="*/ 361680 h 481220"/>
              <a:gd name="connsiteX55" fmla="*/ 361680 w 485696"/>
              <a:gd name="connsiteY55" fmla="*/ 396681 h 481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85696" h="481220">
                <a:moveTo>
                  <a:pt x="35001" y="256676"/>
                </a:moveTo>
                <a:lnTo>
                  <a:pt x="252219" y="256676"/>
                </a:lnTo>
                <a:cubicBezTo>
                  <a:pt x="225081" y="284892"/>
                  <a:pt x="209951" y="322532"/>
                  <a:pt x="210008" y="361680"/>
                </a:cubicBezTo>
                <a:cubicBezTo>
                  <a:pt x="210008" y="387044"/>
                  <a:pt x="216238" y="410961"/>
                  <a:pt x="227251" y="431985"/>
                </a:cubicBezTo>
                <a:cubicBezTo>
                  <a:pt x="202751" y="440152"/>
                  <a:pt x="175730" y="443349"/>
                  <a:pt x="151672" y="443349"/>
                </a:cubicBezTo>
                <a:cubicBezTo>
                  <a:pt x="88156" y="443349"/>
                  <a:pt x="3850" y="421042"/>
                  <a:pt x="117" y="343712"/>
                </a:cubicBezTo>
                <a:lnTo>
                  <a:pt x="0" y="338345"/>
                </a:lnTo>
                <a:lnTo>
                  <a:pt x="0" y="291677"/>
                </a:lnTo>
                <a:cubicBezTo>
                  <a:pt x="1" y="273649"/>
                  <a:pt x="13696" y="258571"/>
                  <a:pt x="31641" y="256839"/>
                </a:cubicBezTo>
                <a:lnTo>
                  <a:pt x="35001" y="256676"/>
                </a:lnTo>
                <a:close/>
                <a:moveTo>
                  <a:pt x="443349" y="128338"/>
                </a:moveTo>
                <a:cubicBezTo>
                  <a:pt x="443349" y="173443"/>
                  <a:pt x="406785" y="210008"/>
                  <a:pt x="361680" y="210008"/>
                </a:cubicBezTo>
                <a:cubicBezTo>
                  <a:pt x="316575" y="210008"/>
                  <a:pt x="280010" y="173443"/>
                  <a:pt x="280010" y="128338"/>
                </a:cubicBezTo>
                <a:cubicBezTo>
                  <a:pt x="280010" y="83233"/>
                  <a:pt x="316575" y="46668"/>
                  <a:pt x="361680" y="46668"/>
                </a:cubicBezTo>
                <a:cubicBezTo>
                  <a:pt x="406785" y="46668"/>
                  <a:pt x="443349" y="83233"/>
                  <a:pt x="443349" y="128338"/>
                </a:cubicBezTo>
                <a:close/>
                <a:moveTo>
                  <a:pt x="151672" y="0"/>
                </a:moveTo>
                <a:cubicBezTo>
                  <a:pt x="209664" y="0"/>
                  <a:pt x="256676" y="47012"/>
                  <a:pt x="256676" y="105004"/>
                </a:cubicBezTo>
                <a:cubicBezTo>
                  <a:pt x="256676" y="162996"/>
                  <a:pt x="209664" y="210008"/>
                  <a:pt x="151672" y="210008"/>
                </a:cubicBezTo>
                <a:cubicBezTo>
                  <a:pt x="93680" y="210008"/>
                  <a:pt x="46668" y="162996"/>
                  <a:pt x="46668" y="105004"/>
                </a:cubicBezTo>
                <a:cubicBezTo>
                  <a:pt x="46668" y="47012"/>
                  <a:pt x="93680" y="0"/>
                  <a:pt x="151672" y="0"/>
                </a:cubicBezTo>
                <a:close/>
                <a:moveTo>
                  <a:pt x="286474" y="279427"/>
                </a:moveTo>
                <a:cubicBezTo>
                  <a:pt x="293633" y="304187"/>
                  <a:pt x="279364" y="330062"/>
                  <a:pt x="254604" y="337221"/>
                </a:cubicBezTo>
                <a:cubicBezTo>
                  <a:pt x="254023" y="337389"/>
                  <a:pt x="253437" y="337547"/>
                  <a:pt x="252849" y="337692"/>
                </a:cubicBezTo>
                <a:lnTo>
                  <a:pt x="239222" y="341052"/>
                </a:lnTo>
                <a:cubicBezTo>
                  <a:pt x="237038" y="355027"/>
                  <a:pt x="237084" y="369259"/>
                  <a:pt x="239362" y="383217"/>
                </a:cubicBezTo>
                <a:lnTo>
                  <a:pt x="251962" y="386250"/>
                </a:lnTo>
                <a:cubicBezTo>
                  <a:pt x="277021" y="392287"/>
                  <a:pt x="292440" y="417493"/>
                  <a:pt x="286404" y="442549"/>
                </a:cubicBezTo>
                <a:cubicBezTo>
                  <a:pt x="286222" y="443312"/>
                  <a:pt x="286019" y="444068"/>
                  <a:pt x="285797" y="444819"/>
                </a:cubicBezTo>
                <a:lnTo>
                  <a:pt x="281433" y="459566"/>
                </a:lnTo>
                <a:cubicBezTo>
                  <a:pt x="291700" y="468573"/>
                  <a:pt x="303368" y="475877"/>
                  <a:pt x="316085" y="481057"/>
                </a:cubicBezTo>
                <a:lnTo>
                  <a:pt x="327588" y="468970"/>
                </a:lnTo>
                <a:cubicBezTo>
                  <a:pt x="345348" y="450291"/>
                  <a:pt x="374887" y="449544"/>
                  <a:pt x="393566" y="467302"/>
                </a:cubicBezTo>
                <a:cubicBezTo>
                  <a:pt x="394135" y="467843"/>
                  <a:pt x="394693" y="468401"/>
                  <a:pt x="395234" y="468970"/>
                </a:cubicBezTo>
                <a:lnTo>
                  <a:pt x="406878" y="481221"/>
                </a:lnTo>
                <a:cubicBezTo>
                  <a:pt x="419504" y="476080"/>
                  <a:pt x="431190" y="468881"/>
                  <a:pt x="441459" y="459916"/>
                </a:cubicBezTo>
                <a:lnTo>
                  <a:pt x="436839" y="443909"/>
                </a:lnTo>
                <a:cubicBezTo>
                  <a:pt x="429694" y="419145"/>
                  <a:pt x="443979" y="393279"/>
                  <a:pt x="468744" y="386134"/>
                </a:cubicBezTo>
                <a:cubicBezTo>
                  <a:pt x="469322" y="385968"/>
                  <a:pt x="469903" y="385812"/>
                  <a:pt x="470487" y="385667"/>
                </a:cubicBezTo>
                <a:lnTo>
                  <a:pt x="484091" y="382307"/>
                </a:lnTo>
                <a:cubicBezTo>
                  <a:pt x="486277" y="368325"/>
                  <a:pt x="486230" y="354087"/>
                  <a:pt x="483951" y="340119"/>
                </a:cubicBezTo>
                <a:lnTo>
                  <a:pt x="471350" y="337085"/>
                </a:lnTo>
                <a:cubicBezTo>
                  <a:pt x="446296" y="331037"/>
                  <a:pt x="430886" y="305825"/>
                  <a:pt x="436935" y="280768"/>
                </a:cubicBezTo>
                <a:cubicBezTo>
                  <a:pt x="437117" y="280015"/>
                  <a:pt x="437320" y="279263"/>
                  <a:pt x="437539" y="278517"/>
                </a:cubicBezTo>
                <a:lnTo>
                  <a:pt x="441879" y="263816"/>
                </a:lnTo>
                <a:cubicBezTo>
                  <a:pt x="431614" y="254762"/>
                  <a:pt x="419910" y="247485"/>
                  <a:pt x="407251" y="242279"/>
                </a:cubicBezTo>
                <a:lnTo>
                  <a:pt x="395747" y="254389"/>
                </a:lnTo>
                <a:cubicBezTo>
                  <a:pt x="377995" y="273075"/>
                  <a:pt x="348456" y="273833"/>
                  <a:pt x="329770" y="256081"/>
                </a:cubicBezTo>
                <a:cubicBezTo>
                  <a:pt x="329191" y="255532"/>
                  <a:pt x="328627" y="254968"/>
                  <a:pt x="328078" y="254389"/>
                </a:cubicBezTo>
                <a:lnTo>
                  <a:pt x="316458" y="242139"/>
                </a:lnTo>
                <a:cubicBezTo>
                  <a:pt x="303764" y="247272"/>
                  <a:pt x="292097" y="254506"/>
                  <a:pt x="281853" y="263419"/>
                </a:cubicBezTo>
                <a:lnTo>
                  <a:pt x="286474" y="279427"/>
                </a:lnTo>
                <a:close/>
                <a:moveTo>
                  <a:pt x="361680" y="396681"/>
                </a:moveTo>
                <a:cubicBezTo>
                  <a:pt x="343012" y="396681"/>
                  <a:pt x="327845" y="381000"/>
                  <a:pt x="327845" y="361680"/>
                </a:cubicBezTo>
                <a:cubicBezTo>
                  <a:pt x="327845" y="342336"/>
                  <a:pt x="343012" y="326678"/>
                  <a:pt x="361680" y="326678"/>
                </a:cubicBezTo>
                <a:cubicBezTo>
                  <a:pt x="380347" y="326678"/>
                  <a:pt x="395514" y="342336"/>
                  <a:pt x="395514" y="361680"/>
                </a:cubicBezTo>
                <a:cubicBezTo>
                  <a:pt x="395514" y="381000"/>
                  <a:pt x="380347" y="396681"/>
                  <a:pt x="361680" y="396681"/>
                </a:cubicBez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89" name="TextBox 1588">
            <a:extLst>
              <a:ext uri="{FF2B5EF4-FFF2-40B4-BE49-F238E27FC236}">
                <a16:creationId xmlns:a16="http://schemas.microsoft.com/office/drawing/2014/main" id="{EE8B2BD1-9225-DFAA-4CA2-A4EA44A0EBF4}"/>
              </a:ext>
            </a:extLst>
          </p:cNvPr>
          <p:cNvSpPr txBox="1"/>
          <p:nvPr/>
        </p:nvSpPr>
        <p:spPr>
          <a:xfrm>
            <a:off x="646116" y="4081508"/>
            <a:ext cx="1295660" cy="215444"/>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Developers</a:t>
            </a:r>
          </a:p>
        </p:txBody>
      </p:sp>
      <p:pic>
        <p:nvPicPr>
          <p:cNvPr id="1590" name="Picture 14" descr="GitHub logo">
            <a:extLst>
              <a:ext uri="{FF2B5EF4-FFF2-40B4-BE49-F238E27FC236}">
                <a16:creationId xmlns:a16="http://schemas.microsoft.com/office/drawing/2014/main" id="{DA6A173E-6163-E4B7-52A3-D0F7D4C34E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9115" y="4801703"/>
            <a:ext cx="669660" cy="669660"/>
          </a:xfrm>
          <a:prstGeom prst="rect">
            <a:avLst/>
          </a:prstGeom>
          <a:noFill/>
          <a:extLst>
            <a:ext uri="{909E8E84-426E-40DD-AFC4-6F175D3DCCD1}">
              <a14:hiddenFill xmlns:a14="http://schemas.microsoft.com/office/drawing/2010/main">
                <a:solidFill>
                  <a:srgbClr val="FFFFFF"/>
                </a:solidFill>
              </a14:hiddenFill>
            </a:ext>
          </a:extLst>
        </p:spPr>
      </p:pic>
      <p:sp>
        <p:nvSpPr>
          <p:cNvPr id="1591" name="TextBox 1590">
            <a:extLst>
              <a:ext uri="{FF2B5EF4-FFF2-40B4-BE49-F238E27FC236}">
                <a16:creationId xmlns:a16="http://schemas.microsoft.com/office/drawing/2014/main" id="{14DC2C63-22EB-A130-2D92-2E06117CAB5F}"/>
              </a:ext>
            </a:extLst>
          </p:cNvPr>
          <p:cNvSpPr txBox="1"/>
          <p:nvPr/>
        </p:nvSpPr>
        <p:spPr>
          <a:xfrm>
            <a:off x="736232" y="5587475"/>
            <a:ext cx="1115428"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GitHub Copilot</a:t>
            </a:r>
          </a:p>
        </p:txBody>
      </p:sp>
      <p:sp>
        <p:nvSpPr>
          <p:cNvPr id="1592" name="Graphic 1299" descr="Icon of a chart line of varying heights pointing top right with a gear">
            <a:extLst>
              <a:ext uri="{FF2B5EF4-FFF2-40B4-BE49-F238E27FC236}">
                <a16:creationId xmlns:a16="http://schemas.microsoft.com/office/drawing/2014/main" id="{ADE0F8AB-B022-272E-3BF7-F0247F5164DF}"/>
              </a:ext>
            </a:extLst>
          </p:cNvPr>
          <p:cNvSpPr/>
          <p:nvPr/>
        </p:nvSpPr>
        <p:spPr>
          <a:xfrm>
            <a:off x="2524946" y="3456679"/>
            <a:ext cx="371518" cy="368132"/>
          </a:xfrm>
          <a:custGeom>
            <a:avLst/>
            <a:gdLst>
              <a:gd name="connsiteX0" fmla="*/ 396394 w 462098"/>
              <a:gd name="connsiteY0" fmla="*/ 0 h 457886"/>
              <a:gd name="connsiteX1" fmla="*/ 419728 w 462098"/>
              <a:gd name="connsiteY1" fmla="*/ 23334 h 457886"/>
              <a:gd name="connsiteX2" fmla="*/ 419728 w 462098"/>
              <a:gd name="connsiteY2" fmla="*/ 140005 h 457886"/>
              <a:gd name="connsiteX3" fmla="*/ 396394 w 462098"/>
              <a:gd name="connsiteY3" fmla="*/ 163339 h 457886"/>
              <a:gd name="connsiteX4" fmla="*/ 373060 w 462098"/>
              <a:gd name="connsiteY4" fmla="*/ 140005 h 457886"/>
              <a:gd name="connsiteX5" fmla="*/ 373060 w 462098"/>
              <a:gd name="connsiteY5" fmla="*/ 79663 h 457886"/>
              <a:gd name="connsiteX6" fmla="*/ 237885 w 462098"/>
              <a:gd name="connsiteY6" fmla="*/ 214838 h 457886"/>
              <a:gd name="connsiteX7" fmla="*/ 204891 w 462098"/>
              <a:gd name="connsiteY7" fmla="*/ 214838 h 457886"/>
              <a:gd name="connsiteX8" fmla="*/ 163052 w 462098"/>
              <a:gd name="connsiteY8" fmla="*/ 173000 h 457886"/>
              <a:gd name="connsiteX9" fmla="*/ 39545 w 462098"/>
              <a:gd name="connsiteY9" fmla="*/ 296507 h 457886"/>
              <a:gd name="connsiteX10" fmla="*/ 6550 w 462098"/>
              <a:gd name="connsiteY10" fmla="*/ 295933 h 457886"/>
              <a:gd name="connsiteX11" fmla="*/ 6550 w 462098"/>
              <a:gd name="connsiteY11" fmla="*/ 263513 h 457886"/>
              <a:gd name="connsiteX12" fmla="*/ 146555 w 462098"/>
              <a:gd name="connsiteY12" fmla="*/ 123508 h 457886"/>
              <a:gd name="connsiteX13" fmla="*/ 179550 w 462098"/>
              <a:gd name="connsiteY13" fmla="*/ 123508 h 457886"/>
              <a:gd name="connsiteX14" fmla="*/ 221388 w 462098"/>
              <a:gd name="connsiteY14" fmla="*/ 165346 h 457886"/>
              <a:gd name="connsiteX15" fmla="*/ 340065 w 462098"/>
              <a:gd name="connsiteY15" fmla="*/ 46668 h 457886"/>
              <a:gd name="connsiteX16" fmla="*/ 279723 w 462098"/>
              <a:gd name="connsiteY16" fmla="*/ 46668 h 457886"/>
              <a:gd name="connsiteX17" fmla="*/ 256389 w 462098"/>
              <a:gd name="connsiteY17" fmla="*/ 23334 h 457886"/>
              <a:gd name="connsiteX18" fmla="*/ 279723 w 462098"/>
              <a:gd name="connsiteY18" fmla="*/ 0 h 457886"/>
              <a:gd name="connsiteX19" fmla="*/ 396394 w 462098"/>
              <a:gd name="connsiteY19" fmla="*/ 0 h 457886"/>
              <a:gd name="connsiteX20" fmla="*/ 262876 w 462098"/>
              <a:gd name="connsiteY20" fmla="*/ 256116 h 457886"/>
              <a:gd name="connsiteX21" fmla="*/ 230985 w 462098"/>
              <a:gd name="connsiteY21" fmla="*/ 313898 h 457886"/>
              <a:gd name="connsiteX22" fmla="*/ 229275 w 462098"/>
              <a:gd name="connsiteY22" fmla="*/ 314358 h 457886"/>
              <a:gd name="connsiteX23" fmla="*/ 215624 w 462098"/>
              <a:gd name="connsiteY23" fmla="*/ 317718 h 457886"/>
              <a:gd name="connsiteX24" fmla="*/ 215764 w 462098"/>
              <a:gd name="connsiteY24" fmla="*/ 359883 h 457886"/>
              <a:gd name="connsiteX25" fmla="*/ 228365 w 462098"/>
              <a:gd name="connsiteY25" fmla="*/ 362916 h 457886"/>
              <a:gd name="connsiteX26" fmla="*/ 262806 w 462098"/>
              <a:gd name="connsiteY26" fmla="*/ 419215 h 457886"/>
              <a:gd name="connsiteX27" fmla="*/ 262199 w 462098"/>
              <a:gd name="connsiteY27" fmla="*/ 421485 h 457886"/>
              <a:gd name="connsiteX28" fmla="*/ 257836 w 462098"/>
              <a:gd name="connsiteY28" fmla="*/ 436232 h 457886"/>
              <a:gd name="connsiteX29" fmla="*/ 292487 w 462098"/>
              <a:gd name="connsiteY29" fmla="*/ 457746 h 457886"/>
              <a:gd name="connsiteX30" fmla="*/ 303991 w 462098"/>
              <a:gd name="connsiteY30" fmla="*/ 445613 h 457886"/>
              <a:gd name="connsiteX31" fmla="*/ 369968 w 462098"/>
              <a:gd name="connsiteY31" fmla="*/ 443968 h 457886"/>
              <a:gd name="connsiteX32" fmla="*/ 371637 w 462098"/>
              <a:gd name="connsiteY32" fmla="*/ 445636 h 457886"/>
              <a:gd name="connsiteX33" fmla="*/ 383280 w 462098"/>
              <a:gd name="connsiteY33" fmla="*/ 457886 h 457886"/>
              <a:gd name="connsiteX34" fmla="*/ 417885 w 462098"/>
              <a:gd name="connsiteY34" fmla="*/ 436582 h 457886"/>
              <a:gd name="connsiteX35" fmla="*/ 413241 w 462098"/>
              <a:gd name="connsiteY35" fmla="*/ 420575 h 457886"/>
              <a:gd name="connsiteX36" fmla="*/ 445146 w 462098"/>
              <a:gd name="connsiteY36" fmla="*/ 362800 h 457886"/>
              <a:gd name="connsiteX37" fmla="*/ 446889 w 462098"/>
              <a:gd name="connsiteY37" fmla="*/ 362333 h 457886"/>
              <a:gd name="connsiteX38" fmla="*/ 460493 w 462098"/>
              <a:gd name="connsiteY38" fmla="*/ 358973 h 457886"/>
              <a:gd name="connsiteX39" fmla="*/ 460353 w 462098"/>
              <a:gd name="connsiteY39" fmla="*/ 316785 h 457886"/>
              <a:gd name="connsiteX40" fmla="*/ 447776 w 462098"/>
              <a:gd name="connsiteY40" fmla="*/ 313751 h 457886"/>
              <a:gd name="connsiteX41" fmla="*/ 413335 w 462098"/>
              <a:gd name="connsiteY41" fmla="*/ 257453 h 457886"/>
              <a:gd name="connsiteX42" fmla="*/ 413941 w 462098"/>
              <a:gd name="connsiteY42" fmla="*/ 255182 h 457886"/>
              <a:gd name="connsiteX43" fmla="*/ 418282 w 462098"/>
              <a:gd name="connsiteY43" fmla="*/ 240482 h 457886"/>
              <a:gd name="connsiteX44" fmla="*/ 383654 w 462098"/>
              <a:gd name="connsiteY44" fmla="*/ 218968 h 457886"/>
              <a:gd name="connsiteX45" fmla="*/ 372150 w 462098"/>
              <a:gd name="connsiteY45" fmla="*/ 231055 h 457886"/>
              <a:gd name="connsiteX46" fmla="*/ 306172 w 462098"/>
              <a:gd name="connsiteY46" fmla="*/ 232747 h 457886"/>
              <a:gd name="connsiteX47" fmla="*/ 304481 w 462098"/>
              <a:gd name="connsiteY47" fmla="*/ 231055 h 457886"/>
              <a:gd name="connsiteX48" fmla="*/ 292860 w 462098"/>
              <a:gd name="connsiteY48" fmla="*/ 218804 h 457886"/>
              <a:gd name="connsiteX49" fmla="*/ 258256 w 462098"/>
              <a:gd name="connsiteY49" fmla="*/ 240085 h 457886"/>
              <a:gd name="connsiteX50" fmla="*/ 262876 w 462098"/>
              <a:gd name="connsiteY50" fmla="*/ 256116 h 457886"/>
              <a:gd name="connsiteX51" fmla="*/ 338059 w 462098"/>
              <a:gd name="connsiteY51" fmla="*/ 373347 h 457886"/>
              <a:gd name="connsiteX52" fmla="*/ 304224 w 462098"/>
              <a:gd name="connsiteY52" fmla="*/ 338345 h 457886"/>
              <a:gd name="connsiteX53" fmla="*/ 338059 w 462098"/>
              <a:gd name="connsiteY53" fmla="*/ 303344 h 457886"/>
              <a:gd name="connsiteX54" fmla="*/ 371893 w 462098"/>
              <a:gd name="connsiteY54" fmla="*/ 338345 h 457886"/>
              <a:gd name="connsiteX55" fmla="*/ 338059 w 462098"/>
              <a:gd name="connsiteY55" fmla="*/ 373347 h 45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62098" h="457886">
                <a:moveTo>
                  <a:pt x="396394" y="0"/>
                </a:moveTo>
                <a:cubicBezTo>
                  <a:pt x="409282" y="0"/>
                  <a:pt x="419728" y="10447"/>
                  <a:pt x="419728" y="23334"/>
                </a:cubicBezTo>
                <a:lnTo>
                  <a:pt x="419728" y="140005"/>
                </a:lnTo>
                <a:cubicBezTo>
                  <a:pt x="419728" y="152892"/>
                  <a:pt x="409282" y="163339"/>
                  <a:pt x="396394" y="163339"/>
                </a:cubicBezTo>
                <a:cubicBezTo>
                  <a:pt x="383507" y="163339"/>
                  <a:pt x="373060" y="152892"/>
                  <a:pt x="373060" y="140005"/>
                </a:cubicBezTo>
                <a:lnTo>
                  <a:pt x="373060" y="79663"/>
                </a:lnTo>
                <a:lnTo>
                  <a:pt x="237885" y="214838"/>
                </a:lnTo>
                <a:cubicBezTo>
                  <a:pt x="228773" y="223947"/>
                  <a:pt x="214003" y="223947"/>
                  <a:pt x="204891" y="214838"/>
                </a:cubicBezTo>
                <a:lnTo>
                  <a:pt x="163052" y="173000"/>
                </a:lnTo>
                <a:lnTo>
                  <a:pt x="39545" y="296507"/>
                </a:lnTo>
                <a:cubicBezTo>
                  <a:pt x="30275" y="305461"/>
                  <a:pt x="15503" y="305204"/>
                  <a:pt x="6550" y="295933"/>
                </a:cubicBezTo>
                <a:cubicBezTo>
                  <a:pt x="-2183" y="286891"/>
                  <a:pt x="-2183" y="272555"/>
                  <a:pt x="6550" y="263513"/>
                </a:cubicBezTo>
                <a:lnTo>
                  <a:pt x="146555" y="123508"/>
                </a:lnTo>
                <a:cubicBezTo>
                  <a:pt x="155667" y="114399"/>
                  <a:pt x="170438" y="114399"/>
                  <a:pt x="179550" y="123508"/>
                </a:cubicBezTo>
                <a:lnTo>
                  <a:pt x="221388" y="165346"/>
                </a:lnTo>
                <a:lnTo>
                  <a:pt x="340065" y="46668"/>
                </a:lnTo>
                <a:lnTo>
                  <a:pt x="279723" y="46668"/>
                </a:lnTo>
                <a:cubicBezTo>
                  <a:pt x="266836" y="46668"/>
                  <a:pt x="256389" y="36221"/>
                  <a:pt x="256389" y="23334"/>
                </a:cubicBezTo>
                <a:cubicBezTo>
                  <a:pt x="256389" y="10447"/>
                  <a:pt x="266836" y="0"/>
                  <a:pt x="279723" y="0"/>
                </a:cubicBezTo>
                <a:lnTo>
                  <a:pt x="396394" y="0"/>
                </a:lnTo>
                <a:close/>
                <a:moveTo>
                  <a:pt x="262876" y="256116"/>
                </a:moveTo>
                <a:cubicBezTo>
                  <a:pt x="270026" y="280878"/>
                  <a:pt x="255747" y="306749"/>
                  <a:pt x="230985" y="313898"/>
                </a:cubicBezTo>
                <a:cubicBezTo>
                  <a:pt x="230418" y="314062"/>
                  <a:pt x="229849" y="314216"/>
                  <a:pt x="229275" y="314358"/>
                </a:cubicBezTo>
                <a:lnTo>
                  <a:pt x="215624" y="317718"/>
                </a:lnTo>
                <a:cubicBezTo>
                  <a:pt x="213440" y="331693"/>
                  <a:pt x="213487" y="345924"/>
                  <a:pt x="215764" y="359883"/>
                </a:cubicBezTo>
                <a:lnTo>
                  <a:pt x="228365" y="362916"/>
                </a:lnTo>
                <a:cubicBezTo>
                  <a:pt x="253423" y="368953"/>
                  <a:pt x="268843" y="394158"/>
                  <a:pt x="262806" y="419215"/>
                </a:cubicBezTo>
                <a:cubicBezTo>
                  <a:pt x="262624" y="419978"/>
                  <a:pt x="262421" y="420734"/>
                  <a:pt x="262199" y="421485"/>
                </a:cubicBezTo>
                <a:lnTo>
                  <a:pt x="257836" y="436232"/>
                </a:lnTo>
                <a:cubicBezTo>
                  <a:pt x="268103" y="445239"/>
                  <a:pt x="279770" y="452543"/>
                  <a:pt x="292487" y="457746"/>
                </a:cubicBezTo>
                <a:lnTo>
                  <a:pt x="303991" y="445613"/>
                </a:lnTo>
                <a:cubicBezTo>
                  <a:pt x="321755" y="426938"/>
                  <a:pt x="351296" y="426203"/>
                  <a:pt x="369968" y="443968"/>
                </a:cubicBezTo>
                <a:cubicBezTo>
                  <a:pt x="370540" y="444509"/>
                  <a:pt x="371095" y="445067"/>
                  <a:pt x="371637" y="445636"/>
                </a:cubicBezTo>
                <a:lnTo>
                  <a:pt x="383280" y="457886"/>
                </a:lnTo>
                <a:cubicBezTo>
                  <a:pt x="395913" y="452748"/>
                  <a:pt x="407608" y="445550"/>
                  <a:pt x="417885" y="436582"/>
                </a:cubicBezTo>
                <a:lnTo>
                  <a:pt x="413241" y="420575"/>
                </a:lnTo>
                <a:cubicBezTo>
                  <a:pt x="406096" y="395810"/>
                  <a:pt x="420382" y="369945"/>
                  <a:pt x="445146" y="362800"/>
                </a:cubicBezTo>
                <a:cubicBezTo>
                  <a:pt x="445723" y="362634"/>
                  <a:pt x="446306" y="362478"/>
                  <a:pt x="446889" y="362333"/>
                </a:cubicBezTo>
                <a:lnTo>
                  <a:pt x="460493" y="358973"/>
                </a:lnTo>
                <a:cubicBezTo>
                  <a:pt x="462679" y="344991"/>
                  <a:pt x="462633" y="330753"/>
                  <a:pt x="460353" y="316785"/>
                </a:cubicBezTo>
                <a:lnTo>
                  <a:pt x="447776" y="313751"/>
                </a:lnTo>
                <a:cubicBezTo>
                  <a:pt x="422717" y="307715"/>
                  <a:pt x="407298" y="282509"/>
                  <a:pt x="413335" y="257453"/>
                </a:cubicBezTo>
                <a:cubicBezTo>
                  <a:pt x="413517" y="256690"/>
                  <a:pt x="413720" y="255934"/>
                  <a:pt x="413941" y="255182"/>
                </a:cubicBezTo>
                <a:lnTo>
                  <a:pt x="418282" y="240482"/>
                </a:lnTo>
                <a:cubicBezTo>
                  <a:pt x="408014" y="231438"/>
                  <a:pt x="396310" y="224167"/>
                  <a:pt x="383654" y="218968"/>
                </a:cubicBezTo>
                <a:lnTo>
                  <a:pt x="372150" y="231055"/>
                </a:lnTo>
                <a:cubicBezTo>
                  <a:pt x="354397" y="249741"/>
                  <a:pt x="324859" y="250499"/>
                  <a:pt x="306172" y="232747"/>
                </a:cubicBezTo>
                <a:cubicBezTo>
                  <a:pt x="305594" y="232198"/>
                  <a:pt x="305029" y="231634"/>
                  <a:pt x="304481" y="231055"/>
                </a:cubicBezTo>
                <a:lnTo>
                  <a:pt x="292860" y="218804"/>
                </a:lnTo>
                <a:cubicBezTo>
                  <a:pt x="280190" y="223938"/>
                  <a:pt x="268523" y="231172"/>
                  <a:pt x="258256" y="240085"/>
                </a:cubicBezTo>
                <a:lnTo>
                  <a:pt x="262876" y="256116"/>
                </a:lnTo>
                <a:close/>
                <a:moveTo>
                  <a:pt x="338059" y="373347"/>
                </a:moveTo>
                <a:cubicBezTo>
                  <a:pt x="319391" y="373347"/>
                  <a:pt x="304224" y="357666"/>
                  <a:pt x="304224" y="338345"/>
                </a:cubicBezTo>
                <a:cubicBezTo>
                  <a:pt x="304224" y="319025"/>
                  <a:pt x="319391" y="303344"/>
                  <a:pt x="338059" y="303344"/>
                </a:cubicBezTo>
                <a:cubicBezTo>
                  <a:pt x="356726" y="303344"/>
                  <a:pt x="371893" y="319025"/>
                  <a:pt x="371893" y="338345"/>
                </a:cubicBezTo>
                <a:cubicBezTo>
                  <a:pt x="371893" y="357666"/>
                  <a:pt x="356726" y="373347"/>
                  <a:pt x="338059" y="373347"/>
                </a:cubicBez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3" name="TextBox 1592">
            <a:extLst>
              <a:ext uri="{FF2B5EF4-FFF2-40B4-BE49-F238E27FC236}">
                <a16:creationId xmlns:a16="http://schemas.microsoft.com/office/drawing/2014/main" id="{FA8FEEDF-17E6-063A-280D-09851CD04DA6}"/>
              </a:ext>
            </a:extLst>
          </p:cNvPr>
          <p:cNvSpPr txBox="1"/>
          <p:nvPr/>
        </p:nvSpPr>
        <p:spPr>
          <a:xfrm>
            <a:off x="2056081" y="4081508"/>
            <a:ext cx="1295660" cy="21544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Productivity </a:t>
            </a:r>
          </a:p>
        </p:txBody>
      </p:sp>
      <p:pic>
        <p:nvPicPr>
          <p:cNvPr id="1594" name="Picture 1593" descr="Microsoft 365 Copilot logo">
            <a:extLst>
              <a:ext uri="{FF2B5EF4-FFF2-40B4-BE49-F238E27FC236}">
                <a16:creationId xmlns:a16="http://schemas.microsoft.com/office/drawing/2014/main" id="{4056D7C8-9F52-0A82-6C7F-83DAAF0CB1B6}"/>
              </a:ext>
            </a:extLst>
          </p:cNvPr>
          <p:cNvPicPr>
            <a:picLocks noChangeAspect="1"/>
          </p:cNvPicPr>
          <p:nvPr/>
        </p:nvPicPr>
        <p:blipFill>
          <a:blip r:embed="rId6"/>
          <a:stretch>
            <a:fillRect/>
          </a:stretch>
        </p:blipFill>
        <p:spPr>
          <a:xfrm>
            <a:off x="2449314" y="4859798"/>
            <a:ext cx="503156" cy="553471"/>
          </a:xfrm>
          <a:prstGeom prst="rect">
            <a:avLst/>
          </a:prstGeom>
        </p:spPr>
      </p:pic>
      <p:sp>
        <p:nvSpPr>
          <p:cNvPr id="1595" name="TextBox 1594">
            <a:extLst>
              <a:ext uri="{FF2B5EF4-FFF2-40B4-BE49-F238E27FC236}">
                <a16:creationId xmlns:a16="http://schemas.microsoft.com/office/drawing/2014/main" id="{A598405C-DBFE-1E7F-6373-7FEE48A42CD1}"/>
              </a:ext>
            </a:extLst>
          </p:cNvPr>
          <p:cNvSpPr txBox="1"/>
          <p:nvPr/>
        </p:nvSpPr>
        <p:spPr>
          <a:xfrm>
            <a:off x="2056081" y="5587475"/>
            <a:ext cx="1295660"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Copilot for Microsoft 365</a:t>
            </a:r>
          </a:p>
        </p:txBody>
      </p:sp>
      <p:sp>
        <p:nvSpPr>
          <p:cNvPr id="1596" name="Graphic 1300" descr="Icon of a team of three people with a briefcase">
            <a:extLst>
              <a:ext uri="{FF2B5EF4-FFF2-40B4-BE49-F238E27FC236}">
                <a16:creationId xmlns:a16="http://schemas.microsoft.com/office/drawing/2014/main" id="{39DFE979-F215-DA4B-0B6C-E32219B5630C}"/>
              </a:ext>
            </a:extLst>
          </p:cNvPr>
          <p:cNvSpPr/>
          <p:nvPr/>
        </p:nvSpPr>
        <p:spPr>
          <a:xfrm>
            <a:off x="3919531" y="3446519"/>
            <a:ext cx="393965" cy="375205"/>
          </a:xfrm>
          <a:custGeom>
            <a:avLst/>
            <a:gdLst>
              <a:gd name="connsiteX0" fmla="*/ 297604 w 490017"/>
              <a:gd name="connsiteY0" fmla="*/ 163339 h 466683"/>
              <a:gd name="connsiteX1" fmla="*/ 336759 w 490017"/>
              <a:gd name="connsiteY1" fmla="*/ 192507 h 466683"/>
              <a:gd name="connsiteX2" fmla="*/ 320845 w 490017"/>
              <a:gd name="connsiteY2" fmla="*/ 192507 h 466683"/>
              <a:gd name="connsiteX3" fmla="*/ 256676 w 490017"/>
              <a:gd name="connsiteY3" fmla="*/ 256676 h 466683"/>
              <a:gd name="connsiteX4" fmla="*/ 256676 w 490017"/>
              <a:gd name="connsiteY4" fmla="*/ 257843 h 466683"/>
              <a:gd name="connsiteX5" fmla="*/ 210008 w 490017"/>
              <a:gd name="connsiteY5" fmla="*/ 315011 h 466683"/>
              <a:gd name="connsiteX6" fmla="*/ 210008 w 490017"/>
              <a:gd name="connsiteY6" fmla="*/ 417402 h 466683"/>
              <a:gd name="connsiteX7" fmla="*/ 128385 w 490017"/>
              <a:gd name="connsiteY7" fmla="*/ 314988 h 466683"/>
              <a:gd name="connsiteX8" fmla="*/ 128385 w 490017"/>
              <a:gd name="connsiteY8" fmla="*/ 204174 h 466683"/>
              <a:gd name="connsiteX9" fmla="*/ 169219 w 490017"/>
              <a:gd name="connsiteY9" fmla="*/ 163339 h 466683"/>
              <a:gd name="connsiteX10" fmla="*/ 297604 w 490017"/>
              <a:gd name="connsiteY10" fmla="*/ 163339 h 466683"/>
              <a:gd name="connsiteX11" fmla="*/ 402514 w 490017"/>
              <a:gd name="connsiteY11" fmla="*/ 192507 h 466683"/>
              <a:gd name="connsiteX12" fmla="*/ 466683 w 490017"/>
              <a:gd name="connsiteY12" fmla="*/ 256396 h 466683"/>
              <a:gd name="connsiteX13" fmla="*/ 466683 w 490017"/>
              <a:gd name="connsiteY13" fmla="*/ 204174 h 466683"/>
              <a:gd name="connsiteX14" fmla="*/ 425849 w 490017"/>
              <a:gd name="connsiteY14" fmla="*/ 163339 h 466683"/>
              <a:gd name="connsiteX15" fmla="*/ 347096 w 490017"/>
              <a:gd name="connsiteY15" fmla="*/ 163339 h 466683"/>
              <a:gd name="connsiteX16" fmla="*/ 360723 w 490017"/>
              <a:gd name="connsiteY16" fmla="*/ 192507 h 466683"/>
              <a:gd name="connsiteX17" fmla="*/ 402514 w 490017"/>
              <a:gd name="connsiteY17" fmla="*/ 192507 h 466683"/>
              <a:gd name="connsiteX18" fmla="*/ 119728 w 490017"/>
              <a:gd name="connsiteY18" fmla="*/ 163339 h 466683"/>
              <a:gd name="connsiteX19" fmla="*/ 105260 w 490017"/>
              <a:gd name="connsiteY19" fmla="*/ 199040 h 466683"/>
              <a:gd name="connsiteX20" fmla="*/ 105027 w 490017"/>
              <a:gd name="connsiteY20" fmla="*/ 204174 h 466683"/>
              <a:gd name="connsiteX21" fmla="*/ 105027 w 490017"/>
              <a:gd name="connsiteY21" fmla="*/ 314988 h 466683"/>
              <a:gd name="connsiteX22" fmla="*/ 117488 w 490017"/>
              <a:gd name="connsiteY22" fmla="*/ 370173 h 466683"/>
              <a:gd name="connsiteX23" fmla="*/ 3172 w 490017"/>
              <a:gd name="connsiteY23" fmla="*/ 304112 h 466683"/>
              <a:gd name="connsiteX24" fmla="*/ 0 w 490017"/>
              <a:gd name="connsiteY24" fmla="*/ 279987 h 466683"/>
              <a:gd name="connsiteX25" fmla="*/ 0 w 490017"/>
              <a:gd name="connsiteY25" fmla="*/ 204174 h 466683"/>
              <a:gd name="connsiteX26" fmla="*/ 37475 w 490017"/>
              <a:gd name="connsiteY26" fmla="*/ 163479 h 466683"/>
              <a:gd name="connsiteX27" fmla="*/ 40835 w 490017"/>
              <a:gd name="connsiteY27" fmla="*/ 163339 h 466683"/>
              <a:gd name="connsiteX28" fmla="*/ 119728 w 490017"/>
              <a:gd name="connsiteY28" fmla="*/ 163339 h 466683"/>
              <a:gd name="connsiteX29" fmla="*/ 233342 w 490017"/>
              <a:gd name="connsiteY29" fmla="*/ 0 h 466683"/>
              <a:gd name="connsiteX30" fmla="*/ 303344 w 490017"/>
              <a:gd name="connsiteY30" fmla="*/ 70003 h 466683"/>
              <a:gd name="connsiteX31" fmla="*/ 233342 w 490017"/>
              <a:gd name="connsiteY31" fmla="*/ 140005 h 466683"/>
              <a:gd name="connsiteX32" fmla="*/ 163339 w 490017"/>
              <a:gd name="connsiteY32" fmla="*/ 70003 h 466683"/>
              <a:gd name="connsiteX33" fmla="*/ 233342 w 490017"/>
              <a:gd name="connsiteY33" fmla="*/ 0 h 466683"/>
              <a:gd name="connsiteX34" fmla="*/ 385014 w 490017"/>
              <a:gd name="connsiteY34" fmla="*/ 23334 h 466683"/>
              <a:gd name="connsiteX35" fmla="*/ 443349 w 490017"/>
              <a:gd name="connsiteY35" fmla="*/ 81670 h 466683"/>
              <a:gd name="connsiteX36" fmla="*/ 385014 w 490017"/>
              <a:gd name="connsiteY36" fmla="*/ 140005 h 466683"/>
              <a:gd name="connsiteX37" fmla="*/ 326678 w 490017"/>
              <a:gd name="connsiteY37" fmla="*/ 81670 h 466683"/>
              <a:gd name="connsiteX38" fmla="*/ 385014 w 490017"/>
              <a:gd name="connsiteY38" fmla="*/ 23334 h 466683"/>
              <a:gd name="connsiteX39" fmla="*/ 81670 w 490017"/>
              <a:gd name="connsiteY39" fmla="*/ 23334 h 466683"/>
              <a:gd name="connsiteX40" fmla="*/ 140005 w 490017"/>
              <a:gd name="connsiteY40" fmla="*/ 81670 h 466683"/>
              <a:gd name="connsiteX41" fmla="*/ 81670 w 490017"/>
              <a:gd name="connsiteY41" fmla="*/ 140005 h 466683"/>
              <a:gd name="connsiteX42" fmla="*/ 23334 w 490017"/>
              <a:gd name="connsiteY42" fmla="*/ 81670 h 466683"/>
              <a:gd name="connsiteX43" fmla="*/ 81670 w 490017"/>
              <a:gd name="connsiteY43" fmla="*/ 23334 h 466683"/>
              <a:gd name="connsiteX44" fmla="*/ 280010 w 490017"/>
              <a:gd name="connsiteY44" fmla="*/ 280010 h 466683"/>
              <a:gd name="connsiteX45" fmla="*/ 268343 w 490017"/>
              <a:gd name="connsiteY45" fmla="*/ 280010 h 466683"/>
              <a:gd name="connsiteX46" fmla="*/ 233342 w 490017"/>
              <a:gd name="connsiteY46" fmla="*/ 315011 h 466683"/>
              <a:gd name="connsiteX47" fmla="*/ 233342 w 490017"/>
              <a:gd name="connsiteY47" fmla="*/ 350013 h 466683"/>
              <a:gd name="connsiteX48" fmla="*/ 291677 w 490017"/>
              <a:gd name="connsiteY48" fmla="*/ 350013 h 466683"/>
              <a:gd name="connsiteX49" fmla="*/ 291677 w 490017"/>
              <a:gd name="connsiteY49" fmla="*/ 344179 h 466683"/>
              <a:gd name="connsiteX50" fmla="*/ 309178 w 490017"/>
              <a:gd name="connsiteY50" fmla="*/ 326678 h 466683"/>
              <a:gd name="connsiteX51" fmla="*/ 326678 w 490017"/>
              <a:gd name="connsiteY51" fmla="*/ 344179 h 466683"/>
              <a:gd name="connsiteX52" fmla="*/ 326678 w 490017"/>
              <a:gd name="connsiteY52" fmla="*/ 350013 h 466683"/>
              <a:gd name="connsiteX53" fmla="*/ 396681 w 490017"/>
              <a:gd name="connsiteY53" fmla="*/ 350013 h 466683"/>
              <a:gd name="connsiteX54" fmla="*/ 396681 w 490017"/>
              <a:gd name="connsiteY54" fmla="*/ 344179 h 466683"/>
              <a:gd name="connsiteX55" fmla="*/ 414181 w 490017"/>
              <a:gd name="connsiteY55" fmla="*/ 326678 h 466683"/>
              <a:gd name="connsiteX56" fmla="*/ 431682 w 490017"/>
              <a:gd name="connsiteY56" fmla="*/ 344179 h 466683"/>
              <a:gd name="connsiteX57" fmla="*/ 431682 w 490017"/>
              <a:gd name="connsiteY57" fmla="*/ 350013 h 466683"/>
              <a:gd name="connsiteX58" fmla="*/ 490018 w 490017"/>
              <a:gd name="connsiteY58" fmla="*/ 350013 h 466683"/>
              <a:gd name="connsiteX59" fmla="*/ 490018 w 490017"/>
              <a:gd name="connsiteY59" fmla="*/ 315011 h 466683"/>
              <a:gd name="connsiteX60" fmla="*/ 455016 w 490017"/>
              <a:gd name="connsiteY60" fmla="*/ 280010 h 466683"/>
              <a:gd name="connsiteX61" fmla="*/ 443349 w 490017"/>
              <a:gd name="connsiteY61" fmla="*/ 280010 h 466683"/>
              <a:gd name="connsiteX62" fmla="*/ 443349 w 490017"/>
              <a:gd name="connsiteY62" fmla="*/ 256676 h 466683"/>
              <a:gd name="connsiteX63" fmla="*/ 402514 w 490017"/>
              <a:gd name="connsiteY63" fmla="*/ 215841 h 466683"/>
              <a:gd name="connsiteX64" fmla="*/ 320845 w 490017"/>
              <a:gd name="connsiteY64" fmla="*/ 215841 h 466683"/>
              <a:gd name="connsiteX65" fmla="*/ 280010 w 490017"/>
              <a:gd name="connsiteY65" fmla="*/ 256676 h 466683"/>
              <a:gd name="connsiteX66" fmla="*/ 280010 w 490017"/>
              <a:gd name="connsiteY66" fmla="*/ 280010 h 466683"/>
              <a:gd name="connsiteX67" fmla="*/ 315011 w 490017"/>
              <a:gd name="connsiteY67" fmla="*/ 256676 h 466683"/>
              <a:gd name="connsiteX68" fmla="*/ 320845 w 490017"/>
              <a:gd name="connsiteY68" fmla="*/ 250842 h 466683"/>
              <a:gd name="connsiteX69" fmla="*/ 402514 w 490017"/>
              <a:gd name="connsiteY69" fmla="*/ 250842 h 466683"/>
              <a:gd name="connsiteX70" fmla="*/ 408348 w 490017"/>
              <a:gd name="connsiteY70" fmla="*/ 256676 h 466683"/>
              <a:gd name="connsiteX71" fmla="*/ 408348 w 490017"/>
              <a:gd name="connsiteY71" fmla="*/ 280010 h 466683"/>
              <a:gd name="connsiteX72" fmla="*/ 315011 w 490017"/>
              <a:gd name="connsiteY72" fmla="*/ 280010 h 466683"/>
              <a:gd name="connsiteX73" fmla="*/ 315011 w 490017"/>
              <a:gd name="connsiteY73" fmla="*/ 256676 h 466683"/>
              <a:gd name="connsiteX74" fmla="*/ 233342 w 490017"/>
              <a:gd name="connsiteY74" fmla="*/ 431682 h 466683"/>
              <a:gd name="connsiteX75" fmla="*/ 233342 w 490017"/>
              <a:gd name="connsiteY75" fmla="*/ 385014 h 466683"/>
              <a:gd name="connsiteX76" fmla="*/ 291677 w 490017"/>
              <a:gd name="connsiteY76" fmla="*/ 385014 h 466683"/>
              <a:gd name="connsiteX77" fmla="*/ 291677 w 490017"/>
              <a:gd name="connsiteY77" fmla="*/ 402514 h 466683"/>
              <a:gd name="connsiteX78" fmla="*/ 309178 w 490017"/>
              <a:gd name="connsiteY78" fmla="*/ 420015 h 466683"/>
              <a:gd name="connsiteX79" fmla="*/ 326678 w 490017"/>
              <a:gd name="connsiteY79" fmla="*/ 402514 h 466683"/>
              <a:gd name="connsiteX80" fmla="*/ 326678 w 490017"/>
              <a:gd name="connsiteY80" fmla="*/ 385014 h 466683"/>
              <a:gd name="connsiteX81" fmla="*/ 396681 w 490017"/>
              <a:gd name="connsiteY81" fmla="*/ 385014 h 466683"/>
              <a:gd name="connsiteX82" fmla="*/ 396681 w 490017"/>
              <a:gd name="connsiteY82" fmla="*/ 402514 h 466683"/>
              <a:gd name="connsiteX83" fmla="*/ 414181 w 490017"/>
              <a:gd name="connsiteY83" fmla="*/ 420015 h 466683"/>
              <a:gd name="connsiteX84" fmla="*/ 431682 w 490017"/>
              <a:gd name="connsiteY84" fmla="*/ 402514 h 466683"/>
              <a:gd name="connsiteX85" fmla="*/ 431682 w 490017"/>
              <a:gd name="connsiteY85" fmla="*/ 385014 h 466683"/>
              <a:gd name="connsiteX86" fmla="*/ 490018 w 490017"/>
              <a:gd name="connsiteY86" fmla="*/ 385014 h 466683"/>
              <a:gd name="connsiteX87" fmla="*/ 490018 w 490017"/>
              <a:gd name="connsiteY87" fmla="*/ 431682 h 466683"/>
              <a:gd name="connsiteX88" fmla="*/ 455016 w 490017"/>
              <a:gd name="connsiteY88" fmla="*/ 466683 h 466683"/>
              <a:gd name="connsiteX89" fmla="*/ 268343 w 490017"/>
              <a:gd name="connsiteY89" fmla="*/ 466683 h 466683"/>
              <a:gd name="connsiteX90" fmla="*/ 233342 w 490017"/>
              <a:gd name="connsiteY90" fmla="*/ 431682 h 46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90017" h="466683">
                <a:moveTo>
                  <a:pt x="297604" y="163339"/>
                </a:moveTo>
                <a:cubicBezTo>
                  <a:pt x="315672" y="163329"/>
                  <a:pt x="331597" y="175193"/>
                  <a:pt x="336759" y="192507"/>
                </a:cubicBezTo>
                <a:lnTo>
                  <a:pt x="320845" y="192507"/>
                </a:lnTo>
                <a:cubicBezTo>
                  <a:pt x="285405" y="192507"/>
                  <a:pt x="256676" y="221236"/>
                  <a:pt x="256676" y="256676"/>
                </a:cubicBezTo>
                <a:lnTo>
                  <a:pt x="256676" y="257843"/>
                </a:lnTo>
                <a:cubicBezTo>
                  <a:pt x="229510" y="263387"/>
                  <a:pt x="210003" y="287286"/>
                  <a:pt x="210008" y="315011"/>
                </a:cubicBezTo>
                <a:lnTo>
                  <a:pt x="210008" y="417402"/>
                </a:lnTo>
                <a:cubicBezTo>
                  <a:pt x="162251" y="406467"/>
                  <a:pt x="128389" y="363980"/>
                  <a:pt x="128385" y="314988"/>
                </a:cubicBezTo>
                <a:lnTo>
                  <a:pt x="128385" y="204174"/>
                </a:lnTo>
                <a:cubicBezTo>
                  <a:pt x="128385" y="181633"/>
                  <a:pt x="146655" y="163339"/>
                  <a:pt x="169219" y="163339"/>
                </a:cubicBezTo>
                <a:lnTo>
                  <a:pt x="297604" y="163339"/>
                </a:lnTo>
                <a:close/>
                <a:moveTo>
                  <a:pt x="402514" y="192507"/>
                </a:moveTo>
                <a:cubicBezTo>
                  <a:pt x="437845" y="192507"/>
                  <a:pt x="466529" y="221066"/>
                  <a:pt x="466683" y="256396"/>
                </a:cubicBezTo>
                <a:lnTo>
                  <a:pt x="466683" y="204174"/>
                </a:lnTo>
                <a:cubicBezTo>
                  <a:pt x="466683" y="181621"/>
                  <a:pt x="448401" y="163339"/>
                  <a:pt x="425849" y="163339"/>
                </a:cubicBezTo>
                <a:lnTo>
                  <a:pt x="347096" y="163339"/>
                </a:lnTo>
                <a:cubicBezTo>
                  <a:pt x="353909" y="171576"/>
                  <a:pt x="358693" y="181540"/>
                  <a:pt x="360723" y="192507"/>
                </a:cubicBezTo>
                <a:lnTo>
                  <a:pt x="402514" y="192507"/>
                </a:lnTo>
                <a:close/>
                <a:moveTo>
                  <a:pt x="119728" y="163339"/>
                </a:moveTo>
                <a:cubicBezTo>
                  <a:pt x="111561" y="173186"/>
                  <a:pt x="106310" y="185507"/>
                  <a:pt x="105260" y="199040"/>
                </a:cubicBezTo>
                <a:lnTo>
                  <a:pt x="105027" y="204174"/>
                </a:lnTo>
                <a:lnTo>
                  <a:pt x="105027" y="314988"/>
                </a:lnTo>
                <a:cubicBezTo>
                  <a:pt x="105027" y="334752"/>
                  <a:pt x="109507" y="353466"/>
                  <a:pt x="117488" y="370173"/>
                </a:cubicBezTo>
                <a:cubicBezTo>
                  <a:pt x="67678" y="383499"/>
                  <a:pt x="16497" y="353921"/>
                  <a:pt x="3172" y="304112"/>
                </a:cubicBezTo>
                <a:cubicBezTo>
                  <a:pt x="1066" y="296244"/>
                  <a:pt x="0" y="288133"/>
                  <a:pt x="0" y="279987"/>
                </a:cubicBezTo>
                <a:lnTo>
                  <a:pt x="0" y="204174"/>
                </a:lnTo>
                <a:cubicBezTo>
                  <a:pt x="1" y="182926"/>
                  <a:pt x="16298" y="165227"/>
                  <a:pt x="37475" y="163479"/>
                </a:cubicBezTo>
                <a:lnTo>
                  <a:pt x="40835" y="163339"/>
                </a:lnTo>
                <a:lnTo>
                  <a:pt x="119728" y="163339"/>
                </a:lnTo>
                <a:close/>
                <a:moveTo>
                  <a:pt x="233342" y="0"/>
                </a:moveTo>
                <a:cubicBezTo>
                  <a:pt x="272004" y="0"/>
                  <a:pt x="303344" y="31341"/>
                  <a:pt x="303344" y="70003"/>
                </a:cubicBezTo>
                <a:cubicBezTo>
                  <a:pt x="303344" y="108664"/>
                  <a:pt x="272004" y="140005"/>
                  <a:pt x="233342" y="140005"/>
                </a:cubicBezTo>
                <a:cubicBezTo>
                  <a:pt x="194679" y="140005"/>
                  <a:pt x="163339" y="108664"/>
                  <a:pt x="163339" y="70003"/>
                </a:cubicBezTo>
                <a:cubicBezTo>
                  <a:pt x="163339" y="31341"/>
                  <a:pt x="194679" y="0"/>
                  <a:pt x="233342" y="0"/>
                </a:cubicBezTo>
                <a:close/>
                <a:moveTo>
                  <a:pt x="385014" y="23334"/>
                </a:moveTo>
                <a:cubicBezTo>
                  <a:pt x="417231" y="23334"/>
                  <a:pt x="443349" y="49452"/>
                  <a:pt x="443349" y="81670"/>
                </a:cubicBezTo>
                <a:cubicBezTo>
                  <a:pt x="443349" y="113887"/>
                  <a:pt x="417231" y="140005"/>
                  <a:pt x="385014" y="140005"/>
                </a:cubicBezTo>
                <a:cubicBezTo>
                  <a:pt x="352796" y="140005"/>
                  <a:pt x="326678" y="113887"/>
                  <a:pt x="326678" y="81670"/>
                </a:cubicBezTo>
                <a:cubicBezTo>
                  <a:pt x="326678" y="49452"/>
                  <a:pt x="352796" y="23334"/>
                  <a:pt x="385014" y="23334"/>
                </a:cubicBezTo>
                <a:close/>
                <a:moveTo>
                  <a:pt x="81670" y="23334"/>
                </a:moveTo>
                <a:cubicBezTo>
                  <a:pt x="113887" y="23334"/>
                  <a:pt x="140005" y="49452"/>
                  <a:pt x="140005" y="81670"/>
                </a:cubicBezTo>
                <a:cubicBezTo>
                  <a:pt x="140005" y="113887"/>
                  <a:pt x="113887" y="140005"/>
                  <a:pt x="81670" y="140005"/>
                </a:cubicBezTo>
                <a:cubicBezTo>
                  <a:pt x="49452" y="140005"/>
                  <a:pt x="23334" y="113887"/>
                  <a:pt x="23334" y="81670"/>
                </a:cubicBezTo>
                <a:cubicBezTo>
                  <a:pt x="23334" y="49452"/>
                  <a:pt x="49452" y="23334"/>
                  <a:pt x="81670" y="23334"/>
                </a:cubicBezTo>
                <a:close/>
                <a:moveTo>
                  <a:pt x="280010" y="280010"/>
                </a:moveTo>
                <a:lnTo>
                  <a:pt x="268343" y="280010"/>
                </a:lnTo>
                <a:cubicBezTo>
                  <a:pt x="249013" y="280010"/>
                  <a:pt x="233342" y="295681"/>
                  <a:pt x="233342" y="315011"/>
                </a:cubicBezTo>
                <a:lnTo>
                  <a:pt x="233342" y="350013"/>
                </a:lnTo>
                <a:lnTo>
                  <a:pt x="291677" y="350013"/>
                </a:lnTo>
                <a:lnTo>
                  <a:pt x="291677" y="344179"/>
                </a:lnTo>
                <a:cubicBezTo>
                  <a:pt x="291677" y="334514"/>
                  <a:pt x="299513" y="326678"/>
                  <a:pt x="309178" y="326678"/>
                </a:cubicBezTo>
                <a:cubicBezTo>
                  <a:pt x="318843" y="326678"/>
                  <a:pt x="326678" y="334514"/>
                  <a:pt x="326678" y="344179"/>
                </a:cubicBezTo>
                <a:lnTo>
                  <a:pt x="326678" y="350013"/>
                </a:lnTo>
                <a:lnTo>
                  <a:pt x="396681" y="350013"/>
                </a:lnTo>
                <a:lnTo>
                  <a:pt x="396681" y="344179"/>
                </a:lnTo>
                <a:cubicBezTo>
                  <a:pt x="396681" y="334514"/>
                  <a:pt x="404516" y="326678"/>
                  <a:pt x="414181" y="326678"/>
                </a:cubicBezTo>
                <a:cubicBezTo>
                  <a:pt x="423846" y="326678"/>
                  <a:pt x="431682" y="334514"/>
                  <a:pt x="431682" y="344179"/>
                </a:cubicBezTo>
                <a:lnTo>
                  <a:pt x="431682" y="350013"/>
                </a:lnTo>
                <a:lnTo>
                  <a:pt x="490018" y="350013"/>
                </a:lnTo>
                <a:lnTo>
                  <a:pt x="490018" y="315011"/>
                </a:lnTo>
                <a:cubicBezTo>
                  <a:pt x="490018" y="295681"/>
                  <a:pt x="474346" y="280010"/>
                  <a:pt x="455016" y="280010"/>
                </a:cubicBezTo>
                <a:lnTo>
                  <a:pt x="443349" y="280010"/>
                </a:lnTo>
                <a:lnTo>
                  <a:pt x="443349" y="256676"/>
                </a:lnTo>
                <a:cubicBezTo>
                  <a:pt x="443349" y="234123"/>
                  <a:pt x="425067" y="215841"/>
                  <a:pt x="402514" y="215841"/>
                </a:cubicBezTo>
                <a:lnTo>
                  <a:pt x="320845" y="215841"/>
                </a:lnTo>
                <a:cubicBezTo>
                  <a:pt x="298292" y="215841"/>
                  <a:pt x="280010" y="234123"/>
                  <a:pt x="280010" y="256676"/>
                </a:cubicBezTo>
                <a:lnTo>
                  <a:pt x="280010" y="280010"/>
                </a:lnTo>
                <a:close/>
                <a:moveTo>
                  <a:pt x="315011" y="256676"/>
                </a:moveTo>
                <a:cubicBezTo>
                  <a:pt x="315011" y="253453"/>
                  <a:pt x="317622" y="250842"/>
                  <a:pt x="320845" y="250842"/>
                </a:cubicBezTo>
                <a:lnTo>
                  <a:pt x="402514" y="250842"/>
                </a:lnTo>
                <a:cubicBezTo>
                  <a:pt x="405737" y="250842"/>
                  <a:pt x="408348" y="253453"/>
                  <a:pt x="408348" y="256676"/>
                </a:cubicBezTo>
                <a:lnTo>
                  <a:pt x="408348" y="280010"/>
                </a:lnTo>
                <a:lnTo>
                  <a:pt x="315011" y="280010"/>
                </a:lnTo>
                <a:lnTo>
                  <a:pt x="315011" y="256676"/>
                </a:lnTo>
                <a:close/>
                <a:moveTo>
                  <a:pt x="233342" y="431682"/>
                </a:moveTo>
                <a:lnTo>
                  <a:pt x="233342" y="385014"/>
                </a:lnTo>
                <a:lnTo>
                  <a:pt x="291677" y="385014"/>
                </a:lnTo>
                <a:lnTo>
                  <a:pt x="291677" y="402514"/>
                </a:lnTo>
                <a:cubicBezTo>
                  <a:pt x="291677" y="412179"/>
                  <a:pt x="299513" y="420015"/>
                  <a:pt x="309178" y="420015"/>
                </a:cubicBezTo>
                <a:cubicBezTo>
                  <a:pt x="318843" y="420015"/>
                  <a:pt x="326678" y="412179"/>
                  <a:pt x="326678" y="402514"/>
                </a:cubicBezTo>
                <a:lnTo>
                  <a:pt x="326678" y="385014"/>
                </a:lnTo>
                <a:lnTo>
                  <a:pt x="396681" y="385014"/>
                </a:lnTo>
                <a:lnTo>
                  <a:pt x="396681" y="402514"/>
                </a:lnTo>
                <a:cubicBezTo>
                  <a:pt x="396681" y="412179"/>
                  <a:pt x="404516" y="420015"/>
                  <a:pt x="414181" y="420015"/>
                </a:cubicBezTo>
                <a:cubicBezTo>
                  <a:pt x="423846" y="420015"/>
                  <a:pt x="431682" y="412179"/>
                  <a:pt x="431682" y="402514"/>
                </a:cubicBezTo>
                <a:lnTo>
                  <a:pt x="431682" y="385014"/>
                </a:lnTo>
                <a:lnTo>
                  <a:pt x="490018" y="385014"/>
                </a:lnTo>
                <a:lnTo>
                  <a:pt x="490018" y="431682"/>
                </a:lnTo>
                <a:cubicBezTo>
                  <a:pt x="490018" y="451012"/>
                  <a:pt x="474346" y="466683"/>
                  <a:pt x="455016" y="466683"/>
                </a:cubicBezTo>
                <a:lnTo>
                  <a:pt x="268343" y="466683"/>
                </a:lnTo>
                <a:cubicBezTo>
                  <a:pt x="249013" y="466683"/>
                  <a:pt x="233342" y="451012"/>
                  <a:pt x="233342" y="431682"/>
                </a:cubicBez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597" name="TextBox 1596">
            <a:extLst>
              <a:ext uri="{FF2B5EF4-FFF2-40B4-BE49-F238E27FC236}">
                <a16:creationId xmlns:a16="http://schemas.microsoft.com/office/drawing/2014/main" id="{B59C8241-B41C-F1A2-42A9-5F68020A7862}"/>
              </a:ext>
            </a:extLst>
          </p:cNvPr>
          <p:cNvSpPr txBox="1"/>
          <p:nvPr/>
        </p:nvSpPr>
        <p:spPr>
          <a:xfrm>
            <a:off x="3466046" y="4081508"/>
            <a:ext cx="1295660" cy="215444"/>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Sales </a:t>
            </a:r>
          </a:p>
        </p:txBody>
      </p:sp>
      <p:pic>
        <p:nvPicPr>
          <p:cNvPr id="1598" name="Picture 4" descr="Microsoft Copilot logo">
            <a:extLst>
              <a:ext uri="{FF2B5EF4-FFF2-40B4-BE49-F238E27FC236}">
                <a16:creationId xmlns:a16="http://schemas.microsoft.com/office/drawing/2014/main" id="{A9DC5D6A-91E9-7E30-1CF8-663D2EDC31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02553" y="4831670"/>
            <a:ext cx="610574" cy="609726"/>
          </a:xfrm>
          <a:prstGeom prst="rect">
            <a:avLst/>
          </a:prstGeom>
          <a:noFill/>
          <a:extLst>
            <a:ext uri="{909E8E84-426E-40DD-AFC4-6F175D3DCCD1}">
              <a14:hiddenFill xmlns:a14="http://schemas.microsoft.com/office/drawing/2010/main">
                <a:solidFill>
                  <a:srgbClr val="FFFFFF"/>
                </a:solidFill>
              </a14:hiddenFill>
            </a:ext>
          </a:extLst>
        </p:spPr>
      </p:pic>
      <p:sp>
        <p:nvSpPr>
          <p:cNvPr id="1599" name="TextBox 1598">
            <a:extLst>
              <a:ext uri="{FF2B5EF4-FFF2-40B4-BE49-F238E27FC236}">
                <a16:creationId xmlns:a16="http://schemas.microsoft.com/office/drawing/2014/main" id="{569D34E9-64E3-2418-05E1-DEB781C8D82E}"/>
              </a:ext>
            </a:extLst>
          </p:cNvPr>
          <p:cNvSpPr txBox="1"/>
          <p:nvPr/>
        </p:nvSpPr>
        <p:spPr>
          <a:xfrm>
            <a:off x="3466046" y="5587475"/>
            <a:ext cx="1295660" cy="64633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Microsoft Copilot for Sales</a:t>
            </a:r>
          </a:p>
        </p:txBody>
      </p:sp>
      <p:sp>
        <p:nvSpPr>
          <p:cNvPr id="1600" name="Graphic 1296" descr="Icon of a person with a phone">
            <a:extLst>
              <a:ext uri="{FF2B5EF4-FFF2-40B4-BE49-F238E27FC236}">
                <a16:creationId xmlns:a16="http://schemas.microsoft.com/office/drawing/2014/main" id="{C96DC9E3-634E-8FBD-6A6A-8D98112AC8CA}"/>
              </a:ext>
            </a:extLst>
          </p:cNvPr>
          <p:cNvSpPr/>
          <p:nvPr/>
        </p:nvSpPr>
        <p:spPr>
          <a:xfrm>
            <a:off x="5367043" y="3446519"/>
            <a:ext cx="337648" cy="375130"/>
          </a:xfrm>
          <a:custGeom>
            <a:avLst/>
            <a:gdLst>
              <a:gd name="connsiteX0" fmla="*/ 52502 w 419969"/>
              <a:gd name="connsiteY0" fmla="*/ 279893 h 466589"/>
              <a:gd name="connsiteX1" fmla="*/ 308898 w 419969"/>
              <a:gd name="connsiteY1" fmla="*/ 279893 h 466589"/>
              <a:gd name="connsiteX2" fmla="*/ 317765 w 419969"/>
              <a:gd name="connsiteY2" fmla="*/ 290954 h 466589"/>
              <a:gd name="connsiteX3" fmla="*/ 334565 w 419969"/>
              <a:gd name="connsiteY3" fmla="*/ 306868 h 466589"/>
              <a:gd name="connsiteX4" fmla="*/ 324742 w 419969"/>
              <a:gd name="connsiteY4" fmla="*/ 330248 h 466589"/>
              <a:gd name="connsiteX5" fmla="*/ 308711 w 419969"/>
              <a:gd name="connsiteY5" fmla="*/ 351109 h 466589"/>
              <a:gd name="connsiteX6" fmla="*/ 290184 w 419969"/>
              <a:gd name="connsiteY6" fmla="*/ 344926 h 466589"/>
              <a:gd name="connsiteX7" fmla="*/ 231685 w 419969"/>
              <a:gd name="connsiteY7" fmla="*/ 365133 h 466589"/>
              <a:gd name="connsiteX8" fmla="*/ 214838 w 419969"/>
              <a:gd name="connsiteY8" fmla="*/ 389867 h 466589"/>
              <a:gd name="connsiteX9" fmla="*/ 221138 w 419969"/>
              <a:gd name="connsiteY9" fmla="*/ 459286 h 466589"/>
              <a:gd name="connsiteX10" fmla="*/ 226435 w 419969"/>
              <a:gd name="connsiteY10" fmla="*/ 464607 h 466589"/>
              <a:gd name="connsiteX11" fmla="*/ 186580 w 419969"/>
              <a:gd name="connsiteY11" fmla="*/ 466590 h 466589"/>
              <a:gd name="connsiteX12" fmla="*/ 30451 w 419969"/>
              <a:gd name="connsiteY12" fmla="*/ 419922 h 466589"/>
              <a:gd name="connsiteX13" fmla="*/ 0 w 419969"/>
              <a:gd name="connsiteY13" fmla="*/ 353559 h 466589"/>
              <a:gd name="connsiteX14" fmla="*/ 0 w 419969"/>
              <a:gd name="connsiteY14" fmla="*/ 332395 h 466589"/>
              <a:gd name="connsiteX15" fmla="*/ 52502 w 419969"/>
              <a:gd name="connsiteY15" fmla="*/ 279893 h 466589"/>
              <a:gd name="connsiteX16" fmla="*/ 326842 w 419969"/>
              <a:gd name="connsiteY16" fmla="*/ 238942 h 466589"/>
              <a:gd name="connsiteX17" fmla="*/ 338579 w 419969"/>
              <a:gd name="connsiteY17" fmla="*/ 211244 h 466589"/>
              <a:gd name="connsiteX18" fmla="*/ 370220 w 419969"/>
              <a:gd name="connsiteY18" fmla="*/ 193884 h 466589"/>
              <a:gd name="connsiteX19" fmla="*/ 372973 w 419969"/>
              <a:gd name="connsiteY19" fmla="*/ 194607 h 466589"/>
              <a:gd name="connsiteX20" fmla="*/ 387674 w 419969"/>
              <a:gd name="connsiteY20" fmla="*/ 199320 h 466589"/>
              <a:gd name="connsiteX21" fmla="*/ 417052 w 419969"/>
              <a:gd name="connsiteY21" fmla="*/ 232152 h 466589"/>
              <a:gd name="connsiteX22" fmla="*/ 386204 w 419969"/>
              <a:gd name="connsiteY22" fmla="*/ 368306 h 466589"/>
              <a:gd name="connsiteX23" fmla="*/ 290534 w 419969"/>
              <a:gd name="connsiteY23" fmla="*/ 464677 h 466589"/>
              <a:gd name="connsiteX24" fmla="*/ 251729 w 419969"/>
              <a:gd name="connsiteY24" fmla="*/ 456673 h 466589"/>
              <a:gd name="connsiteX25" fmla="*/ 248836 w 419969"/>
              <a:gd name="connsiteY25" fmla="*/ 454036 h 466589"/>
              <a:gd name="connsiteX26" fmla="*/ 237682 w 419969"/>
              <a:gd name="connsiteY26" fmla="*/ 442836 h 466589"/>
              <a:gd name="connsiteX27" fmla="*/ 232502 w 419969"/>
              <a:gd name="connsiteY27" fmla="*/ 405711 h 466589"/>
              <a:gd name="connsiteX28" fmla="*/ 234135 w 419969"/>
              <a:gd name="connsiteY28" fmla="*/ 403004 h 466589"/>
              <a:gd name="connsiteX29" fmla="*/ 250982 w 419969"/>
              <a:gd name="connsiteY29" fmla="*/ 378270 h 466589"/>
              <a:gd name="connsiteX30" fmla="*/ 279847 w 419969"/>
              <a:gd name="connsiteY30" fmla="*/ 366253 h 466589"/>
              <a:gd name="connsiteX31" fmla="*/ 282810 w 419969"/>
              <a:gd name="connsiteY31" fmla="*/ 367070 h 466589"/>
              <a:gd name="connsiteX32" fmla="*/ 313891 w 419969"/>
              <a:gd name="connsiteY32" fmla="*/ 377430 h 466589"/>
              <a:gd name="connsiteX33" fmla="*/ 344926 w 419969"/>
              <a:gd name="connsiteY33" fmla="*/ 341962 h 466589"/>
              <a:gd name="connsiteX34" fmla="*/ 358833 w 419969"/>
              <a:gd name="connsiteY34" fmla="*/ 304861 h 466589"/>
              <a:gd name="connsiteX35" fmla="*/ 359720 w 419969"/>
              <a:gd name="connsiteY35" fmla="*/ 298584 h 466589"/>
              <a:gd name="connsiteX36" fmla="*/ 333842 w 419969"/>
              <a:gd name="connsiteY36" fmla="*/ 274013 h 466589"/>
              <a:gd name="connsiteX37" fmla="*/ 325722 w 419969"/>
              <a:gd name="connsiteY37" fmla="*/ 241999 h 466589"/>
              <a:gd name="connsiteX38" fmla="*/ 326842 w 419969"/>
              <a:gd name="connsiteY38" fmla="*/ 238942 h 466589"/>
              <a:gd name="connsiteX39" fmla="*/ 338579 w 419969"/>
              <a:gd name="connsiteY39" fmla="*/ 211244 h 466589"/>
              <a:gd name="connsiteX40" fmla="*/ 326842 w 419969"/>
              <a:gd name="connsiteY40" fmla="*/ 238942 h 466589"/>
              <a:gd name="connsiteX41" fmla="*/ 186580 w 419969"/>
              <a:gd name="connsiteY41" fmla="*/ 0 h 466589"/>
              <a:gd name="connsiteX42" fmla="*/ 303251 w 419969"/>
              <a:gd name="connsiteY42" fmla="*/ 116671 h 466589"/>
              <a:gd name="connsiteX43" fmla="*/ 186580 w 419969"/>
              <a:gd name="connsiteY43" fmla="*/ 233342 h 466589"/>
              <a:gd name="connsiteX44" fmla="*/ 69909 w 419969"/>
              <a:gd name="connsiteY44" fmla="*/ 116671 h 466589"/>
              <a:gd name="connsiteX45" fmla="*/ 186580 w 419969"/>
              <a:gd name="connsiteY45" fmla="*/ 0 h 46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19969" h="466589">
                <a:moveTo>
                  <a:pt x="52502" y="279893"/>
                </a:moveTo>
                <a:lnTo>
                  <a:pt x="308898" y="279893"/>
                </a:lnTo>
                <a:cubicBezTo>
                  <a:pt x="311324" y="283907"/>
                  <a:pt x="314288" y="287640"/>
                  <a:pt x="317765" y="290954"/>
                </a:cubicBezTo>
                <a:lnTo>
                  <a:pt x="334565" y="306868"/>
                </a:lnTo>
                <a:cubicBezTo>
                  <a:pt x="332381" y="315077"/>
                  <a:pt x="329075" y="322943"/>
                  <a:pt x="324742" y="330248"/>
                </a:cubicBezTo>
                <a:cubicBezTo>
                  <a:pt x="320352" y="337886"/>
                  <a:pt x="314962" y="344902"/>
                  <a:pt x="308711" y="351109"/>
                </a:cubicBezTo>
                <a:lnTo>
                  <a:pt x="290184" y="344926"/>
                </a:lnTo>
                <a:cubicBezTo>
                  <a:pt x="268359" y="337746"/>
                  <a:pt x="244425" y="346013"/>
                  <a:pt x="231685" y="365133"/>
                </a:cubicBezTo>
                <a:lnTo>
                  <a:pt x="214838" y="389867"/>
                </a:lnTo>
                <a:cubicBezTo>
                  <a:pt x="200163" y="411561"/>
                  <a:pt x="202797" y="440589"/>
                  <a:pt x="221138" y="459286"/>
                </a:cubicBezTo>
                <a:lnTo>
                  <a:pt x="226435" y="464607"/>
                </a:lnTo>
                <a:cubicBezTo>
                  <a:pt x="213811" y="465937"/>
                  <a:pt x="200534" y="466590"/>
                  <a:pt x="186580" y="466590"/>
                </a:cubicBezTo>
                <a:cubicBezTo>
                  <a:pt x="119144" y="466590"/>
                  <a:pt x="66922" y="451259"/>
                  <a:pt x="30451" y="419922"/>
                </a:cubicBezTo>
                <a:cubicBezTo>
                  <a:pt x="11116" y="403294"/>
                  <a:pt x="-5" y="379061"/>
                  <a:pt x="0" y="353559"/>
                </a:cubicBezTo>
                <a:lnTo>
                  <a:pt x="0" y="332395"/>
                </a:lnTo>
                <a:cubicBezTo>
                  <a:pt x="0" y="303400"/>
                  <a:pt x="23506" y="279893"/>
                  <a:pt x="52502" y="279893"/>
                </a:cubicBezTo>
                <a:close/>
                <a:moveTo>
                  <a:pt x="326842" y="238942"/>
                </a:moveTo>
                <a:lnTo>
                  <a:pt x="338579" y="211244"/>
                </a:lnTo>
                <a:cubicBezTo>
                  <a:pt x="344086" y="198247"/>
                  <a:pt x="357269" y="191177"/>
                  <a:pt x="370220" y="193884"/>
                </a:cubicBezTo>
                <a:lnTo>
                  <a:pt x="372973" y="194607"/>
                </a:lnTo>
                <a:lnTo>
                  <a:pt x="387674" y="199320"/>
                </a:lnTo>
                <a:cubicBezTo>
                  <a:pt x="402281" y="203987"/>
                  <a:pt x="413435" y="216471"/>
                  <a:pt x="417052" y="232152"/>
                </a:cubicBezTo>
                <a:cubicBezTo>
                  <a:pt x="425615" y="269440"/>
                  <a:pt x="415325" y="314825"/>
                  <a:pt x="386204" y="368306"/>
                </a:cubicBezTo>
                <a:cubicBezTo>
                  <a:pt x="357106" y="421742"/>
                  <a:pt x="325208" y="453850"/>
                  <a:pt x="290534" y="464677"/>
                </a:cubicBezTo>
                <a:cubicBezTo>
                  <a:pt x="277082" y="468837"/>
                  <a:pt x="262437" y="465818"/>
                  <a:pt x="251729" y="456673"/>
                </a:cubicBezTo>
                <a:lnTo>
                  <a:pt x="248836" y="454036"/>
                </a:lnTo>
                <a:lnTo>
                  <a:pt x="237682" y="442836"/>
                </a:lnTo>
                <a:cubicBezTo>
                  <a:pt x="228049" y="432912"/>
                  <a:pt x="225954" y="417894"/>
                  <a:pt x="232502" y="405711"/>
                </a:cubicBezTo>
                <a:lnTo>
                  <a:pt x="234135" y="403004"/>
                </a:lnTo>
                <a:lnTo>
                  <a:pt x="250982" y="378270"/>
                </a:lnTo>
                <a:cubicBezTo>
                  <a:pt x="257609" y="368540"/>
                  <a:pt x="268950" y="363920"/>
                  <a:pt x="279847" y="366253"/>
                </a:cubicBezTo>
                <a:lnTo>
                  <a:pt x="282810" y="367070"/>
                </a:lnTo>
                <a:lnTo>
                  <a:pt x="313891" y="377430"/>
                </a:lnTo>
                <a:cubicBezTo>
                  <a:pt x="326506" y="367802"/>
                  <a:pt x="337057" y="355743"/>
                  <a:pt x="344926" y="341962"/>
                </a:cubicBezTo>
                <a:cubicBezTo>
                  <a:pt x="351730" y="330519"/>
                  <a:pt x="356439" y="317956"/>
                  <a:pt x="358833" y="304861"/>
                </a:cubicBezTo>
                <a:lnTo>
                  <a:pt x="359720" y="298584"/>
                </a:lnTo>
                <a:lnTo>
                  <a:pt x="333842" y="274013"/>
                </a:lnTo>
                <a:cubicBezTo>
                  <a:pt x="325330" y="265718"/>
                  <a:pt x="322191" y="253348"/>
                  <a:pt x="325722" y="241999"/>
                </a:cubicBezTo>
                <a:lnTo>
                  <a:pt x="326842" y="238942"/>
                </a:lnTo>
                <a:lnTo>
                  <a:pt x="338579" y="211244"/>
                </a:lnTo>
                <a:lnTo>
                  <a:pt x="326842" y="238942"/>
                </a:lnTo>
                <a:close/>
                <a:moveTo>
                  <a:pt x="186580" y="0"/>
                </a:moveTo>
                <a:cubicBezTo>
                  <a:pt x="251015" y="0"/>
                  <a:pt x="303251" y="52235"/>
                  <a:pt x="303251" y="116671"/>
                </a:cubicBezTo>
                <a:cubicBezTo>
                  <a:pt x="303251" y="181106"/>
                  <a:pt x="251015" y="233342"/>
                  <a:pt x="186580" y="233342"/>
                </a:cubicBezTo>
                <a:cubicBezTo>
                  <a:pt x="122145" y="233342"/>
                  <a:pt x="69909" y="181106"/>
                  <a:pt x="69909" y="116671"/>
                </a:cubicBezTo>
                <a:cubicBezTo>
                  <a:pt x="69909" y="52235"/>
                  <a:pt x="122145" y="0"/>
                  <a:pt x="186580" y="0"/>
                </a:cubicBez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1" name="TextBox 1600">
            <a:extLst>
              <a:ext uri="{FF2B5EF4-FFF2-40B4-BE49-F238E27FC236}">
                <a16:creationId xmlns:a16="http://schemas.microsoft.com/office/drawing/2014/main" id="{66925A7F-620D-4AA1-7414-2582ABAAF2C8}"/>
              </a:ext>
            </a:extLst>
          </p:cNvPr>
          <p:cNvSpPr txBox="1"/>
          <p:nvPr/>
        </p:nvSpPr>
        <p:spPr>
          <a:xfrm>
            <a:off x="4876011" y="4081508"/>
            <a:ext cx="1295660" cy="430887"/>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Contact </a:t>
            </a:r>
          </a:p>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Center</a:t>
            </a:r>
          </a:p>
        </p:txBody>
      </p:sp>
      <p:pic>
        <p:nvPicPr>
          <p:cNvPr id="1602" name="Picture 4" descr="Microsoft Copilot logo">
            <a:extLst>
              <a:ext uri="{FF2B5EF4-FFF2-40B4-BE49-F238E27FC236}">
                <a16:creationId xmlns:a16="http://schemas.microsoft.com/office/drawing/2014/main" id="{1447F2D5-256D-6202-F645-951F86D649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21485" y="4843639"/>
            <a:ext cx="586604" cy="585788"/>
          </a:xfrm>
          <a:prstGeom prst="rect">
            <a:avLst/>
          </a:prstGeom>
          <a:noFill/>
          <a:extLst>
            <a:ext uri="{909E8E84-426E-40DD-AFC4-6F175D3DCCD1}">
              <a14:hiddenFill xmlns:a14="http://schemas.microsoft.com/office/drawing/2010/main">
                <a:solidFill>
                  <a:srgbClr val="FFFFFF"/>
                </a:solidFill>
              </a14:hiddenFill>
            </a:ext>
          </a:extLst>
        </p:spPr>
      </p:pic>
      <p:sp>
        <p:nvSpPr>
          <p:cNvPr id="1604" name="TextBox 1603">
            <a:extLst>
              <a:ext uri="{FF2B5EF4-FFF2-40B4-BE49-F238E27FC236}">
                <a16:creationId xmlns:a16="http://schemas.microsoft.com/office/drawing/2014/main" id="{0891B09D-EAB0-1C61-FBA3-EFB8123DDF70}"/>
              </a:ext>
            </a:extLst>
          </p:cNvPr>
          <p:cNvSpPr txBox="1"/>
          <p:nvPr/>
        </p:nvSpPr>
        <p:spPr>
          <a:xfrm>
            <a:off x="4876011" y="5587475"/>
            <a:ext cx="1295660" cy="64633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Microsoft Copilot for Service</a:t>
            </a:r>
          </a:p>
        </p:txBody>
      </p:sp>
      <p:sp>
        <p:nvSpPr>
          <p:cNvPr id="1605" name="Graphic 1297" descr="Icon of a shield with a tick mark at its centre">
            <a:extLst>
              <a:ext uri="{FF2B5EF4-FFF2-40B4-BE49-F238E27FC236}">
                <a16:creationId xmlns:a16="http://schemas.microsoft.com/office/drawing/2014/main" id="{7C227011-5AC1-BBC1-74DD-01A0D5253409}"/>
              </a:ext>
            </a:extLst>
          </p:cNvPr>
          <p:cNvSpPr/>
          <p:nvPr/>
        </p:nvSpPr>
        <p:spPr>
          <a:xfrm>
            <a:off x="6768398" y="3446519"/>
            <a:ext cx="337685" cy="375208"/>
          </a:xfrm>
          <a:custGeom>
            <a:avLst/>
            <a:gdLst>
              <a:gd name="connsiteX0" fmla="*/ 402514 w 420015"/>
              <a:gd name="connsiteY0" fmla="*/ 70003 h 466687"/>
              <a:gd name="connsiteX1" fmla="*/ 220508 w 420015"/>
              <a:gd name="connsiteY1" fmla="*/ 3500 h 466687"/>
              <a:gd name="connsiteX2" fmla="*/ 199507 w 420015"/>
              <a:gd name="connsiteY2" fmla="*/ 3500 h 466687"/>
              <a:gd name="connsiteX3" fmla="*/ 17501 w 420015"/>
              <a:gd name="connsiteY3" fmla="*/ 70003 h 466687"/>
              <a:gd name="connsiteX4" fmla="*/ 0 w 420015"/>
              <a:gd name="connsiteY4" fmla="*/ 87503 h 466687"/>
              <a:gd name="connsiteX5" fmla="*/ 0 w 420015"/>
              <a:gd name="connsiteY5" fmla="*/ 210008 h 466687"/>
              <a:gd name="connsiteX6" fmla="*/ 203591 w 420015"/>
              <a:gd name="connsiteY6" fmla="*/ 465470 h 466687"/>
              <a:gd name="connsiteX7" fmla="*/ 216424 w 420015"/>
              <a:gd name="connsiteY7" fmla="*/ 465470 h 466687"/>
              <a:gd name="connsiteX8" fmla="*/ 420015 w 420015"/>
              <a:gd name="connsiteY8" fmla="*/ 210008 h 466687"/>
              <a:gd name="connsiteX9" fmla="*/ 420015 w 420015"/>
              <a:gd name="connsiteY9" fmla="*/ 87503 h 466687"/>
              <a:gd name="connsiteX10" fmla="*/ 402514 w 420015"/>
              <a:gd name="connsiteY10" fmla="*/ 70003 h 466687"/>
              <a:gd name="connsiteX11" fmla="*/ 321008 w 420015"/>
              <a:gd name="connsiteY11" fmla="*/ 170409 h 466687"/>
              <a:gd name="connsiteX12" fmla="*/ 181003 w 420015"/>
              <a:gd name="connsiteY12" fmla="*/ 298747 h 466687"/>
              <a:gd name="connsiteX13" fmla="*/ 156806 w 420015"/>
              <a:gd name="connsiteY13" fmla="*/ 298211 h 466687"/>
              <a:gd name="connsiteX14" fmla="*/ 98470 w 420015"/>
              <a:gd name="connsiteY14" fmla="*/ 239875 h 466687"/>
              <a:gd name="connsiteX15" fmla="*/ 97597 w 420015"/>
              <a:gd name="connsiteY15" fmla="*/ 215141 h 466687"/>
              <a:gd name="connsiteX16" fmla="*/ 122331 w 420015"/>
              <a:gd name="connsiteY16" fmla="*/ 214268 h 466687"/>
              <a:gd name="connsiteX17" fmla="*/ 123204 w 420015"/>
              <a:gd name="connsiteY17" fmla="*/ 215141 h 466687"/>
              <a:gd name="connsiteX18" fmla="*/ 169709 w 420015"/>
              <a:gd name="connsiteY18" fmla="*/ 261623 h 466687"/>
              <a:gd name="connsiteX19" fmla="*/ 297347 w 420015"/>
              <a:gd name="connsiteY19" fmla="*/ 144602 h 466687"/>
              <a:gd name="connsiteX20" fmla="*/ 322082 w 420015"/>
              <a:gd name="connsiteY20" fmla="*/ 145675 h 466687"/>
              <a:gd name="connsiteX21" fmla="*/ 321008 w 420015"/>
              <a:gd name="connsiteY21" fmla="*/ 170409 h 4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0015" h="466687">
                <a:moveTo>
                  <a:pt x="402514" y="70003"/>
                </a:moveTo>
                <a:cubicBezTo>
                  <a:pt x="340376" y="70003"/>
                  <a:pt x="279823" y="47998"/>
                  <a:pt x="220508" y="3500"/>
                </a:cubicBezTo>
                <a:cubicBezTo>
                  <a:pt x="214285" y="-1167"/>
                  <a:pt x="205730" y="-1167"/>
                  <a:pt x="199507" y="3500"/>
                </a:cubicBezTo>
                <a:cubicBezTo>
                  <a:pt x="140192" y="47998"/>
                  <a:pt x="79640" y="70003"/>
                  <a:pt x="17501" y="70003"/>
                </a:cubicBezTo>
                <a:cubicBezTo>
                  <a:pt x="7835" y="70003"/>
                  <a:pt x="0" y="77838"/>
                  <a:pt x="0" y="87503"/>
                </a:cubicBezTo>
                <a:lnTo>
                  <a:pt x="0" y="210008"/>
                </a:lnTo>
                <a:cubicBezTo>
                  <a:pt x="0" y="326702"/>
                  <a:pt x="69022" y="412455"/>
                  <a:pt x="203591" y="465470"/>
                </a:cubicBezTo>
                <a:cubicBezTo>
                  <a:pt x="207714" y="467094"/>
                  <a:pt x="212301" y="467094"/>
                  <a:pt x="216424" y="465470"/>
                </a:cubicBezTo>
                <a:cubicBezTo>
                  <a:pt x="350993" y="412455"/>
                  <a:pt x="420015" y="326678"/>
                  <a:pt x="420015" y="210008"/>
                </a:cubicBezTo>
                <a:lnTo>
                  <a:pt x="420015" y="87503"/>
                </a:lnTo>
                <a:cubicBezTo>
                  <a:pt x="420015" y="77838"/>
                  <a:pt x="412179" y="70003"/>
                  <a:pt x="402514" y="70003"/>
                </a:cubicBezTo>
                <a:close/>
                <a:moveTo>
                  <a:pt x="321008" y="170409"/>
                </a:moveTo>
                <a:lnTo>
                  <a:pt x="181003" y="298747"/>
                </a:lnTo>
                <a:cubicBezTo>
                  <a:pt x="174094" y="305073"/>
                  <a:pt x="163428" y="304838"/>
                  <a:pt x="156806" y="298211"/>
                </a:cubicBezTo>
                <a:lnTo>
                  <a:pt x="98470" y="239875"/>
                </a:lnTo>
                <a:cubicBezTo>
                  <a:pt x="91399" y="233286"/>
                  <a:pt x="91008" y="222211"/>
                  <a:pt x="97597" y="215141"/>
                </a:cubicBezTo>
                <a:cubicBezTo>
                  <a:pt x="104186" y="208071"/>
                  <a:pt x="115260" y="207679"/>
                  <a:pt x="122331" y="214268"/>
                </a:cubicBezTo>
                <a:cubicBezTo>
                  <a:pt x="122632" y="214548"/>
                  <a:pt x="122924" y="214840"/>
                  <a:pt x="123204" y="215141"/>
                </a:cubicBezTo>
                <a:lnTo>
                  <a:pt x="169709" y="261623"/>
                </a:lnTo>
                <a:lnTo>
                  <a:pt x="297347" y="144602"/>
                </a:lnTo>
                <a:cubicBezTo>
                  <a:pt x="304474" y="138068"/>
                  <a:pt x="315548" y="138549"/>
                  <a:pt x="322082" y="145675"/>
                </a:cubicBezTo>
                <a:cubicBezTo>
                  <a:pt x="328615" y="152802"/>
                  <a:pt x="328134" y="163876"/>
                  <a:pt x="321008" y="170409"/>
                </a:cubicBez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06" name="TextBox 1605">
            <a:extLst>
              <a:ext uri="{FF2B5EF4-FFF2-40B4-BE49-F238E27FC236}">
                <a16:creationId xmlns:a16="http://schemas.microsoft.com/office/drawing/2014/main" id="{9EC3A28D-BD44-2144-66FC-63D935884BE1}"/>
              </a:ext>
            </a:extLst>
          </p:cNvPr>
          <p:cNvSpPr txBox="1"/>
          <p:nvPr/>
        </p:nvSpPr>
        <p:spPr>
          <a:xfrm>
            <a:off x="6285976" y="4081508"/>
            <a:ext cx="1295660"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CIS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Security</a:t>
            </a:r>
          </a:p>
        </p:txBody>
      </p:sp>
      <p:pic>
        <p:nvPicPr>
          <p:cNvPr id="1607" name="Picture 1606" descr="Security Copilot logo">
            <a:extLst>
              <a:ext uri="{FF2B5EF4-FFF2-40B4-BE49-F238E27FC236}">
                <a16:creationId xmlns:a16="http://schemas.microsoft.com/office/drawing/2014/main" id="{75BDED10-C8C9-B26E-01B7-20633D36B9EF}"/>
              </a:ext>
            </a:extLst>
          </p:cNvPr>
          <p:cNvPicPr>
            <a:picLocks noChangeAspect="1"/>
          </p:cNvPicPr>
          <p:nvPr/>
        </p:nvPicPr>
        <p:blipFill>
          <a:blip r:embed="rId8"/>
          <a:stretch>
            <a:fillRect/>
          </a:stretch>
        </p:blipFill>
        <p:spPr>
          <a:xfrm>
            <a:off x="6644407" y="4844121"/>
            <a:ext cx="584824" cy="584824"/>
          </a:xfrm>
          <a:prstGeom prst="rect">
            <a:avLst/>
          </a:prstGeom>
        </p:spPr>
      </p:pic>
      <p:sp>
        <p:nvSpPr>
          <p:cNvPr id="1608" name="TextBox 1607">
            <a:extLst>
              <a:ext uri="{FF2B5EF4-FFF2-40B4-BE49-F238E27FC236}">
                <a16:creationId xmlns:a16="http://schemas.microsoft.com/office/drawing/2014/main" id="{689269CE-0DDA-F6C4-5444-468DF957469C}"/>
              </a:ext>
            </a:extLst>
          </p:cNvPr>
          <p:cNvSpPr txBox="1"/>
          <p:nvPr/>
        </p:nvSpPr>
        <p:spPr>
          <a:xfrm>
            <a:off x="6285976" y="5587475"/>
            <a:ext cx="1295660" cy="430887"/>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Secur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Copilot</a:t>
            </a:r>
          </a:p>
        </p:txBody>
      </p:sp>
      <p:cxnSp>
        <p:nvCxnSpPr>
          <p:cNvPr id="1609" name="Straight Connector 1608">
            <a:extLst>
              <a:ext uri="{FF2B5EF4-FFF2-40B4-BE49-F238E27FC236}">
                <a16:creationId xmlns:a16="http://schemas.microsoft.com/office/drawing/2014/main" id="{942DE5A7-03D5-FE22-9A0F-6B9AF93FD1AF}"/>
              </a:ext>
              <a:ext uri="{C183D7F6-B498-43B3-948B-1728B52AA6E4}">
                <adec:decorative xmlns:adec="http://schemas.microsoft.com/office/drawing/2017/decorative" val="1"/>
              </a:ext>
            </a:extLst>
          </p:cNvPr>
          <p:cNvCxnSpPr>
            <a:cxnSpLocks/>
          </p:cNvCxnSpPr>
          <p:nvPr/>
        </p:nvCxnSpPr>
        <p:spPr>
          <a:xfrm>
            <a:off x="7640292" y="3084521"/>
            <a:ext cx="0" cy="3278178"/>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10" name="Oval 1609">
            <a:extLst>
              <a:ext uri="{FF2B5EF4-FFF2-40B4-BE49-F238E27FC236}">
                <a16:creationId xmlns:a16="http://schemas.microsoft.com/office/drawing/2014/main" id="{00B35D1C-D19F-558C-0DE8-D4AB1068763D}"/>
              </a:ext>
              <a:ext uri="{C183D7F6-B498-43B3-948B-1728B52AA6E4}">
                <adec:decorative xmlns:adec="http://schemas.microsoft.com/office/drawing/2017/decorative" val="1"/>
              </a:ext>
            </a:extLst>
          </p:cNvPr>
          <p:cNvSpPr/>
          <p:nvPr/>
        </p:nvSpPr>
        <p:spPr bwMode="auto">
          <a:xfrm>
            <a:off x="7980938" y="3264292"/>
            <a:ext cx="731027" cy="731027"/>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611" name="Graphic 1298" descr="Icon of money with a phone">
            <a:extLst>
              <a:ext uri="{FF2B5EF4-FFF2-40B4-BE49-F238E27FC236}">
                <a16:creationId xmlns:a16="http://schemas.microsoft.com/office/drawing/2014/main" id="{38C901F4-3565-C418-1A71-3DFF4EE9314C}"/>
              </a:ext>
            </a:extLst>
          </p:cNvPr>
          <p:cNvSpPr/>
          <p:nvPr/>
        </p:nvSpPr>
        <p:spPr>
          <a:xfrm>
            <a:off x="8149469" y="3436359"/>
            <a:ext cx="393965" cy="356445"/>
          </a:xfrm>
          <a:custGeom>
            <a:avLst/>
            <a:gdLst>
              <a:gd name="connsiteX0" fmla="*/ 0 w 490017"/>
              <a:gd name="connsiteY0" fmla="*/ 40835 h 443349"/>
              <a:gd name="connsiteX1" fmla="*/ 40835 w 490017"/>
              <a:gd name="connsiteY1" fmla="*/ 0 h 443349"/>
              <a:gd name="connsiteX2" fmla="*/ 355846 w 490017"/>
              <a:gd name="connsiteY2" fmla="*/ 0 h 443349"/>
              <a:gd name="connsiteX3" fmla="*/ 396681 w 490017"/>
              <a:gd name="connsiteY3" fmla="*/ 40835 h 443349"/>
              <a:gd name="connsiteX4" fmla="*/ 396681 w 490017"/>
              <a:gd name="connsiteY4" fmla="*/ 163339 h 443349"/>
              <a:gd name="connsiteX5" fmla="*/ 326678 w 490017"/>
              <a:gd name="connsiteY5" fmla="*/ 163339 h 443349"/>
              <a:gd name="connsiteX6" fmla="*/ 280010 w 490017"/>
              <a:gd name="connsiteY6" fmla="*/ 210008 h 443349"/>
              <a:gd name="connsiteX7" fmla="*/ 280010 w 490017"/>
              <a:gd name="connsiteY7" fmla="*/ 280010 h 443349"/>
              <a:gd name="connsiteX8" fmla="*/ 40835 w 490017"/>
              <a:gd name="connsiteY8" fmla="*/ 280010 h 443349"/>
              <a:gd name="connsiteX9" fmla="*/ 0 w 490017"/>
              <a:gd name="connsiteY9" fmla="*/ 239175 h 443349"/>
              <a:gd name="connsiteX10" fmla="*/ 0 w 490017"/>
              <a:gd name="connsiteY10" fmla="*/ 40835 h 443349"/>
              <a:gd name="connsiteX11" fmla="*/ 70003 w 490017"/>
              <a:gd name="connsiteY11" fmla="*/ 52502 h 443349"/>
              <a:gd name="connsiteX12" fmla="*/ 52502 w 490017"/>
              <a:gd name="connsiteY12" fmla="*/ 70003 h 443349"/>
              <a:gd name="connsiteX13" fmla="*/ 29168 w 490017"/>
              <a:gd name="connsiteY13" fmla="*/ 70003 h 443349"/>
              <a:gd name="connsiteX14" fmla="*/ 29168 w 490017"/>
              <a:gd name="connsiteY14" fmla="*/ 105004 h 443349"/>
              <a:gd name="connsiteX15" fmla="*/ 52502 w 490017"/>
              <a:gd name="connsiteY15" fmla="*/ 105004 h 443349"/>
              <a:gd name="connsiteX16" fmla="*/ 105004 w 490017"/>
              <a:gd name="connsiteY16" fmla="*/ 52502 h 443349"/>
              <a:gd name="connsiteX17" fmla="*/ 105004 w 490017"/>
              <a:gd name="connsiteY17" fmla="*/ 29168 h 443349"/>
              <a:gd name="connsiteX18" fmla="*/ 70003 w 490017"/>
              <a:gd name="connsiteY18" fmla="*/ 29168 h 443349"/>
              <a:gd name="connsiteX19" fmla="*/ 70003 w 490017"/>
              <a:gd name="connsiteY19" fmla="*/ 52502 h 443349"/>
              <a:gd name="connsiteX20" fmla="*/ 198340 w 490017"/>
              <a:gd name="connsiteY20" fmla="*/ 198340 h 443349"/>
              <a:gd name="connsiteX21" fmla="*/ 250842 w 490017"/>
              <a:gd name="connsiteY21" fmla="*/ 145839 h 443349"/>
              <a:gd name="connsiteX22" fmla="*/ 198340 w 490017"/>
              <a:gd name="connsiteY22" fmla="*/ 93337 h 443349"/>
              <a:gd name="connsiteX23" fmla="*/ 145839 w 490017"/>
              <a:gd name="connsiteY23" fmla="*/ 145839 h 443349"/>
              <a:gd name="connsiteX24" fmla="*/ 198340 w 490017"/>
              <a:gd name="connsiteY24" fmla="*/ 198340 h 443349"/>
              <a:gd name="connsiteX25" fmla="*/ 52502 w 490017"/>
              <a:gd name="connsiteY25" fmla="*/ 210008 h 443349"/>
              <a:gd name="connsiteX26" fmla="*/ 70003 w 490017"/>
              <a:gd name="connsiteY26" fmla="*/ 227508 h 443349"/>
              <a:gd name="connsiteX27" fmla="*/ 70003 w 490017"/>
              <a:gd name="connsiteY27" fmla="*/ 250842 h 443349"/>
              <a:gd name="connsiteX28" fmla="*/ 105004 w 490017"/>
              <a:gd name="connsiteY28" fmla="*/ 250842 h 443349"/>
              <a:gd name="connsiteX29" fmla="*/ 105004 w 490017"/>
              <a:gd name="connsiteY29" fmla="*/ 227508 h 443349"/>
              <a:gd name="connsiteX30" fmla="*/ 52502 w 490017"/>
              <a:gd name="connsiteY30" fmla="*/ 175006 h 443349"/>
              <a:gd name="connsiteX31" fmla="*/ 29168 w 490017"/>
              <a:gd name="connsiteY31" fmla="*/ 175006 h 443349"/>
              <a:gd name="connsiteX32" fmla="*/ 29168 w 490017"/>
              <a:gd name="connsiteY32" fmla="*/ 210008 h 443349"/>
              <a:gd name="connsiteX33" fmla="*/ 52502 w 490017"/>
              <a:gd name="connsiteY33" fmla="*/ 210008 h 443349"/>
              <a:gd name="connsiteX34" fmla="*/ 344179 w 490017"/>
              <a:gd name="connsiteY34" fmla="*/ 70003 h 443349"/>
              <a:gd name="connsiteX35" fmla="*/ 326678 w 490017"/>
              <a:gd name="connsiteY35" fmla="*/ 52502 h 443349"/>
              <a:gd name="connsiteX36" fmla="*/ 326678 w 490017"/>
              <a:gd name="connsiteY36" fmla="*/ 29168 h 443349"/>
              <a:gd name="connsiteX37" fmla="*/ 291677 w 490017"/>
              <a:gd name="connsiteY37" fmla="*/ 29168 h 443349"/>
              <a:gd name="connsiteX38" fmla="*/ 291677 w 490017"/>
              <a:gd name="connsiteY38" fmla="*/ 52502 h 443349"/>
              <a:gd name="connsiteX39" fmla="*/ 344179 w 490017"/>
              <a:gd name="connsiteY39" fmla="*/ 105004 h 443349"/>
              <a:gd name="connsiteX40" fmla="*/ 367513 w 490017"/>
              <a:gd name="connsiteY40" fmla="*/ 105004 h 443349"/>
              <a:gd name="connsiteX41" fmla="*/ 367513 w 490017"/>
              <a:gd name="connsiteY41" fmla="*/ 70003 h 443349"/>
              <a:gd name="connsiteX42" fmla="*/ 344179 w 490017"/>
              <a:gd name="connsiteY42" fmla="*/ 70003 h 443349"/>
              <a:gd name="connsiteX43" fmla="*/ 56025 w 490017"/>
              <a:gd name="connsiteY43" fmla="*/ 315011 h 443349"/>
              <a:gd name="connsiteX44" fmla="*/ 280010 w 490017"/>
              <a:gd name="connsiteY44" fmla="*/ 315011 h 443349"/>
              <a:gd name="connsiteX45" fmla="*/ 280010 w 490017"/>
              <a:gd name="connsiteY45" fmla="*/ 350013 h 443349"/>
              <a:gd name="connsiteX46" fmla="*/ 116671 w 490017"/>
              <a:gd name="connsiteY46" fmla="*/ 350013 h 443349"/>
              <a:gd name="connsiteX47" fmla="*/ 56025 w 490017"/>
              <a:gd name="connsiteY47" fmla="*/ 315011 h 443349"/>
              <a:gd name="connsiteX48" fmla="*/ 466683 w 490017"/>
              <a:gd name="connsiteY48" fmla="*/ 116671 h 443349"/>
              <a:gd name="connsiteX49" fmla="*/ 466683 w 490017"/>
              <a:gd name="connsiteY49" fmla="*/ 163339 h 443349"/>
              <a:gd name="connsiteX50" fmla="*/ 431682 w 490017"/>
              <a:gd name="connsiteY50" fmla="*/ 163339 h 443349"/>
              <a:gd name="connsiteX51" fmla="*/ 431682 w 490017"/>
              <a:gd name="connsiteY51" fmla="*/ 56025 h 443349"/>
              <a:gd name="connsiteX52" fmla="*/ 466683 w 490017"/>
              <a:gd name="connsiteY52" fmla="*/ 116671 h 443349"/>
              <a:gd name="connsiteX53" fmla="*/ 338345 w 490017"/>
              <a:gd name="connsiteY53" fmla="*/ 186673 h 443349"/>
              <a:gd name="connsiteX54" fmla="*/ 303344 w 490017"/>
              <a:gd name="connsiteY54" fmla="*/ 221675 h 443349"/>
              <a:gd name="connsiteX55" fmla="*/ 303344 w 490017"/>
              <a:gd name="connsiteY55" fmla="*/ 408348 h 443349"/>
              <a:gd name="connsiteX56" fmla="*/ 338345 w 490017"/>
              <a:gd name="connsiteY56" fmla="*/ 443349 h 443349"/>
              <a:gd name="connsiteX57" fmla="*/ 455016 w 490017"/>
              <a:gd name="connsiteY57" fmla="*/ 443349 h 443349"/>
              <a:gd name="connsiteX58" fmla="*/ 490018 w 490017"/>
              <a:gd name="connsiteY58" fmla="*/ 408348 h 443349"/>
              <a:gd name="connsiteX59" fmla="*/ 490018 w 490017"/>
              <a:gd name="connsiteY59" fmla="*/ 221675 h 443349"/>
              <a:gd name="connsiteX60" fmla="*/ 455016 w 490017"/>
              <a:gd name="connsiteY60" fmla="*/ 186673 h 443349"/>
              <a:gd name="connsiteX61" fmla="*/ 338345 w 490017"/>
              <a:gd name="connsiteY61" fmla="*/ 186673 h 443349"/>
              <a:gd name="connsiteX62" fmla="*/ 350013 w 490017"/>
              <a:gd name="connsiteY62" fmla="*/ 291677 h 443349"/>
              <a:gd name="connsiteX63" fmla="*/ 373347 w 490017"/>
              <a:gd name="connsiteY63" fmla="*/ 291677 h 443349"/>
              <a:gd name="connsiteX64" fmla="*/ 385014 w 490017"/>
              <a:gd name="connsiteY64" fmla="*/ 303344 h 443349"/>
              <a:gd name="connsiteX65" fmla="*/ 373347 w 490017"/>
              <a:gd name="connsiteY65" fmla="*/ 315011 h 443349"/>
              <a:gd name="connsiteX66" fmla="*/ 350013 w 490017"/>
              <a:gd name="connsiteY66" fmla="*/ 315011 h 443349"/>
              <a:gd name="connsiteX67" fmla="*/ 338345 w 490017"/>
              <a:gd name="connsiteY67" fmla="*/ 303344 h 443349"/>
              <a:gd name="connsiteX68" fmla="*/ 350013 w 490017"/>
              <a:gd name="connsiteY68" fmla="*/ 291677 h 443349"/>
              <a:gd name="connsiteX69" fmla="*/ 420015 w 490017"/>
              <a:gd name="connsiteY69" fmla="*/ 291677 h 443349"/>
              <a:gd name="connsiteX70" fmla="*/ 443349 w 490017"/>
              <a:gd name="connsiteY70" fmla="*/ 291677 h 443349"/>
              <a:gd name="connsiteX71" fmla="*/ 455016 w 490017"/>
              <a:gd name="connsiteY71" fmla="*/ 303344 h 443349"/>
              <a:gd name="connsiteX72" fmla="*/ 443349 w 490017"/>
              <a:gd name="connsiteY72" fmla="*/ 315011 h 443349"/>
              <a:gd name="connsiteX73" fmla="*/ 420015 w 490017"/>
              <a:gd name="connsiteY73" fmla="*/ 315011 h 443349"/>
              <a:gd name="connsiteX74" fmla="*/ 408348 w 490017"/>
              <a:gd name="connsiteY74" fmla="*/ 303344 h 443349"/>
              <a:gd name="connsiteX75" fmla="*/ 420015 w 490017"/>
              <a:gd name="connsiteY75" fmla="*/ 291677 h 443349"/>
              <a:gd name="connsiteX76" fmla="*/ 350013 w 490017"/>
              <a:gd name="connsiteY76" fmla="*/ 338345 h 443349"/>
              <a:gd name="connsiteX77" fmla="*/ 373347 w 490017"/>
              <a:gd name="connsiteY77" fmla="*/ 338345 h 443349"/>
              <a:gd name="connsiteX78" fmla="*/ 385014 w 490017"/>
              <a:gd name="connsiteY78" fmla="*/ 350013 h 443349"/>
              <a:gd name="connsiteX79" fmla="*/ 373347 w 490017"/>
              <a:gd name="connsiteY79" fmla="*/ 361680 h 443349"/>
              <a:gd name="connsiteX80" fmla="*/ 350013 w 490017"/>
              <a:gd name="connsiteY80" fmla="*/ 361680 h 443349"/>
              <a:gd name="connsiteX81" fmla="*/ 338345 w 490017"/>
              <a:gd name="connsiteY81" fmla="*/ 350013 h 443349"/>
              <a:gd name="connsiteX82" fmla="*/ 350013 w 490017"/>
              <a:gd name="connsiteY82" fmla="*/ 338345 h 443349"/>
              <a:gd name="connsiteX83" fmla="*/ 420015 w 490017"/>
              <a:gd name="connsiteY83" fmla="*/ 338345 h 443349"/>
              <a:gd name="connsiteX84" fmla="*/ 443349 w 490017"/>
              <a:gd name="connsiteY84" fmla="*/ 338345 h 443349"/>
              <a:gd name="connsiteX85" fmla="*/ 455016 w 490017"/>
              <a:gd name="connsiteY85" fmla="*/ 350013 h 443349"/>
              <a:gd name="connsiteX86" fmla="*/ 443349 w 490017"/>
              <a:gd name="connsiteY86" fmla="*/ 361680 h 443349"/>
              <a:gd name="connsiteX87" fmla="*/ 420015 w 490017"/>
              <a:gd name="connsiteY87" fmla="*/ 361680 h 443349"/>
              <a:gd name="connsiteX88" fmla="*/ 408348 w 490017"/>
              <a:gd name="connsiteY88" fmla="*/ 350013 h 443349"/>
              <a:gd name="connsiteX89" fmla="*/ 420015 w 490017"/>
              <a:gd name="connsiteY89" fmla="*/ 338345 h 443349"/>
              <a:gd name="connsiteX90" fmla="*/ 350013 w 490017"/>
              <a:gd name="connsiteY90" fmla="*/ 385014 h 443349"/>
              <a:gd name="connsiteX91" fmla="*/ 373347 w 490017"/>
              <a:gd name="connsiteY91" fmla="*/ 385014 h 443349"/>
              <a:gd name="connsiteX92" fmla="*/ 385014 w 490017"/>
              <a:gd name="connsiteY92" fmla="*/ 396681 h 443349"/>
              <a:gd name="connsiteX93" fmla="*/ 373347 w 490017"/>
              <a:gd name="connsiteY93" fmla="*/ 408348 h 443349"/>
              <a:gd name="connsiteX94" fmla="*/ 350013 w 490017"/>
              <a:gd name="connsiteY94" fmla="*/ 408348 h 443349"/>
              <a:gd name="connsiteX95" fmla="*/ 338345 w 490017"/>
              <a:gd name="connsiteY95" fmla="*/ 396681 h 443349"/>
              <a:gd name="connsiteX96" fmla="*/ 350013 w 490017"/>
              <a:gd name="connsiteY96" fmla="*/ 385014 h 443349"/>
              <a:gd name="connsiteX97" fmla="*/ 420015 w 490017"/>
              <a:gd name="connsiteY97" fmla="*/ 385014 h 443349"/>
              <a:gd name="connsiteX98" fmla="*/ 443349 w 490017"/>
              <a:gd name="connsiteY98" fmla="*/ 385014 h 443349"/>
              <a:gd name="connsiteX99" fmla="*/ 455016 w 490017"/>
              <a:gd name="connsiteY99" fmla="*/ 396681 h 443349"/>
              <a:gd name="connsiteX100" fmla="*/ 443349 w 490017"/>
              <a:gd name="connsiteY100" fmla="*/ 408348 h 443349"/>
              <a:gd name="connsiteX101" fmla="*/ 420015 w 490017"/>
              <a:gd name="connsiteY101" fmla="*/ 408348 h 443349"/>
              <a:gd name="connsiteX102" fmla="*/ 408348 w 490017"/>
              <a:gd name="connsiteY102" fmla="*/ 396681 h 443349"/>
              <a:gd name="connsiteX103" fmla="*/ 420015 w 490017"/>
              <a:gd name="connsiteY103" fmla="*/ 385014 h 443349"/>
              <a:gd name="connsiteX104" fmla="*/ 338345 w 490017"/>
              <a:gd name="connsiteY104" fmla="*/ 233342 h 443349"/>
              <a:gd name="connsiteX105" fmla="*/ 350013 w 490017"/>
              <a:gd name="connsiteY105" fmla="*/ 221675 h 443349"/>
              <a:gd name="connsiteX106" fmla="*/ 443349 w 490017"/>
              <a:gd name="connsiteY106" fmla="*/ 221675 h 443349"/>
              <a:gd name="connsiteX107" fmla="*/ 455016 w 490017"/>
              <a:gd name="connsiteY107" fmla="*/ 233342 h 443349"/>
              <a:gd name="connsiteX108" fmla="*/ 455016 w 490017"/>
              <a:gd name="connsiteY108" fmla="*/ 256676 h 443349"/>
              <a:gd name="connsiteX109" fmla="*/ 443349 w 490017"/>
              <a:gd name="connsiteY109" fmla="*/ 268343 h 443349"/>
              <a:gd name="connsiteX110" fmla="*/ 350013 w 490017"/>
              <a:gd name="connsiteY110" fmla="*/ 268343 h 443349"/>
              <a:gd name="connsiteX111" fmla="*/ 338345 w 490017"/>
              <a:gd name="connsiteY111" fmla="*/ 256676 h 443349"/>
              <a:gd name="connsiteX112" fmla="*/ 338345 w 490017"/>
              <a:gd name="connsiteY112" fmla="*/ 233342 h 44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90017" h="443349">
                <a:moveTo>
                  <a:pt x="0" y="40835"/>
                </a:moveTo>
                <a:cubicBezTo>
                  <a:pt x="0" y="18294"/>
                  <a:pt x="18294" y="0"/>
                  <a:pt x="40835" y="0"/>
                </a:cubicBezTo>
                <a:lnTo>
                  <a:pt x="355846" y="0"/>
                </a:lnTo>
                <a:cubicBezTo>
                  <a:pt x="378387" y="0"/>
                  <a:pt x="396681" y="18294"/>
                  <a:pt x="396681" y="40835"/>
                </a:cubicBezTo>
                <a:lnTo>
                  <a:pt x="396681" y="163339"/>
                </a:lnTo>
                <a:lnTo>
                  <a:pt x="326678" y="163339"/>
                </a:lnTo>
                <a:cubicBezTo>
                  <a:pt x="300903" y="163339"/>
                  <a:pt x="280010" y="184233"/>
                  <a:pt x="280010" y="210008"/>
                </a:cubicBezTo>
                <a:lnTo>
                  <a:pt x="280010" y="280010"/>
                </a:lnTo>
                <a:lnTo>
                  <a:pt x="40835" y="280010"/>
                </a:lnTo>
                <a:cubicBezTo>
                  <a:pt x="18282" y="280010"/>
                  <a:pt x="0" y="261728"/>
                  <a:pt x="0" y="239175"/>
                </a:cubicBezTo>
                <a:lnTo>
                  <a:pt x="0" y="40835"/>
                </a:lnTo>
                <a:close/>
                <a:moveTo>
                  <a:pt x="70003" y="52502"/>
                </a:moveTo>
                <a:cubicBezTo>
                  <a:pt x="70003" y="62167"/>
                  <a:pt x="62167" y="70003"/>
                  <a:pt x="52502" y="70003"/>
                </a:cubicBezTo>
                <a:lnTo>
                  <a:pt x="29168" y="70003"/>
                </a:lnTo>
                <a:lnTo>
                  <a:pt x="29168" y="105004"/>
                </a:lnTo>
                <a:lnTo>
                  <a:pt x="52502" y="105004"/>
                </a:lnTo>
                <a:cubicBezTo>
                  <a:pt x="81498" y="105004"/>
                  <a:pt x="105004" y="81498"/>
                  <a:pt x="105004" y="52502"/>
                </a:cubicBezTo>
                <a:lnTo>
                  <a:pt x="105004" y="29168"/>
                </a:lnTo>
                <a:lnTo>
                  <a:pt x="70003" y="29168"/>
                </a:lnTo>
                <a:lnTo>
                  <a:pt x="70003" y="52502"/>
                </a:lnTo>
                <a:close/>
                <a:moveTo>
                  <a:pt x="198340" y="198340"/>
                </a:moveTo>
                <a:cubicBezTo>
                  <a:pt x="227335" y="198340"/>
                  <a:pt x="250842" y="174834"/>
                  <a:pt x="250842" y="145839"/>
                </a:cubicBezTo>
                <a:cubicBezTo>
                  <a:pt x="250842" y="116843"/>
                  <a:pt x="227335" y="93337"/>
                  <a:pt x="198340" y="93337"/>
                </a:cubicBezTo>
                <a:cubicBezTo>
                  <a:pt x="169344" y="93337"/>
                  <a:pt x="145839" y="116843"/>
                  <a:pt x="145839" y="145839"/>
                </a:cubicBezTo>
                <a:cubicBezTo>
                  <a:pt x="145839" y="174834"/>
                  <a:pt x="169344" y="198340"/>
                  <a:pt x="198340" y="198340"/>
                </a:cubicBezTo>
                <a:close/>
                <a:moveTo>
                  <a:pt x="52502" y="210008"/>
                </a:moveTo>
                <a:cubicBezTo>
                  <a:pt x="62167" y="210008"/>
                  <a:pt x="70003" y="217843"/>
                  <a:pt x="70003" y="227508"/>
                </a:cubicBezTo>
                <a:lnTo>
                  <a:pt x="70003" y="250842"/>
                </a:lnTo>
                <a:lnTo>
                  <a:pt x="105004" y="250842"/>
                </a:lnTo>
                <a:lnTo>
                  <a:pt x="105004" y="227508"/>
                </a:lnTo>
                <a:cubicBezTo>
                  <a:pt x="105004" y="198513"/>
                  <a:pt x="81498" y="175006"/>
                  <a:pt x="52502" y="175006"/>
                </a:cubicBezTo>
                <a:lnTo>
                  <a:pt x="29168" y="175006"/>
                </a:lnTo>
                <a:lnTo>
                  <a:pt x="29168" y="210008"/>
                </a:lnTo>
                <a:lnTo>
                  <a:pt x="52502" y="210008"/>
                </a:lnTo>
                <a:close/>
                <a:moveTo>
                  <a:pt x="344179" y="70003"/>
                </a:moveTo>
                <a:cubicBezTo>
                  <a:pt x="334514" y="70003"/>
                  <a:pt x="326678" y="62167"/>
                  <a:pt x="326678" y="52502"/>
                </a:cubicBezTo>
                <a:lnTo>
                  <a:pt x="326678" y="29168"/>
                </a:lnTo>
                <a:lnTo>
                  <a:pt x="291677" y="29168"/>
                </a:lnTo>
                <a:lnTo>
                  <a:pt x="291677" y="52502"/>
                </a:lnTo>
                <a:cubicBezTo>
                  <a:pt x="291677" y="81498"/>
                  <a:pt x="315184" y="105004"/>
                  <a:pt x="344179" y="105004"/>
                </a:cubicBezTo>
                <a:lnTo>
                  <a:pt x="367513" y="105004"/>
                </a:lnTo>
                <a:lnTo>
                  <a:pt x="367513" y="70003"/>
                </a:lnTo>
                <a:lnTo>
                  <a:pt x="344179" y="70003"/>
                </a:lnTo>
                <a:close/>
                <a:moveTo>
                  <a:pt x="56025" y="315011"/>
                </a:moveTo>
                <a:lnTo>
                  <a:pt x="280010" y="315011"/>
                </a:lnTo>
                <a:lnTo>
                  <a:pt x="280010" y="350013"/>
                </a:lnTo>
                <a:lnTo>
                  <a:pt x="116671" y="350013"/>
                </a:lnTo>
                <a:cubicBezTo>
                  <a:pt x="90770" y="350013"/>
                  <a:pt x="68136" y="335942"/>
                  <a:pt x="56025" y="315011"/>
                </a:cubicBezTo>
                <a:close/>
                <a:moveTo>
                  <a:pt x="466683" y="116671"/>
                </a:moveTo>
                <a:lnTo>
                  <a:pt x="466683" y="163339"/>
                </a:lnTo>
                <a:lnTo>
                  <a:pt x="431682" y="163339"/>
                </a:lnTo>
                <a:lnTo>
                  <a:pt x="431682" y="56025"/>
                </a:lnTo>
                <a:cubicBezTo>
                  <a:pt x="453350" y="68530"/>
                  <a:pt x="466695" y="91652"/>
                  <a:pt x="466683" y="116671"/>
                </a:cubicBezTo>
                <a:close/>
                <a:moveTo>
                  <a:pt x="338345" y="186673"/>
                </a:moveTo>
                <a:cubicBezTo>
                  <a:pt x="319015" y="186673"/>
                  <a:pt x="303344" y="202345"/>
                  <a:pt x="303344" y="221675"/>
                </a:cubicBezTo>
                <a:lnTo>
                  <a:pt x="303344" y="408348"/>
                </a:lnTo>
                <a:cubicBezTo>
                  <a:pt x="303344" y="427678"/>
                  <a:pt x="319015" y="443349"/>
                  <a:pt x="338345" y="443349"/>
                </a:cubicBezTo>
                <a:lnTo>
                  <a:pt x="455016" y="443349"/>
                </a:lnTo>
                <a:cubicBezTo>
                  <a:pt x="474346" y="443349"/>
                  <a:pt x="490018" y="427678"/>
                  <a:pt x="490018" y="408348"/>
                </a:cubicBezTo>
                <a:lnTo>
                  <a:pt x="490018" y="221675"/>
                </a:lnTo>
                <a:cubicBezTo>
                  <a:pt x="490018" y="202345"/>
                  <a:pt x="474346" y="186673"/>
                  <a:pt x="455016" y="186673"/>
                </a:cubicBezTo>
                <a:lnTo>
                  <a:pt x="338345" y="186673"/>
                </a:lnTo>
                <a:close/>
                <a:moveTo>
                  <a:pt x="350013" y="291677"/>
                </a:moveTo>
                <a:lnTo>
                  <a:pt x="373347" y="291677"/>
                </a:lnTo>
                <a:cubicBezTo>
                  <a:pt x="379789" y="291677"/>
                  <a:pt x="385014" y="296902"/>
                  <a:pt x="385014" y="303344"/>
                </a:cubicBezTo>
                <a:cubicBezTo>
                  <a:pt x="385014" y="309787"/>
                  <a:pt x="379789" y="315011"/>
                  <a:pt x="373347" y="315011"/>
                </a:cubicBezTo>
                <a:lnTo>
                  <a:pt x="350013" y="315011"/>
                </a:lnTo>
                <a:cubicBezTo>
                  <a:pt x="343570" y="315011"/>
                  <a:pt x="338345" y="309787"/>
                  <a:pt x="338345" y="303344"/>
                </a:cubicBezTo>
                <a:cubicBezTo>
                  <a:pt x="338345" y="296902"/>
                  <a:pt x="343570" y="291677"/>
                  <a:pt x="350013" y="291677"/>
                </a:cubicBezTo>
                <a:close/>
                <a:moveTo>
                  <a:pt x="420015" y="291677"/>
                </a:moveTo>
                <a:lnTo>
                  <a:pt x="443349" y="291677"/>
                </a:lnTo>
                <a:cubicBezTo>
                  <a:pt x="449792" y="291677"/>
                  <a:pt x="455016" y="296902"/>
                  <a:pt x="455016" y="303344"/>
                </a:cubicBezTo>
                <a:cubicBezTo>
                  <a:pt x="455016" y="309787"/>
                  <a:pt x="449792" y="315011"/>
                  <a:pt x="443349" y="315011"/>
                </a:cubicBezTo>
                <a:lnTo>
                  <a:pt x="420015" y="315011"/>
                </a:lnTo>
                <a:cubicBezTo>
                  <a:pt x="413572" y="315011"/>
                  <a:pt x="408348" y="309787"/>
                  <a:pt x="408348" y="303344"/>
                </a:cubicBezTo>
                <a:cubicBezTo>
                  <a:pt x="408348" y="296902"/>
                  <a:pt x="413572" y="291677"/>
                  <a:pt x="420015" y="291677"/>
                </a:cubicBezTo>
                <a:close/>
                <a:moveTo>
                  <a:pt x="350013" y="338345"/>
                </a:moveTo>
                <a:lnTo>
                  <a:pt x="373347" y="338345"/>
                </a:lnTo>
                <a:cubicBezTo>
                  <a:pt x="379789" y="338345"/>
                  <a:pt x="385014" y="343570"/>
                  <a:pt x="385014" y="350013"/>
                </a:cubicBezTo>
                <a:cubicBezTo>
                  <a:pt x="385014" y="356455"/>
                  <a:pt x="379789" y="361680"/>
                  <a:pt x="373347" y="361680"/>
                </a:cubicBezTo>
                <a:lnTo>
                  <a:pt x="350013" y="361680"/>
                </a:lnTo>
                <a:cubicBezTo>
                  <a:pt x="343570" y="361680"/>
                  <a:pt x="338345" y="356455"/>
                  <a:pt x="338345" y="350013"/>
                </a:cubicBezTo>
                <a:cubicBezTo>
                  <a:pt x="338345" y="343570"/>
                  <a:pt x="343570" y="338345"/>
                  <a:pt x="350013" y="338345"/>
                </a:cubicBezTo>
                <a:close/>
                <a:moveTo>
                  <a:pt x="420015" y="338345"/>
                </a:moveTo>
                <a:lnTo>
                  <a:pt x="443349" y="338345"/>
                </a:lnTo>
                <a:cubicBezTo>
                  <a:pt x="449792" y="338345"/>
                  <a:pt x="455016" y="343570"/>
                  <a:pt x="455016" y="350013"/>
                </a:cubicBezTo>
                <a:cubicBezTo>
                  <a:pt x="455016" y="356455"/>
                  <a:pt x="449792" y="361680"/>
                  <a:pt x="443349" y="361680"/>
                </a:cubicBezTo>
                <a:lnTo>
                  <a:pt x="420015" y="361680"/>
                </a:lnTo>
                <a:cubicBezTo>
                  <a:pt x="413572" y="361680"/>
                  <a:pt x="408348" y="356455"/>
                  <a:pt x="408348" y="350013"/>
                </a:cubicBezTo>
                <a:cubicBezTo>
                  <a:pt x="408348" y="343570"/>
                  <a:pt x="413572" y="338345"/>
                  <a:pt x="420015" y="338345"/>
                </a:cubicBezTo>
                <a:close/>
                <a:moveTo>
                  <a:pt x="350013" y="385014"/>
                </a:moveTo>
                <a:lnTo>
                  <a:pt x="373347" y="385014"/>
                </a:lnTo>
                <a:cubicBezTo>
                  <a:pt x="379789" y="385014"/>
                  <a:pt x="385014" y="390238"/>
                  <a:pt x="385014" y="396681"/>
                </a:cubicBezTo>
                <a:cubicBezTo>
                  <a:pt x="385014" y="403123"/>
                  <a:pt x="379789" y="408348"/>
                  <a:pt x="373347" y="408348"/>
                </a:cubicBezTo>
                <a:lnTo>
                  <a:pt x="350013" y="408348"/>
                </a:lnTo>
                <a:cubicBezTo>
                  <a:pt x="343570" y="408348"/>
                  <a:pt x="338345" y="403123"/>
                  <a:pt x="338345" y="396681"/>
                </a:cubicBezTo>
                <a:cubicBezTo>
                  <a:pt x="338345" y="390238"/>
                  <a:pt x="343570" y="385014"/>
                  <a:pt x="350013" y="385014"/>
                </a:cubicBezTo>
                <a:close/>
                <a:moveTo>
                  <a:pt x="420015" y="385014"/>
                </a:moveTo>
                <a:lnTo>
                  <a:pt x="443349" y="385014"/>
                </a:lnTo>
                <a:cubicBezTo>
                  <a:pt x="449792" y="385014"/>
                  <a:pt x="455016" y="390238"/>
                  <a:pt x="455016" y="396681"/>
                </a:cubicBezTo>
                <a:cubicBezTo>
                  <a:pt x="455016" y="403123"/>
                  <a:pt x="449792" y="408348"/>
                  <a:pt x="443349" y="408348"/>
                </a:cubicBezTo>
                <a:lnTo>
                  <a:pt x="420015" y="408348"/>
                </a:lnTo>
                <a:cubicBezTo>
                  <a:pt x="413572" y="408348"/>
                  <a:pt x="408348" y="403123"/>
                  <a:pt x="408348" y="396681"/>
                </a:cubicBezTo>
                <a:cubicBezTo>
                  <a:pt x="408348" y="390238"/>
                  <a:pt x="413572" y="385014"/>
                  <a:pt x="420015" y="385014"/>
                </a:cubicBezTo>
                <a:close/>
                <a:moveTo>
                  <a:pt x="338345" y="233342"/>
                </a:moveTo>
                <a:cubicBezTo>
                  <a:pt x="338345" y="226899"/>
                  <a:pt x="343570" y="221675"/>
                  <a:pt x="350013" y="221675"/>
                </a:cubicBezTo>
                <a:lnTo>
                  <a:pt x="443349" y="221675"/>
                </a:lnTo>
                <a:cubicBezTo>
                  <a:pt x="449792" y="221675"/>
                  <a:pt x="455016" y="226899"/>
                  <a:pt x="455016" y="233342"/>
                </a:cubicBezTo>
                <a:lnTo>
                  <a:pt x="455016" y="256676"/>
                </a:lnTo>
                <a:cubicBezTo>
                  <a:pt x="455016" y="263118"/>
                  <a:pt x="449792" y="268343"/>
                  <a:pt x="443349" y="268343"/>
                </a:cubicBezTo>
                <a:lnTo>
                  <a:pt x="350013" y="268343"/>
                </a:lnTo>
                <a:cubicBezTo>
                  <a:pt x="343570" y="268343"/>
                  <a:pt x="338345" y="263118"/>
                  <a:pt x="338345" y="256676"/>
                </a:cubicBezTo>
                <a:lnTo>
                  <a:pt x="338345" y="233342"/>
                </a:lnTo>
                <a:close/>
              </a:path>
            </a:pathLst>
          </a:custGeom>
          <a:gradFill flip="none" rotWithShape="1">
            <a:gsLst>
              <a:gs pos="0">
                <a:srgbClr val="D4EC8E"/>
              </a:gs>
              <a:gs pos="31000">
                <a:srgbClr val="57B9C5"/>
              </a:gs>
              <a:gs pos="88000">
                <a:srgbClr val="0F656B"/>
              </a:gs>
            </a:gsLst>
            <a:path path="circle">
              <a:fillToRect r="100000" b="100000"/>
            </a:path>
            <a:tileRect l="-100000" t="-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612" name="TextBox 1611">
            <a:extLst>
              <a:ext uri="{FF2B5EF4-FFF2-40B4-BE49-F238E27FC236}">
                <a16:creationId xmlns:a16="http://schemas.microsoft.com/office/drawing/2014/main" id="{69688181-3082-B042-68DC-57EF54A6A29B}"/>
              </a:ext>
            </a:extLst>
          </p:cNvPr>
          <p:cNvSpPr txBox="1"/>
          <p:nvPr/>
        </p:nvSpPr>
        <p:spPr>
          <a:xfrm>
            <a:off x="7695941" y="4081508"/>
            <a:ext cx="1295660" cy="430887"/>
          </a:xfrm>
          <a:prstGeom prst="rect">
            <a:avLst/>
          </a:prstGeom>
          <a:noFill/>
        </p:spPr>
        <p:txBody>
          <a:bodyPr wrap="square" lIns="0" tIns="0" rIns="0" bIns="0">
            <a:sp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Finance </a:t>
            </a:r>
            <a:b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b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Segoe Sans Display" pitchFamily="2" charset="0"/>
              </a:rPr>
              <a:t>Function</a:t>
            </a:r>
          </a:p>
        </p:txBody>
      </p:sp>
      <p:pic>
        <p:nvPicPr>
          <p:cNvPr id="1613" name="Picture 2" descr="Microsoft Copilot for Finance logo&#10;">
            <a:extLst>
              <a:ext uri="{FF2B5EF4-FFF2-40B4-BE49-F238E27FC236}">
                <a16:creationId xmlns:a16="http://schemas.microsoft.com/office/drawing/2014/main" id="{3040F0B1-9923-9AFE-E518-585E6A4A0B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67417" y="4860179"/>
            <a:ext cx="552708" cy="552708"/>
          </a:xfrm>
          <a:prstGeom prst="rect">
            <a:avLst/>
          </a:prstGeom>
          <a:noFill/>
          <a:extLst>
            <a:ext uri="{909E8E84-426E-40DD-AFC4-6F175D3DCCD1}">
              <a14:hiddenFill xmlns:a14="http://schemas.microsoft.com/office/drawing/2010/main">
                <a:solidFill>
                  <a:srgbClr val="FFFFFF"/>
                </a:solidFill>
              </a14:hiddenFill>
            </a:ext>
          </a:extLst>
        </p:spPr>
      </p:pic>
      <p:sp>
        <p:nvSpPr>
          <p:cNvPr id="1614" name="TextBox 1613">
            <a:extLst>
              <a:ext uri="{FF2B5EF4-FFF2-40B4-BE49-F238E27FC236}">
                <a16:creationId xmlns:a16="http://schemas.microsoft.com/office/drawing/2014/main" id="{577E6B84-5AA8-3CE5-587F-BF140B2BD98C}"/>
              </a:ext>
            </a:extLst>
          </p:cNvPr>
          <p:cNvSpPr txBox="1"/>
          <p:nvPr/>
        </p:nvSpPr>
        <p:spPr>
          <a:xfrm>
            <a:off x="7695941" y="5587475"/>
            <a:ext cx="1295660" cy="646331"/>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2D2D2">
                    <a:lumMod val="10000"/>
                  </a:srgbClr>
                </a:solidFill>
                <a:effectLst/>
                <a:uLnTx/>
                <a:uFillTx/>
                <a:latin typeface="Segoe Sans Display Semibold" pitchFamily="2" charset="0"/>
                <a:ea typeface="+mn-ea"/>
                <a:cs typeface="Segoe Sans Display Semibold" pitchFamily="2" charset="0"/>
              </a:rPr>
              <a:t>Microsoft Copilot for Finance</a:t>
            </a:r>
          </a:p>
        </p:txBody>
      </p:sp>
      <p:cxnSp>
        <p:nvCxnSpPr>
          <p:cNvPr id="1616" name="Straight Connector 1174_2">
            <a:extLst>
              <a:ext uri="{FF2B5EF4-FFF2-40B4-BE49-F238E27FC236}">
                <a16:creationId xmlns:a16="http://schemas.microsoft.com/office/drawing/2014/main" id="{A9A68CD4-408E-BAD9-C9D3-E9F7F685BB31}"/>
              </a:ext>
              <a:ext uri="{C183D7F6-B498-43B3-948B-1728B52AA6E4}">
                <adec:decorative xmlns:adec="http://schemas.microsoft.com/office/drawing/2017/decorative" val="1"/>
              </a:ext>
            </a:extLst>
          </p:cNvPr>
          <p:cNvCxnSpPr/>
          <p:nvPr/>
        </p:nvCxnSpPr>
        <p:spPr>
          <a:xfrm>
            <a:off x="8415209" y="1714500"/>
            <a:ext cx="0" cy="148732"/>
          </a:xfrm>
          <a:prstGeom prst="line">
            <a:avLst/>
          </a:prstGeom>
          <a:ln w="6350" cap="rnd">
            <a:solidFill>
              <a:srgbClr val="225B62"/>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1617" name="Oval 1616">
            <a:extLst>
              <a:ext uri="{FF2B5EF4-FFF2-40B4-BE49-F238E27FC236}">
                <a16:creationId xmlns:a16="http://schemas.microsoft.com/office/drawing/2014/main" id="{8FA46B4A-C05C-93FC-2462-1D68DD1B2A26}"/>
              </a:ext>
              <a:ext uri="{C183D7F6-B498-43B3-948B-1728B52AA6E4}">
                <adec:decorative xmlns:adec="http://schemas.microsoft.com/office/drawing/2017/decorative" val="1"/>
              </a:ext>
            </a:extLst>
          </p:cNvPr>
          <p:cNvSpPr/>
          <p:nvPr/>
        </p:nvSpPr>
        <p:spPr bwMode="auto">
          <a:xfrm>
            <a:off x="8347257" y="1578596"/>
            <a:ext cx="135904" cy="135904"/>
          </a:xfrm>
          <a:prstGeom prst="ellipse">
            <a:avLst/>
          </a:prstGeom>
          <a:gradFill flip="none" rotWithShape="1">
            <a:gsLst>
              <a:gs pos="0">
                <a:srgbClr val="D4EC8E"/>
              </a:gs>
              <a:gs pos="31000">
                <a:srgbClr val="57B9C5"/>
              </a:gs>
              <a:gs pos="88000">
                <a:srgbClr val="0F656B"/>
              </a:gs>
            </a:gsLst>
            <a:path path="circle">
              <a:fillToRect l="100000" t="100000"/>
            </a:path>
            <a:tileRect r="-100000" b="-100000"/>
          </a:gradFill>
          <a:ln w="19050" cap="flat" cmpd="sng" algn="ctr">
            <a:solidFill>
              <a:schemeClr val="bg1"/>
            </a:solidFill>
            <a:prstDash val="solid"/>
            <a:headEnd type="none" w="med" len="med"/>
            <a:tailEnd type="none" w="med" len="med"/>
          </a:ln>
          <a:effectLst>
            <a:outerShdw blurRad="50800" dist="38100" dir="5400000" algn="t" rotWithShape="0">
              <a:prstClr val="black">
                <a:alpha val="10000"/>
              </a:prstClr>
            </a:outerShdw>
          </a:effectLst>
        </p:spPr>
        <p:txBody>
          <a:bodyPr vert="horz" wrap="square" lIns="0" tIns="20271" rIns="0" bIns="20271" numCol="1" rtlCol="0" anchor="ctr" anchorCtr="0" compatLnSpc="1">
            <a:prstTxWarp prst="textNoShape">
              <a:avLst/>
            </a:prstTxWarp>
            <a:normAutofit fontScale="47500" lnSpcReduction="20000"/>
          </a:bodyPr>
          <a:lstStyle/>
          <a:p>
            <a:pPr marL="0" marR="0" lvl="0" indent="0" algn="ctr" defTabSz="405297" rtl="0" eaLnBrk="1" fontAlgn="base" latinLnBrk="0" hangingPunct="1">
              <a:lnSpc>
                <a:spcPct val="120000"/>
              </a:lnSpc>
              <a:spcBef>
                <a:spcPct val="0"/>
              </a:spcBef>
              <a:spcAft>
                <a:spcPct val="0"/>
              </a:spcAft>
              <a:buClrTx/>
              <a:buSzTx/>
              <a:buFontTx/>
              <a:buNone/>
              <a:tabLst/>
              <a:defRPr/>
            </a:pPr>
            <a:endParaRPr kumimoji="0" lang="en-US" sz="682" b="0" i="0" u="none" strike="noStrike" kern="0" cap="none" spc="0" normalizeH="0" baseline="0" noProof="0">
              <a:ln>
                <a:noFill/>
              </a:ln>
              <a:solidFill>
                <a:srgbClr val="FFFFFF"/>
              </a:solidFill>
              <a:effectLst/>
              <a:uLnTx/>
              <a:uFillTx/>
              <a:latin typeface="Segoe Sans Display"/>
              <a:ea typeface="+mn-ea"/>
              <a:cs typeface="+mn-cs"/>
            </a:endParaRPr>
          </a:p>
        </p:txBody>
      </p:sp>
      <p:cxnSp>
        <p:nvCxnSpPr>
          <p:cNvPr id="1619" name="Straight Connector 1618" descr="Arrow pointing right to Microsoft Copilot Studio">
            <a:extLst>
              <a:ext uri="{FF2B5EF4-FFF2-40B4-BE49-F238E27FC236}">
                <a16:creationId xmlns:a16="http://schemas.microsoft.com/office/drawing/2014/main" id="{3738E195-A145-96F0-B954-B9B0F76E659E}"/>
              </a:ext>
            </a:extLst>
          </p:cNvPr>
          <p:cNvCxnSpPr>
            <a:cxnSpLocks/>
          </p:cNvCxnSpPr>
          <p:nvPr/>
        </p:nvCxnSpPr>
        <p:spPr>
          <a:xfrm>
            <a:off x="9055670" y="2258967"/>
            <a:ext cx="462659" cy="0"/>
          </a:xfrm>
          <a:prstGeom prst="line">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cxnSp>
        <p:nvCxnSpPr>
          <p:cNvPr id="1623" name="Connector: Elbow 1622" descr="Arrow pointing downward to Azure AI Studio">
            <a:extLst>
              <a:ext uri="{FF2B5EF4-FFF2-40B4-BE49-F238E27FC236}">
                <a16:creationId xmlns:a16="http://schemas.microsoft.com/office/drawing/2014/main" id="{E45FE1D7-4CA7-52A9-C4F3-A3B6D72FA3D9}"/>
              </a:ext>
            </a:extLst>
          </p:cNvPr>
          <p:cNvCxnSpPr>
            <a:cxnSpLocks/>
            <a:stCxn id="1618" idx="3"/>
            <a:endCxn id="1624" idx="2"/>
          </p:cNvCxnSpPr>
          <p:nvPr/>
        </p:nvCxnSpPr>
        <p:spPr>
          <a:xfrm>
            <a:off x="9048750" y="2258968"/>
            <a:ext cx="939159" cy="2820579"/>
          </a:xfrm>
          <a:prstGeom prst="bentConnector3">
            <a:avLst>
              <a:gd name="adj1" fmla="val 25659"/>
            </a:avLst>
          </a:prstGeom>
          <a:noFill/>
          <a:ln w="25400" cap="sq">
            <a:solidFill>
              <a:srgbClr val="225B62"/>
            </a:solidFill>
            <a:prstDash val="solid"/>
            <a:miter lim="800000"/>
            <a:headEnd type="none" w="lg" len="sm"/>
            <a:tailEnd type="arrow" w="med" len="sm"/>
          </a:ln>
          <a:effectLst/>
        </p:spPr>
        <p:style>
          <a:lnRef idx="1">
            <a:schemeClr val="accent2"/>
          </a:lnRef>
          <a:fillRef idx="3">
            <a:schemeClr val="accent2"/>
          </a:fillRef>
          <a:effectRef idx="2">
            <a:schemeClr val="accent2"/>
          </a:effectRef>
          <a:fontRef idx="minor">
            <a:schemeClr val="lt1"/>
          </a:fontRef>
        </p:style>
      </p:cxnSp>
      <p:pic>
        <p:nvPicPr>
          <p:cNvPr id="1621" name="Picture 1620" descr="Copilot Studio logo">
            <a:extLst>
              <a:ext uri="{FF2B5EF4-FFF2-40B4-BE49-F238E27FC236}">
                <a16:creationId xmlns:a16="http://schemas.microsoft.com/office/drawing/2014/main" id="{558EF5D7-A32C-7CCD-355E-698498A5515A}"/>
              </a:ext>
            </a:extLst>
          </p:cNvPr>
          <p:cNvPicPr>
            <a:picLocks noChangeAspect="1"/>
          </p:cNvPicPr>
          <p:nvPr/>
        </p:nvPicPr>
        <p:blipFill>
          <a:blip r:embed="rId10"/>
          <a:stretch>
            <a:fillRect/>
          </a:stretch>
        </p:blipFill>
        <p:spPr>
          <a:xfrm>
            <a:off x="10162394" y="1971676"/>
            <a:ext cx="823440" cy="823438"/>
          </a:xfrm>
          <a:prstGeom prst="rect">
            <a:avLst/>
          </a:prstGeom>
        </p:spPr>
      </p:pic>
      <p:sp>
        <p:nvSpPr>
          <p:cNvPr id="1622" name="TextBox 1621">
            <a:extLst>
              <a:ext uri="{FF2B5EF4-FFF2-40B4-BE49-F238E27FC236}">
                <a16:creationId xmlns:a16="http://schemas.microsoft.com/office/drawing/2014/main" id="{680E036F-6582-A764-E536-1756EE2CCA6D}"/>
              </a:ext>
            </a:extLst>
          </p:cNvPr>
          <p:cNvSpPr txBox="1"/>
          <p:nvPr/>
        </p:nvSpPr>
        <p:spPr>
          <a:xfrm>
            <a:off x="9765175" y="2840595"/>
            <a:ext cx="1617879" cy="738664"/>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Display Semibold"/>
                <a:ea typeface="+mn-ea"/>
                <a:cs typeface="Segoe UI Semibold" panose="020B0702040204020203" pitchFamily="34" charset="0"/>
              </a:rPr>
              <a:t>Microsoft Copilot Studi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D2D2D2">
                    <a:lumMod val="10000"/>
                  </a:srgbClr>
                </a:solidFill>
                <a:effectLst/>
                <a:uLnTx/>
                <a:uFillTx/>
                <a:latin typeface="Segoe Sans Display Semibold"/>
                <a:ea typeface="+mn-ea"/>
                <a:cs typeface="Segoe UI Semibold" panose="020B0702040204020203" pitchFamily="34" charset="0"/>
              </a:rPr>
              <a:t>Low Code</a:t>
            </a:r>
          </a:p>
        </p:txBody>
      </p:sp>
      <p:sp>
        <p:nvSpPr>
          <p:cNvPr id="1624" name="Oval 1623">
            <a:extLst>
              <a:ext uri="{FF2B5EF4-FFF2-40B4-BE49-F238E27FC236}">
                <a16:creationId xmlns:a16="http://schemas.microsoft.com/office/drawing/2014/main" id="{922372F8-28E7-AC20-B7C5-6854F21F0ECB}"/>
              </a:ext>
              <a:ext uri="{C183D7F6-B498-43B3-948B-1728B52AA6E4}">
                <adec:decorative xmlns:adec="http://schemas.microsoft.com/office/drawing/2017/decorative" val="1"/>
              </a:ext>
            </a:extLst>
          </p:cNvPr>
          <p:cNvSpPr/>
          <p:nvPr/>
        </p:nvSpPr>
        <p:spPr bwMode="auto">
          <a:xfrm>
            <a:off x="9987909" y="4988076"/>
            <a:ext cx="119125" cy="182941"/>
          </a:xfrm>
          <a:prstGeom prst="ellipse">
            <a:avLst/>
          </a:prstGeom>
          <a:solidFill>
            <a:srgbClr val="F5F7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pic>
        <p:nvPicPr>
          <p:cNvPr id="1625" name="Graphic 1624" descr="Azure AI Studio logo">
            <a:extLst>
              <a:ext uri="{FF2B5EF4-FFF2-40B4-BE49-F238E27FC236}">
                <a16:creationId xmlns:a16="http://schemas.microsoft.com/office/drawing/2014/main" id="{331C1DB8-04DC-6681-FB10-F1E1EA2567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37603" y="4565264"/>
            <a:ext cx="873023" cy="873023"/>
          </a:xfrm>
          <a:prstGeom prst="rect">
            <a:avLst/>
          </a:prstGeom>
        </p:spPr>
      </p:pic>
      <p:sp>
        <p:nvSpPr>
          <p:cNvPr id="1626" name="TextBox 1625">
            <a:extLst>
              <a:ext uri="{FF2B5EF4-FFF2-40B4-BE49-F238E27FC236}">
                <a16:creationId xmlns:a16="http://schemas.microsoft.com/office/drawing/2014/main" id="{EC3BB0F6-6565-5A6C-F78E-8917A3E1CC48}"/>
              </a:ext>
            </a:extLst>
          </p:cNvPr>
          <p:cNvSpPr txBox="1"/>
          <p:nvPr/>
        </p:nvSpPr>
        <p:spPr>
          <a:xfrm>
            <a:off x="9765175" y="5505248"/>
            <a:ext cx="1617879" cy="523220"/>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D2D2D2">
                    <a:lumMod val="10000"/>
                  </a:srgbClr>
                </a:solidFill>
                <a:effectLst/>
                <a:uLnTx/>
                <a:uFillTx/>
                <a:latin typeface="Segoe Sans Display Semibold"/>
                <a:ea typeface="+mn-ea"/>
                <a:cs typeface="Segoe UI Semibold" panose="020B0702040204020203" pitchFamily="34" charset="0"/>
              </a:rPr>
              <a:t>Azure AI Studi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D2D2D2">
                    <a:lumMod val="10000"/>
                  </a:srgbClr>
                </a:solidFill>
                <a:effectLst/>
                <a:uLnTx/>
                <a:uFillTx/>
                <a:latin typeface="Segoe Sans Display Semibold"/>
                <a:ea typeface="+mn-ea"/>
                <a:cs typeface="Segoe UI Semibold" panose="020B0702040204020203" pitchFamily="34" charset="0"/>
              </a:rPr>
              <a:t>Pro-code </a:t>
            </a:r>
          </a:p>
        </p:txBody>
      </p:sp>
    </p:spTree>
    <p:extLst>
      <p:ext uri="{BB962C8B-B14F-4D97-AF65-F5344CB8AC3E}">
        <p14:creationId xmlns:p14="http://schemas.microsoft.com/office/powerpoint/2010/main" val="17390602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565"/>
                                        </p:tgtEl>
                                        <p:attrNameLst>
                                          <p:attrName>style.visibility</p:attrName>
                                        </p:attrNameLst>
                                      </p:cBhvr>
                                      <p:to>
                                        <p:strVal val="visible"/>
                                      </p:to>
                                    </p:set>
                                    <p:animEffect transition="in" filter="wipe(left)">
                                      <p:cBhvr>
                                        <p:cTn id="7" dur="500"/>
                                        <p:tgtEl>
                                          <p:spTgt spid="15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67"/>
                                        </p:tgtEl>
                                        <p:attrNameLst>
                                          <p:attrName>style.visibility</p:attrName>
                                        </p:attrNameLst>
                                      </p:cBhvr>
                                      <p:to>
                                        <p:strVal val="visible"/>
                                      </p:to>
                                    </p:set>
                                    <p:animEffect transition="in" filter="fade">
                                      <p:cBhvr>
                                        <p:cTn id="10" dur="500"/>
                                        <p:tgtEl>
                                          <p:spTgt spid="156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68"/>
                                        </p:tgtEl>
                                        <p:attrNameLst>
                                          <p:attrName>style.visibility</p:attrName>
                                        </p:attrNameLst>
                                      </p:cBhvr>
                                      <p:to>
                                        <p:strVal val="visible"/>
                                      </p:to>
                                    </p:set>
                                    <p:animEffect transition="in" filter="fade">
                                      <p:cBhvr>
                                        <p:cTn id="13" dur="500"/>
                                        <p:tgtEl>
                                          <p:spTgt spid="1568"/>
                                        </p:tgtEl>
                                      </p:cBhvr>
                                    </p:animEffect>
                                  </p:childTnLst>
                                </p:cTn>
                              </p:par>
                              <p:par>
                                <p:cTn id="14" presetID="10" presetClass="entr" presetSubtype="0" fill="hold" nodeType="withEffect">
                                  <p:stCondLst>
                                    <p:cond delay="0"/>
                                  </p:stCondLst>
                                  <p:childTnLst>
                                    <p:set>
                                      <p:cBhvr>
                                        <p:cTn id="15" dur="1" fill="hold">
                                          <p:stCondLst>
                                            <p:cond delay="0"/>
                                          </p:stCondLst>
                                        </p:cTn>
                                        <p:tgtEl>
                                          <p:spTgt spid="1566"/>
                                        </p:tgtEl>
                                        <p:attrNameLst>
                                          <p:attrName>style.visibility</p:attrName>
                                        </p:attrNameLst>
                                      </p:cBhvr>
                                      <p:to>
                                        <p:strVal val="visible"/>
                                      </p:to>
                                    </p:set>
                                    <p:animEffect transition="in" filter="fade">
                                      <p:cBhvr>
                                        <p:cTn id="16" dur="500"/>
                                        <p:tgtEl>
                                          <p:spTgt spid="156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569"/>
                                        </p:tgtEl>
                                        <p:attrNameLst>
                                          <p:attrName>style.visibility</p:attrName>
                                        </p:attrNameLst>
                                      </p:cBhvr>
                                      <p:to>
                                        <p:strVal val="visible"/>
                                      </p:to>
                                    </p:set>
                                    <p:animEffect transition="in" filter="fade">
                                      <p:cBhvr>
                                        <p:cTn id="21" dur="500"/>
                                        <p:tgtEl>
                                          <p:spTgt spid="156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571"/>
                                        </p:tgtEl>
                                        <p:attrNameLst>
                                          <p:attrName>style.visibility</p:attrName>
                                        </p:attrNameLst>
                                      </p:cBhvr>
                                      <p:to>
                                        <p:strVal val="visible"/>
                                      </p:to>
                                    </p:set>
                                    <p:animEffect transition="in" filter="fade">
                                      <p:cBhvr>
                                        <p:cTn id="24" dur="500"/>
                                        <p:tgtEl>
                                          <p:spTgt spid="1571"/>
                                        </p:tgtEl>
                                      </p:cBhvr>
                                    </p:animEffect>
                                  </p:childTnLst>
                                </p:cTn>
                              </p:par>
                              <p:par>
                                <p:cTn id="25" presetID="10" presetClass="entr" presetSubtype="0" fill="hold" nodeType="withEffect">
                                  <p:stCondLst>
                                    <p:cond delay="0"/>
                                  </p:stCondLst>
                                  <p:childTnLst>
                                    <p:set>
                                      <p:cBhvr>
                                        <p:cTn id="26" dur="1" fill="hold">
                                          <p:stCondLst>
                                            <p:cond delay="0"/>
                                          </p:stCondLst>
                                        </p:cTn>
                                        <p:tgtEl>
                                          <p:spTgt spid="1570"/>
                                        </p:tgtEl>
                                        <p:attrNameLst>
                                          <p:attrName>style.visibility</p:attrName>
                                        </p:attrNameLst>
                                      </p:cBhvr>
                                      <p:to>
                                        <p:strVal val="visible"/>
                                      </p:to>
                                    </p:set>
                                    <p:animEffect transition="in" filter="fade">
                                      <p:cBhvr>
                                        <p:cTn id="27" dur="500"/>
                                        <p:tgtEl>
                                          <p:spTgt spid="157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572"/>
                                        </p:tgtEl>
                                        <p:attrNameLst>
                                          <p:attrName>style.visibility</p:attrName>
                                        </p:attrNameLst>
                                      </p:cBhvr>
                                      <p:to>
                                        <p:strVal val="visible"/>
                                      </p:to>
                                    </p:set>
                                    <p:animEffect transition="in" filter="fade">
                                      <p:cBhvr>
                                        <p:cTn id="30" dur="500"/>
                                        <p:tgtEl>
                                          <p:spTgt spid="157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574"/>
                                        </p:tgtEl>
                                        <p:attrNameLst>
                                          <p:attrName>style.visibility</p:attrName>
                                        </p:attrNameLst>
                                      </p:cBhvr>
                                      <p:to>
                                        <p:strVal val="visible"/>
                                      </p:to>
                                    </p:set>
                                    <p:animEffect transition="in" filter="fade">
                                      <p:cBhvr>
                                        <p:cTn id="35" dur="500"/>
                                        <p:tgtEl>
                                          <p:spTgt spid="157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576"/>
                                        </p:tgtEl>
                                        <p:attrNameLst>
                                          <p:attrName>style.visibility</p:attrName>
                                        </p:attrNameLst>
                                      </p:cBhvr>
                                      <p:to>
                                        <p:strVal val="visible"/>
                                      </p:to>
                                    </p:set>
                                    <p:animEffect transition="in" filter="fade">
                                      <p:cBhvr>
                                        <p:cTn id="38" dur="500"/>
                                        <p:tgtEl>
                                          <p:spTgt spid="157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575"/>
                                        </p:tgtEl>
                                        <p:attrNameLst>
                                          <p:attrName>style.visibility</p:attrName>
                                        </p:attrNameLst>
                                      </p:cBhvr>
                                      <p:to>
                                        <p:strVal val="visible"/>
                                      </p:to>
                                    </p:set>
                                    <p:animEffect transition="in" filter="fade">
                                      <p:cBhvr>
                                        <p:cTn id="41" dur="500"/>
                                        <p:tgtEl>
                                          <p:spTgt spid="1575"/>
                                        </p:tgtEl>
                                      </p:cBhvr>
                                    </p:animEffect>
                                  </p:childTnLst>
                                </p:cTn>
                              </p:par>
                              <p:par>
                                <p:cTn id="42" presetID="10" presetClass="entr" presetSubtype="0" fill="hold" nodeType="withEffect">
                                  <p:stCondLst>
                                    <p:cond delay="0"/>
                                  </p:stCondLst>
                                  <p:childTnLst>
                                    <p:set>
                                      <p:cBhvr>
                                        <p:cTn id="43" dur="1" fill="hold">
                                          <p:stCondLst>
                                            <p:cond delay="0"/>
                                          </p:stCondLst>
                                        </p:cTn>
                                        <p:tgtEl>
                                          <p:spTgt spid="1573"/>
                                        </p:tgtEl>
                                        <p:attrNameLst>
                                          <p:attrName>style.visibility</p:attrName>
                                        </p:attrNameLst>
                                      </p:cBhvr>
                                      <p:to>
                                        <p:strVal val="visible"/>
                                      </p:to>
                                    </p:set>
                                    <p:animEffect transition="in" filter="fade">
                                      <p:cBhvr>
                                        <p:cTn id="44" dur="500"/>
                                        <p:tgtEl>
                                          <p:spTgt spid="157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577"/>
                                        </p:tgtEl>
                                        <p:attrNameLst>
                                          <p:attrName>style.visibility</p:attrName>
                                        </p:attrNameLst>
                                      </p:cBhvr>
                                      <p:to>
                                        <p:strVal val="visible"/>
                                      </p:to>
                                    </p:set>
                                    <p:animEffect transition="in" filter="fade">
                                      <p:cBhvr>
                                        <p:cTn id="49" dur="500"/>
                                        <p:tgtEl>
                                          <p:spTgt spid="157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578"/>
                                        </p:tgtEl>
                                        <p:attrNameLst>
                                          <p:attrName>style.visibility</p:attrName>
                                        </p:attrNameLst>
                                      </p:cBhvr>
                                      <p:to>
                                        <p:strVal val="visible"/>
                                      </p:to>
                                    </p:set>
                                    <p:animEffect transition="in" filter="fade">
                                      <p:cBhvr>
                                        <p:cTn id="52" dur="500"/>
                                        <p:tgtEl>
                                          <p:spTgt spid="1578"/>
                                        </p:tgtEl>
                                      </p:cBhvr>
                                    </p:animEffect>
                                  </p:childTnLst>
                                </p:cTn>
                              </p:par>
                              <p:par>
                                <p:cTn id="53" presetID="10" presetClass="entr" presetSubtype="0" fill="hold" nodeType="withEffect">
                                  <p:stCondLst>
                                    <p:cond delay="0"/>
                                  </p:stCondLst>
                                  <p:childTnLst>
                                    <p:set>
                                      <p:cBhvr>
                                        <p:cTn id="54" dur="1" fill="hold">
                                          <p:stCondLst>
                                            <p:cond delay="0"/>
                                          </p:stCondLst>
                                        </p:cTn>
                                        <p:tgtEl>
                                          <p:spTgt spid="1584"/>
                                        </p:tgtEl>
                                        <p:attrNameLst>
                                          <p:attrName>style.visibility</p:attrName>
                                        </p:attrNameLst>
                                      </p:cBhvr>
                                      <p:to>
                                        <p:strVal val="visible"/>
                                      </p:to>
                                    </p:set>
                                    <p:animEffect transition="in" filter="fade">
                                      <p:cBhvr>
                                        <p:cTn id="55" dur="500"/>
                                        <p:tgtEl>
                                          <p:spTgt spid="1584"/>
                                        </p:tgtEl>
                                      </p:cBhvr>
                                    </p:animEffect>
                                  </p:childTnLst>
                                </p:cTn>
                              </p:par>
                              <p:par>
                                <p:cTn id="56" presetID="10" presetClass="entr" presetSubtype="0" fill="hold" nodeType="withEffect">
                                  <p:stCondLst>
                                    <p:cond delay="0"/>
                                  </p:stCondLst>
                                  <p:childTnLst>
                                    <p:set>
                                      <p:cBhvr>
                                        <p:cTn id="57" dur="1" fill="hold">
                                          <p:stCondLst>
                                            <p:cond delay="0"/>
                                          </p:stCondLst>
                                        </p:cTn>
                                        <p:tgtEl>
                                          <p:spTgt spid="1585"/>
                                        </p:tgtEl>
                                        <p:attrNameLst>
                                          <p:attrName>style.visibility</p:attrName>
                                        </p:attrNameLst>
                                      </p:cBhvr>
                                      <p:to>
                                        <p:strVal val="visible"/>
                                      </p:to>
                                    </p:set>
                                    <p:animEffect transition="in" filter="fade">
                                      <p:cBhvr>
                                        <p:cTn id="58" dur="500"/>
                                        <p:tgtEl>
                                          <p:spTgt spid="1585"/>
                                        </p:tgtEl>
                                      </p:cBhvr>
                                    </p:animEffect>
                                  </p:childTnLst>
                                </p:cTn>
                              </p:par>
                              <p:par>
                                <p:cTn id="59" presetID="10" presetClass="entr" presetSubtype="0" fill="hold" nodeType="withEffect">
                                  <p:stCondLst>
                                    <p:cond delay="0"/>
                                  </p:stCondLst>
                                  <p:childTnLst>
                                    <p:set>
                                      <p:cBhvr>
                                        <p:cTn id="60" dur="1" fill="hold">
                                          <p:stCondLst>
                                            <p:cond delay="0"/>
                                          </p:stCondLst>
                                        </p:cTn>
                                        <p:tgtEl>
                                          <p:spTgt spid="1586"/>
                                        </p:tgtEl>
                                        <p:attrNameLst>
                                          <p:attrName>style.visibility</p:attrName>
                                        </p:attrNameLst>
                                      </p:cBhvr>
                                      <p:to>
                                        <p:strVal val="visible"/>
                                      </p:to>
                                    </p:set>
                                    <p:animEffect transition="in" filter="fade">
                                      <p:cBhvr>
                                        <p:cTn id="61" dur="500"/>
                                        <p:tgtEl>
                                          <p:spTgt spid="158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1589"/>
                                        </p:tgtEl>
                                        <p:attrNameLst>
                                          <p:attrName>style.visibility</p:attrName>
                                        </p:attrNameLst>
                                      </p:cBhvr>
                                      <p:to>
                                        <p:strVal val="visible"/>
                                      </p:to>
                                    </p:set>
                                    <p:animEffect transition="in" filter="fade">
                                      <p:cBhvr>
                                        <p:cTn id="64" dur="500"/>
                                        <p:tgtEl>
                                          <p:spTgt spid="1589"/>
                                        </p:tgtEl>
                                      </p:cBhvr>
                                    </p:animEffect>
                                  </p:childTnLst>
                                </p:cTn>
                              </p:par>
                              <p:par>
                                <p:cTn id="65" presetID="10" presetClass="entr" presetSubtype="0" fill="hold" nodeType="withEffect">
                                  <p:stCondLst>
                                    <p:cond delay="0"/>
                                  </p:stCondLst>
                                  <p:childTnLst>
                                    <p:set>
                                      <p:cBhvr>
                                        <p:cTn id="66" dur="1" fill="hold">
                                          <p:stCondLst>
                                            <p:cond delay="0"/>
                                          </p:stCondLst>
                                        </p:cTn>
                                        <p:tgtEl>
                                          <p:spTgt spid="1590"/>
                                        </p:tgtEl>
                                        <p:attrNameLst>
                                          <p:attrName>style.visibility</p:attrName>
                                        </p:attrNameLst>
                                      </p:cBhvr>
                                      <p:to>
                                        <p:strVal val="visible"/>
                                      </p:to>
                                    </p:set>
                                    <p:animEffect transition="in" filter="fade">
                                      <p:cBhvr>
                                        <p:cTn id="67" dur="500"/>
                                        <p:tgtEl>
                                          <p:spTgt spid="1590"/>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591"/>
                                        </p:tgtEl>
                                        <p:attrNameLst>
                                          <p:attrName>style.visibility</p:attrName>
                                        </p:attrNameLst>
                                      </p:cBhvr>
                                      <p:to>
                                        <p:strVal val="visible"/>
                                      </p:to>
                                    </p:set>
                                    <p:animEffect transition="in" filter="fade">
                                      <p:cBhvr>
                                        <p:cTn id="70" dur="500"/>
                                        <p:tgtEl>
                                          <p:spTgt spid="1591"/>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593"/>
                                        </p:tgtEl>
                                        <p:attrNameLst>
                                          <p:attrName>style.visibility</p:attrName>
                                        </p:attrNameLst>
                                      </p:cBhvr>
                                      <p:to>
                                        <p:strVal val="visible"/>
                                      </p:to>
                                    </p:set>
                                    <p:animEffect transition="in" filter="fade">
                                      <p:cBhvr>
                                        <p:cTn id="73" dur="500"/>
                                        <p:tgtEl>
                                          <p:spTgt spid="1593"/>
                                        </p:tgtEl>
                                      </p:cBhvr>
                                    </p:animEffect>
                                  </p:childTnLst>
                                </p:cTn>
                              </p:par>
                              <p:par>
                                <p:cTn id="74" presetID="10" presetClass="entr" presetSubtype="0" fill="hold" nodeType="withEffect">
                                  <p:stCondLst>
                                    <p:cond delay="0"/>
                                  </p:stCondLst>
                                  <p:childTnLst>
                                    <p:set>
                                      <p:cBhvr>
                                        <p:cTn id="75" dur="1" fill="hold">
                                          <p:stCondLst>
                                            <p:cond delay="0"/>
                                          </p:stCondLst>
                                        </p:cTn>
                                        <p:tgtEl>
                                          <p:spTgt spid="1594"/>
                                        </p:tgtEl>
                                        <p:attrNameLst>
                                          <p:attrName>style.visibility</p:attrName>
                                        </p:attrNameLst>
                                      </p:cBhvr>
                                      <p:to>
                                        <p:strVal val="visible"/>
                                      </p:to>
                                    </p:set>
                                    <p:animEffect transition="in" filter="fade">
                                      <p:cBhvr>
                                        <p:cTn id="76" dur="500"/>
                                        <p:tgtEl>
                                          <p:spTgt spid="1594"/>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1595"/>
                                        </p:tgtEl>
                                        <p:attrNameLst>
                                          <p:attrName>style.visibility</p:attrName>
                                        </p:attrNameLst>
                                      </p:cBhvr>
                                      <p:to>
                                        <p:strVal val="visible"/>
                                      </p:to>
                                    </p:set>
                                    <p:animEffect transition="in" filter="fade">
                                      <p:cBhvr>
                                        <p:cTn id="79" dur="500"/>
                                        <p:tgtEl>
                                          <p:spTgt spid="1595"/>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1597"/>
                                        </p:tgtEl>
                                        <p:attrNameLst>
                                          <p:attrName>style.visibility</p:attrName>
                                        </p:attrNameLst>
                                      </p:cBhvr>
                                      <p:to>
                                        <p:strVal val="visible"/>
                                      </p:to>
                                    </p:set>
                                    <p:animEffect transition="in" filter="fade">
                                      <p:cBhvr>
                                        <p:cTn id="82" dur="500"/>
                                        <p:tgtEl>
                                          <p:spTgt spid="1597"/>
                                        </p:tgtEl>
                                      </p:cBhvr>
                                    </p:animEffect>
                                  </p:childTnLst>
                                </p:cTn>
                              </p:par>
                              <p:par>
                                <p:cTn id="83" presetID="10" presetClass="entr" presetSubtype="0" fill="hold" nodeType="withEffect">
                                  <p:stCondLst>
                                    <p:cond delay="0"/>
                                  </p:stCondLst>
                                  <p:childTnLst>
                                    <p:set>
                                      <p:cBhvr>
                                        <p:cTn id="84" dur="1" fill="hold">
                                          <p:stCondLst>
                                            <p:cond delay="0"/>
                                          </p:stCondLst>
                                        </p:cTn>
                                        <p:tgtEl>
                                          <p:spTgt spid="1598"/>
                                        </p:tgtEl>
                                        <p:attrNameLst>
                                          <p:attrName>style.visibility</p:attrName>
                                        </p:attrNameLst>
                                      </p:cBhvr>
                                      <p:to>
                                        <p:strVal val="visible"/>
                                      </p:to>
                                    </p:set>
                                    <p:animEffect transition="in" filter="fade">
                                      <p:cBhvr>
                                        <p:cTn id="85" dur="500"/>
                                        <p:tgtEl>
                                          <p:spTgt spid="1598"/>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599"/>
                                        </p:tgtEl>
                                        <p:attrNameLst>
                                          <p:attrName>style.visibility</p:attrName>
                                        </p:attrNameLst>
                                      </p:cBhvr>
                                      <p:to>
                                        <p:strVal val="visible"/>
                                      </p:to>
                                    </p:set>
                                    <p:animEffect transition="in" filter="fade">
                                      <p:cBhvr>
                                        <p:cTn id="88" dur="500"/>
                                        <p:tgtEl>
                                          <p:spTgt spid="1599"/>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601"/>
                                        </p:tgtEl>
                                        <p:attrNameLst>
                                          <p:attrName>style.visibility</p:attrName>
                                        </p:attrNameLst>
                                      </p:cBhvr>
                                      <p:to>
                                        <p:strVal val="visible"/>
                                      </p:to>
                                    </p:set>
                                    <p:animEffect transition="in" filter="fade">
                                      <p:cBhvr>
                                        <p:cTn id="91" dur="500"/>
                                        <p:tgtEl>
                                          <p:spTgt spid="1601"/>
                                        </p:tgtEl>
                                      </p:cBhvr>
                                    </p:animEffect>
                                  </p:childTnLst>
                                </p:cTn>
                              </p:par>
                              <p:par>
                                <p:cTn id="92" presetID="10" presetClass="entr" presetSubtype="0" fill="hold" nodeType="withEffect">
                                  <p:stCondLst>
                                    <p:cond delay="0"/>
                                  </p:stCondLst>
                                  <p:childTnLst>
                                    <p:set>
                                      <p:cBhvr>
                                        <p:cTn id="93" dur="1" fill="hold">
                                          <p:stCondLst>
                                            <p:cond delay="0"/>
                                          </p:stCondLst>
                                        </p:cTn>
                                        <p:tgtEl>
                                          <p:spTgt spid="1602"/>
                                        </p:tgtEl>
                                        <p:attrNameLst>
                                          <p:attrName>style.visibility</p:attrName>
                                        </p:attrNameLst>
                                      </p:cBhvr>
                                      <p:to>
                                        <p:strVal val="visible"/>
                                      </p:to>
                                    </p:set>
                                    <p:animEffect transition="in" filter="fade">
                                      <p:cBhvr>
                                        <p:cTn id="94" dur="500"/>
                                        <p:tgtEl>
                                          <p:spTgt spid="1602"/>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604"/>
                                        </p:tgtEl>
                                        <p:attrNameLst>
                                          <p:attrName>style.visibility</p:attrName>
                                        </p:attrNameLst>
                                      </p:cBhvr>
                                      <p:to>
                                        <p:strVal val="visible"/>
                                      </p:to>
                                    </p:set>
                                    <p:animEffect transition="in" filter="fade">
                                      <p:cBhvr>
                                        <p:cTn id="97" dur="500"/>
                                        <p:tgtEl>
                                          <p:spTgt spid="1604"/>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606"/>
                                        </p:tgtEl>
                                        <p:attrNameLst>
                                          <p:attrName>style.visibility</p:attrName>
                                        </p:attrNameLst>
                                      </p:cBhvr>
                                      <p:to>
                                        <p:strVal val="visible"/>
                                      </p:to>
                                    </p:set>
                                    <p:animEffect transition="in" filter="fade">
                                      <p:cBhvr>
                                        <p:cTn id="100" dur="500"/>
                                        <p:tgtEl>
                                          <p:spTgt spid="1606"/>
                                        </p:tgtEl>
                                      </p:cBhvr>
                                    </p:animEffect>
                                  </p:childTnLst>
                                </p:cTn>
                              </p:par>
                              <p:par>
                                <p:cTn id="101" presetID="10" presetClass="entr" presetSubtype="0" fill="hold" nodeType="withEffect">
                                  <p:stCondLst>
                                    <p:cond delay="0"/>
                                  </p:stCondLst>
                                  <p:childTnLst>
                                    <p:set>
                                      <p:cBhvr>
                                        <p:cTn id="102" dur="1" fill="hold">
                                          <p:stCondLst>
                                            <p:cond delay="0"/>
                                          </p:stCondLst>
                                        </p:cTn>
                                        <p:tgtEl>
                                          <p:spTgt spid="1607"/>
                                        </p:tgtEl>
                                        <p:attrNameLst>
                                          <p:attrName>style.visibility</p:attrName>
                                        </p:attrNameLst>
                                      </p:cBhvr>
                                      <p:to>
                                        <p:strVal val="visible"/>
                                      </p:to>
                                    </p:set>
                                    <p:animEffect transition="in" filter="fade">
                                      <p:cBhvr>
                                        <p:cTn id="103" dur="500"/>
                                        <p:tgtEl>
                                          <p:spTgt spid="1607"/>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608"/>
                                        </p:tgtEl>
                                        <p:attrNameLst>
                                          <p:attrName>style.visibility</p:attrName>
                                        </p:attrNameLst>
                                      </p:cBhvr>
                                      <p:to>
                                        <p:strVal val="visible"/>
                                      </p:to>
                                    </p:set>
                                    <p:animEffect transition="in" filter="fade">
                                      <p:cBhvr>
                                        <p:cTn id="106" dur="500"/>
                                        <p:tgtEl>
                                          <p:spTgt spid="1608"/>
                                        </p:tgtEl>
                                      </p:cBhvr>
                                    </p:animEffect>
                                  </p:childTnLst>
                                </p:cTn>
                              </p:par>
                              <p:par>
                                <p:cTn id="107" presetID="10" presetClass="entr" presetSubtype="0" fill="hold" nodeType="withEffect">
                                  <p:stCondLst>
                                    <p:cond delay="0"/>
                                  </p:stCondLst>
                                  <p:childTnLst>
                                    <p:set>
                                      <p:cBhvr>
                                        <p:cTn id="108" dur="1" fill="hold">
                                          <p:stCondLst>
                                            <p:cond delay="0"/>
                                          </p:stCondLst>
                                        </p:cTn>
                                        <p:tgtEl>
                                          <p:spTgt spid="1587"/>
                                        </p:tgtEl>
                                        <p:attrNameLst>
                                          <p:attrName>style.visibility</p:attrName>
                                        </p:attrNameLst>
                                      </p:cBhvr>
                                      <p:to>
                                        <p:strVal val="visible"/>
                                      </p:to>
                                    </p:set>
                                    <p:animEffect transition="in" filter="fade">
                                      <p:cBhvr>
                                        <p:cTn id="109" dur="500"/>
                                        <p:tgtEl>
                                          <p:spTgt spid="1587"/>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588"/>
                                        </p:tgtEl>
                                        <p:attrNameLst>
                                          <p:attrName>style.visibility</p:attrName>
                                        </p:attrNameLst>
                                      </p:cBhvr>
                                      <p:to>
                                        <p:strVal val="visible"/>
                                      </p:to>
                                    </p:set>
                                    <p:animEffect transition="in" filter="fade">
                                      <p:cBhvr>
                                        <p:cTn id="112" dur="500"/>
                                        <p:tgtEl>
                                          <p:spTgt spid="1588"/>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600"/>
                                        </p:tgtEl>
                                        <p:attrNameLst>
                                          <p:attrName>style.visibility</p:attrName>
                                        </p:attrNameLst>
                                      </p:cBhvr>
                                      <p:to>
                                        <p:strVal val="visible"/>
                                      </p:to>
                                    </p:set>
                                    <p:animEffect transition="in" filter="fade">
                                      <p:cBhvr>
                                        <p:cTn id="115" dur="500"/>
                                        <p:tgtEl>
                                          <p:spTgt spid="1600"/>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605"/>
                                        </p:tgtEl>
                                        <p:attrNameLst>
                                          <p:attrName>style.visibility</p:attrName>
                                        </p:attrNameLst>
                                      </p:cBhvr>
                                      <p:to>
                                        <p:strVal val="visible"/>
                                      </p:to>
                                    </p:set>
                                    <p:animEffect transition="in" filter="fade">
                                      <p:cBhvr>
                                        <p:cTn id="118" dur="500"/>
                                        <p:tgtEl>
                                          <p:spTgt spid="160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579"/>
                                        </p:tgtEl>
                                        <p:attrNameLst>
                                          <p:attrName>style.visibility</p:attrName>
                                        </p:attrNameLst>
                                      </p:cBhvr>
                                      <p:to>
                                        <p:strVal val="visible"/>
                                      </p:to>
                                    </p:set>
                                    <p:animEffect transition="in" filter="fade">
                                      <p:cBhvr>
                                        <p:cTn id="121" dur="500"/>
                                        <p:tgtEl>
                                          <p:spTgt spid="1579"/>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580"/>
                                        </p:tgtEl>
                                        <p:attrNameLst>
                                          <p:attrName>style.visibility</p:attrName>
                                        </p:attrNameLst>
                                      </p:cBhvr>
                                      <p:to>
                                        <p:strVal val="visible"/>
                                      </p:to>
                                    </p:set>
                                    <p:animEffect transition="in" filter="fade">
                                      <p:cBhvr>
                                        <p:cTn id="124" dur="500"/>
                                        <p:tgtEl>
                                          <p:spTgt spid="1580"/>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1581"/>
                                        </p:tgtEl>
                                        <p:attrNameLst>
                                          <p:attrName>style.visibility</p:attrName>
                                        </p:attrNameLst>
                                      </p:cBhvr>
                                      <p:to>
                                        <p:strVal val="visible"/>
                                      </p:to>
                                    </p:set>
                                    <p:animEffect transition="in" filter="fade">
                                      <p:cBhvr>
                                        <p:cTn id="127" dur="500"/>
                                        <p:tgtEl>
                                          <p:spTgt spid="1581"/>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582"/>
                                        </p:tgtEl>
                                        <p:attrNameLst>
                                          <p:attrName>style.visibility</p:attrName>
                                        </p:attrNameLst>
                                      </p:cBhvr>
                                      <p:to>
                                        <p:strVal val="visible"/>
                                      </p:to>
                                    </p:set>
                                    <p:animEffect transition="in" filter="fade">
                                      <p:cBhvr>
                                        <p:cTn id="130" dur="500"/>
                                        <p:tgtEl>
                                          <p:spTgt spid="1582"/>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583"/>
                                        </p:tgtEl>
                                        <p:attrNameLst>
                                          <p:attrName>style.visibility</p:attrName>
                                        </p:attrNameLst>
                                      </p:cBhvr>
                                      <p:to>
                                        <p:strVal val="visible"/>
                                      </p:to>
                                    </p:set>
                                    <p:animEffect transition="in" filter="fade">
                                      <p:cBhvr>
                                        <p:cTn id="133" dur="500"/>
                                        <p:tgtEl>
                                          <p:spTgt spid="1583"/>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1592"/>
                                        </p:tgtEl>
                                        <p:attrNameLst>
                                          <p:attrName>style.visibility</p:attrName>
                                        </p:attrNameLst>
                                      </p:cBhvr>
                                      <p:to>
                                        <p:strVal val="visible"/>
                                      </p:to>
                                    </p:set>
                                    <p:animEffect transition="in" filter="fade">
                                      <p:cBhvr>
                                        <p:cTn id="136" dur="500"/>
                                        <p:tgtEl>
                                          <p:spTgt spid="1592"/>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596"/>
                                        </p:tgtEl>
                                        <p:attrNameLst>
                                          <p:attrName>style.visibility</p:attrName>
                                        </p:attrNameLst>
                                      </p:cBhvr>
                                      <p:to>
                                        <p:strVal val="visible"/>
                                      </p:to>
                                    </p:set>
                                    <p:animEffect transition="in" filter="fade">
                                      <p:cBhvr>
                                        <p:cTn id="139" dur="500"/>
                                        <p:tgtEl>
                                          <p:spTgt spid="1596"/>
                                        </p:tgtEl>
                                      </p:cBhvr>
                                    </p:animEffect>
                                  </p:childTnLst>
                                </p:cTn>
                              </p:par>
                              <p:par>
                                <p:cTn id="140" presetID="10" presetClass="entr" presetSubtype="0" fill="hold" nodeType="withEffect">
                                  <p:stCondLst>
                                    <p:cond delay="0"/>
                                  </p:stCondLst>
                                  <p:childTnLst>
                                    <p:set>
                                      <p:cBhvr>
                                        <p:cTn id="141" dur="1" fill="hold">
                                          <p:stCondLst>
                                            <p:cond delay="0"/>
                                          </p:stCondLst>
                                        </p:cTn>
                                        <p:tgtEl>
                                          <p:spTgt spid="1609"/>
                                        </p:tgtEl>
                                        <p:attrNameLst>
                                          <p:attrName>style.visibility</p:attrName>
                                        </p:attrNameLst>
                                      </p:cBhvr>
                                      <p:to>
                                        <p:strVal val="visible"/>
                                      </p:to>
                                    </p:set>
                                    <p:animEffect transition="in" filter="fade">
                                      <p:cBhvr>
                                        <p:cTn id="142" dur="500"/>
                                        <p:tgtEl>
                                          <p:spTgt spid="1609"/>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612"/>
                                        </p:tgtEl>
                                        <p:attrNameLst>
                                          <p:attrName>style.visibility</p:attrName>
                                        </p:attrNameLst>
                                      </p:cBhvr>
                                      <p:to>
                                        <p:strVal val="visible"/>
                                      </p:to>
                                    </p:set>
                                    <p:animEffect transition="in" filter="fade">
                                      <p:cBhvr>
                                        <p:cTn id="145" dur="500"/>
                                        <p:tgtEl>
                                          <p:spTgt spid="1612"/>
                                        </p:tgtEl>
                                      </p:cBhvr>
                                    </p:animEffect>
                                  </p:childTnLst>
                                </p:cTn>
                              </p:par>
                              <p:par>
                                <p:cTn id="146" presetID="10" presetClass="entr" presetSubtype="0" fill="hold" nodeType="withEffect">
                                  <p:stCondLst>
                                    <p:cond delay="0"/>
                                  </p:stCondLst>
                                  <p:childTnLst>
                                    <p:set>
                                      <p:cBhvr>
                                        <p:cTn id="147" dur="1" fill="hold">
                                          <p:stCondLst>
                                            <p:cond delay="0"/>
                                          </p:stCondLst>
                                        </p:cTn>
                                        <p:tgtEl>
                                          <p:spTgt spid="1613"/>
                                        </p:tgtEl>
                                        <p:attrNameLst>
                                          <p:attrName>style.visibility</p:attrName>
                                        </p:attrNameLst>
                                      </p:cBhvr>
                                      <p:to>
                                        <p:strVal val="visible"/>
                                      </p:to>
                                    </p:set>
                                    <p:animEffect transition="in" filter="fade">
                                      <p:cBhvr>
                                        <p:cTn id="148" dur="500"/>
                                        <p:tgtEl>
                                          <p:spTgt spid="1613"/>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1614"/>
                                        </p:tgtEl>
                                        <p:attrNameLst>
                                          <p:attrName>style.visibility</p:attrName>
                                        </p:attrNameLst>
                                      </p:cBhvr>
                                      <p:to>
                                        <p:strVal val="visible"/>
                                      </p:to>
                                    </p:set>
                                    <p:animEffect transition="in" filter="fade">
                                      <p:cBhvr>
                                        <p:cTn id="151" dur="500"/>
                                        <p:tgtEl>
                                          <p:spTgt spid="1614"/>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1610"/>
                                        </p:tgtEl>
                                        <p:attrNameLst>
                                          <p:attrName>style.visibility</p:attrName>
                                        </p:attrNameLst>
                                      </p:cBhvr>
                                      <p:to>
                                        <p:strVal val="visible"/>
                                      </p:to>
                                    </p:set>
                                    <p:animEffect transition="in" filter="fade">
                                      <p:cBhvr>
                                        <p:cTn id="154" dur="500"/>
                                        <p:tgtEl>
                                          <p:spTgt spid="1610"/>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1611"/>
                                        </p:tgtEl>
                                        <p:attrNameLst>
                                          <p:attrName>style.visibility</p:attrName>
                                        </p:attrNameLst>
                                      </p:cBhvr>
                                      <p:to>
                                        <p:strVal val="visible"/>
                                      </p:to>
                                    </p:set>
                                    <p:animEffect transition="in" filter="fade">
                                      <p:cBhvr>
                                        <p:cTn id="157" dur="500"/>
                                        <p:tgtEl>
                                          <p:spTgt spid="1611"/>
                                        </p:tgtEl>
                                      </p:cBhvr>
                                    </p:animEffect>
                                  </p:childTnLst>
                                </p:cTn>
                              </p:par>
                            </p:childTnLst>
                          </p:cTn>
                        </p:par>
                      </p:childTnLst>
                    </p:cTn>
                  </p:par>
                  <p:par>
                    <p:cTn id="158" fill="hold">
                      <p:stCondLst>
                        <p:cond delay="indefinite"/>
                      </p:stCondLst>
                      <p:childTnLst>
                        <p:par>
                          <p:cTn id="159" fill="hold">
                            <p:stCondLst>
                              <p:cond delay="0"/>
                            </p:stCondLst>
                            <p:childTnLst>
                              <p:par>
                                <p:cTn id="160" presetID="10" presetClass="entr" presetSubtype="0" fill="hold" grpId="0" nodeType="clickEffect">
                                  <p:stCondLst>
                                    <p:cond delay="0"/>
                                  </p:stCondLst>
                                  <p:childTnLst>
                                    <p:set>
                                      <p:cBhvr>
                                        <p:cTn id="161" dur="1" fill="hold">
                                          <p:stCondLst>
                                            <p:cond delay="0"/>
                                          </p:stCondLst>
                                        </p:cTn>
                                        <p:tgtEl>
                                          <p:spTgt spid="1618"/>
                                        </p:tgtEl>
                                        <p:attrNameLst>
                                          <p:attrName>style.visibility</p:attrName>
                                        </p:attrNameLst>
                                      </p:cBhvr>
                                      <p:to>
                                        <p:strVal val="visible"/>
                                      </p:to>
                                    </p:set>
                                    <p:animEffect transition="in" filter="fade">
                                      <p:cBhvr>
                                        <p:cTn id="162" dur="500"/>
                                        <p:tgtEl>
                                          <p:spTgt spid="1618"/>
                                        </p:tgtEl>
                                      </p:cBhvr>
                                    </p:animEffect>
                                  </p:childTnLst>
                                </p:cTn>
                              </p:par>
                              <p:par>
                                <p:cTn id="163" presetID="10" presetClass="entr" presetSubtype="0" fill="hold" nodeType="withEffect">
                                  <p:stCondLst>
                                    <p:cond delay="0"/>
                                  </p:stCondLst>
                                  <p:childTnLst>
                                    <p:set>
                                      <p:cBhvr>
                                        <p:cTn id="164" dur="1" fill="hold">
                                          <p:stCondLst>
                                            <p:cond delay="0"/>
                                          </p:stCondLst>
                                        </p:cTn>
                                        <p:tgtEl>
                                          <p:spTgt spid="1615"/>
                                        </p:tgtEl>
                                        <p:attrNameLst>
                                          <p:attrName>style.visibility</p:attrName>
                                        </p:attrNameLst>
                                      </p:cBhvr>
                                      <p:to>
                                        <p:strVal val="visible"/>
                                      </p:to>
                                    </p:set>
                                    <p:animEffect transition="in" filter="fade">
                                      <p:cBhvr>
                                        <p:cTn id="165" dur="500"/>
                                        <p:tgtEl>
                                          <p:spTgt spid="1615"/>
                                        </p:tgtEl>
                                      </p:cBhvr>
                                    </p:animEffect>
                                  </p:childTnLst>
                                </p:cTn>
                              </p:par>
                              <p:par>
                                <p:cTn id="166" presetID="10" presetClass="entr" presetSubtype="0" fill="hold" grpId="0" nodeType="withEffect">
                                  <p:stCondLst>
                                    <p:cond delay="0"/>
                                  </p:stCondLst>
                                  <p:childTnLst>
                                    <p:set>
                                      <p:cBhvr>
                                        <p:cTn id="167" dur="1" fill="hold">
                                          <p:stCondLst>
                                            <p:cond delay="0"/>
                                          </p:stCondLst>
                                        </p:cTn>
                                        <p:tgtEl>
                                          <p:spTgt spid="1617"/>
                                        </p:tgtEl>
                                        <p:attrNameLst>
                                          <p:attrName>style.visibility</p:attrName>
                                        </p:attrNameLst>
                                      </p:cBhvr>
                                      <p:to>
                                        <p:strVal val="visible"/>
                                      </p:to>
                                    </p:set>
                                    <p:animEffect transition="in" filter="fade">
                                      <p:cBhvr>
                                        <p:cTn id="168" dur="500"/>
                                        <p:tgtEl>
                                          <p:spTgt spid="1617"/>
                                        </p:tgtEl>
                                      </p:cBhvr>
                                    </p:animEffect>
                                  </p:childTnLst>
                                </p:cTn>
                              </p:par>
                              <p:par>
                                <p:cTn id="169" presetID="10" presetClass="entr" presetSubtype="0" fill="hold" nodeType="withEffect">
                                  <p:stCondLst>
                                    <p:cond delay="0"/>
                                  </p:stCondLst>
                                  <p:childTnLst>
                                    <p:set>
                                      <p:cBhvr>
                                        <p:cTn id="170" dur="1" fill="hold">
                                          <p:stCondLst>
                                            <p:cond delay="0"/>
                                          </p:stCondLst>
                                        </p:cTn>
                                        <p:tgtEl>
                                          <p:spTgt spid="1616"/>
                                        </p:tgtEl>
                                        <p:attrNameLst>
                                          <p:attrName>style.visibility</p:attrName>
                                        </p:attrNameLst>
                                      </p:cBhvr>
                                      <p:to>
                                        <p:strVal val="visible"/>
                                      </p:to>
                                    </p:set>
                                    <p:animEffect transition="in" filter="fade">
                                      <p:cBhvr>
                                        <p:cTn id="171" dur="500"/>
                                        <p:tgtEl>
                                          <p:spTgt spid="1616"/>
                                        </p:tgtEl>
                                      </p:cBhvr>
                                    </p:animEffect>
                                  </p:childTnLst>
                                </p:cTn>
                              </p:par>
                              <p:par>
                                <p:cTn id="172" presetID="1" presetClass="entr" presetSubtype="0" fill="hold" nodeType="withEffect">
                                  <p:stCondLst>
                                    <p:cond delay="0"/>
                                  </p:stCondLst>
                                  <p:childTnLst>
                                    <p:set>
                                      <p:cBhvr>
                                        <p:cTn id="173" dur="1" fill="hold">
                                          <p:stCondLst>
                                            <p:cond delay="0"/>
                                          </p:stCondLst>
                                        </p:cTn>
                                        <p:tgtEl>
                                          <p:spTgt spid="1619"/>
                                        </p:tgtEl>
                                        <p:attrNameLst>
                                          <p:attrName>style.visibility</p:attrName>
                                        </p:attrNameLst>
                                      </p:cBhvr>
                                      <p:to>
                                        <p:strVal val="visible"/>
                                      </p:to>
                                    </p:set>
                                  </p:childTnLst>
                                </p:cTn>
                              </p:par>
                              <p:par>
                                <p:cTn id="174" presetID="22" presetClass="entr" presetSubtype="1" fill="hold" grpId="0" nodeType="withEffect">
                                  <p:stCondLst>
                                    <p:cond delay="0"/>
                                  </p:stCondLst>
                                  <p:childTnLst>
                                    <p:set>
                                      <p:cBhvr>
                                        <p:cTn id="175" dur="1" fill="hold">
                                          <p:stCondLst>
                                            <p:cond delay="0"/>
                                          </p:stCondLst>
                                        </p:cTn>
                                        <p:tgtEl>
                                          <p:spTgt spid="1620"/>
                                        </p:tgtEl>
                                        <p:attrNameLst>
                                          <p:attrName>style.visibility</p:attrName>
                                        </p:attrNameLst>
                                      </p:cBhvr>
                                      <p:to>
                                        <p:strVal val="visible"/>
                                      </p:to>
                                    </p:set>
                                    <p:animEffect transition="in" filter="wipe(up)">
                                      <p:cBhvr>
                                        <p:cTn id="176" dur="250"/>
                                        <p:tgtEl>
                                          <p:spTgt spid="1620"/>
                                        </p:tgtEl>
                                      </p:cBhvr>
                                    </p:animEffect>
                                  </p:childTnLst>
                                </p:cTn>
                              </p:par>
                              <p:par>
                                <p:cTn id="177" presetID="10" presetClass="entr" presetSubtype="0" fill="hold" nodeType="withEffect">
                                  <p:stCondLst>
                                    <p:cond delay="0"/>
                                  </p:stCondLst>
                                  <p:childTnLst>
                                    <p:set>
                                      <p:cBhvr>
                                        <p:cTn id="178" dur="1" fill="hold">
                                          <p:stCondLst>
                                            <p:cond delay="0"/>
                                          </p:stCondLst>
                                        </p:cTn>
                                        <p:tgtEl>
                                          <p:spTgt spid="1621"/>
                                        </p:tgtEl>
                                        <p:attrNameLst>
                                          <p:attrName>style.visibility</p:attrName>
                                        </p:attrNameLst>
                                      </p:cBhvr>
                                      <p:to>
                                        <p:strVal val="visible"/>
                                      </p:to>
                                    </p:set>
                                    <p:animEffect transition="in" filter="fade">
                                      <p:cBhvr>
                                        <p:cTn id="179" dur="500"/>
                                        <p:tgtEl>
                                          <p:spTgt spid="1621"/>
                                        </p:tgtEl>
                                      </p:cBhvr>
                                    </p:animEffect>
                                  </p:childTnLst>
                                </p:cTn>
                              </p:par>
                              <p:par>
                                <p:cTn id="180" presetID="10" presetClass="entr" presetSubtype="0" fill="hold" grpId="0" nodeType="withEffect">
                                  <p:stCondLst>
                                    <p:cond delay="0"/>
                                  </p:stCondLst>
                                  <p:childTnLst>
                                    <p:set>
                                      <p:cBhvr>
                                        <p:cTn id="181" dur="1" fill="hold">
                                          <p:stCondLst>
                                            <p:cond delay="0"/>
                                          </p:stCondLst>
                                        </p:cTn>
                                        <p:tgtEl>
                                          <p:spTgt spid="1622"/>
                                        </p:tgtEl>
                                        <p:attrNameLst>
                                          <p:attrName>style.visibility</p:attrName>
                                        </p:attrNameLst>
                                      </p:cBhvr>
                                      <p:to>
                                        <p:strVal val="visible"/>
                                      </p:to>
                                    </p:set>
                                    <p:animEffect transition="in" filter="fade">
                                      <p:cBhvr>
                                        <p:cTn id="182" dur="500"/>
                                        <p:tgtEl>
                                          <p:spTgt spid="1622"/>
                                        </p:tgtEl>
                                      </p:cBhvr>
                                    </p:animEffect>
                                  </p:childTnLst>
                                </p:cTn>
                              </p:par>
                            </p:childTnLst>
                          </p:cTn>
                        </p:par>
                      </p:childTnLst>
                    </p:cTn>
                  </p:par>
                  <p:par>
                    <p:cTn id="183" fill="hold">
                      <p:stCondLst>
                        <p:cond delay="indefinite"/>
                      </p:stCondLst>
                      <p:childTnLst>
                        <p:par>
                          <p:cTn id="184" fill="hold">
                            <p:stCondLst>
                              <p:cond delay="0"/>
                            </p:stCondLst>
                            <p:childTnLst>
                              <p:par>
                                <p:cTn id="185" presetID="1" presetClass="entr" presetSubtype="0" fill="hold" nodeType="clickEffect">
                                  <p:stCondLst>
                                    <p:cond delay="0"/>
                                  </p:stCondLst>
                                  <p:childTnLst>
                                    <p:set>
                                      <p:cBhvr>
                                        <p:cTn id="186" dur="1" fill="hold">
                                          <p:stCondLst>
                                            <p:cond delay="0"/>
                                          </p:stCondLst>
                                        </p:cTn>
                                        <p:tgtEl>
                                          <p:spTgt spid="1623"/>
                                        </p:tgtEl>
                                        <p:attrNameLst>
                                          <p:attrName>style.visibility</p:attrName>
                                        </p:attrNameLst>
                                      </p:cBhvr>
                                      <p:to>
                                        <p:strVal val="visible"/>
                                      </p:to>
                                    </p:set>
                                  </p:childTnLst>
                                </p:cTn>
                              </p:par>
                              <p:par>
                                <p:cTn id="187" presetID="1" presetClass="entr" presetSubtype="0" fill="hold" grpId="0" nodeType="withEffect">
                                  <p:stCondLst>
                                    <p:cond delay="0"/>
                                  </p:stCondLst>
                                  <p:childTnLst>
                                    <p:set>
                                      <p:cBhvr>
                                        <p:cTn id="188" dur="1" fill="hold">
                                          <p:stCondLst>
                                            <p:cond delay="0"/>
                                          </p:stCondLst>
                                        </p:cTn>
                                        <p:tgtEl>
                                          <p:spTgt spid="1624"/>
                                        </p:tgtEl>
                                        <p:attrNameLst>
                                          <p:attrName>style.visibility</p:attrName>
                                        </p:attrNameLst>
                                      </p:cBhvr>
                                      <p:to>
                                        <p:strVal val="visible"/>
                                      </p:to>
                                    </p:set>
                                  </p:childTnLst>
                                </p:cTn>
                              </p:par>
                              <p:par>
                                <p:cTn id="189" presetID="10" presetClass="entr" presetSubtype="0" fill="hold" nodeType="withEffect">
                                  <p:stCondLst>
                                    <p:cond delay="0"/>
                                  </p:stCondLst>
                                  <p:childTnLst>
                                    <p:set>
                                      <p:cBhvr>
                                        <p:cTn id="190" dur="1" fill="hold">
                                          <p:stCondLst>
                                            <p:cond delay="0"/>
                                          </p:stCondLst>
                                        </p:cTn>
                                        <p:tgtEl>
                                          <p:spTgt spid="1625"/>
                                        </p:tgtEl>
                                        <p:attrNameLst>
                                          <p:attrName>style.visibility</p:attrName>
                                        </p:attrNameLst>
                                      </p:cBhvr>
                                      <p:to>
                                        <p:strVal val="visible"/>
                                      </p:to>
                                    </p:set>
                                    <p:animEffect transition="in" filter="fade">
                                      <p:cBhvr>
                                        <p:cTn id="191" dur="500"/>
                                        <p:tgtEl>
                                          <p:spTgt spid="1625"/>
                                        </p:tgtEl>
                                      </p:cBhvr>
                                    </p:animEffect>
                                  </p:childTnLst>
                                </p:cTn>
                              </p:par>
                              <p:par>
                                <p:cTn id="192" presetID="10" presetClass="entr" presetSubtype="0" fill="hold" grpId="0" nodeType="withEffect">
                                  <p:stCondLst>
                                    <p:cond delay="0"/>
                                  </p:stCondLst>
                                  <p:childTnLst>
                                    <p:set>
                                      <p:cBhvr>
                                        <p:cTn id="193" dur="1" fill="hold">
                                          <p:stCondLst>
                                            <p:cond delay="0"/>
                                          </p:stCondLst>
                                        </p:cTn>
                                        <p:tgtEl>
                                          <p:spTgt spid="1626"/>
                                        </p:tgtEl>
                                        <p:attrNameLst>
                                          <p:attrName>style.visibility</p:attrName>
                                        </p:attrNameLst>
                                      </p:cBhvr>
                                      <p:to>
                                        <p:strVal val="visible"/>
                                      </p:to>
                                    </p:set>
                                    <p:animEffect transition="in" filter="fade">
                                      <p:cBhvr>
                                        <p:cTn id="194" dur="500"/>
                                        <p:tgtEl>
                                          <p:spTgt spid="16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0" grpId="0" animBg="1"/>
      <p:bldP spid="1567" grpId="0" animBg="1"/>
      <p:bldP spid="1568" grpId="0"/>
      <p:bldP spid="1571" grpId="0" animBg="1"/>
      <p:bldP spid="1572" grpId="0"/>
      <p:bldP spid="1575" grpId="0" animBg="1"/>
      <p:bldP spid="1576" grpId="0"/>
      <p:bldP spid="1618" grpId="0" animBg="1"/>
      <p:bldP spid="1578" grpId="0" animBg="1"/>
      <p:bldP spid="1579" grpId="0" animBg="1"/>
      <p:bldP spid="1580" grpId="0" animBg="1"/>
      <p:bldP spid="1581" grpId="0" animBg="1"/>
      <p:bldP spid="1582" grpId="0" animBg="1"/>
      <p:bldP spid="1583" grpId="0" animBg="1"/>
      <p:bldP spid="1588" grpId="0" animBg="1"/>
      <p:bldP spid="1589" grpId="0"/>
      <p:bldP spid="1591" grpId="0"/>
      <p:bldP spid="1592" grpId="0" animBg="1"/>
      <p:bldP spid="1593" grpId="0"/>
      <p:bldP spid="1595" grpId="0"/>
      <p:bldP spid="1596" grpId="0" animBg="1"/>
      <p:bldP spid="1597" grpId="0"/>
      <p:bldP spid="1599" grpId="0"/>
      <p:bldP spid="1600" grpId="0" animBg="1"/>
      <p:bldP spid="1601" grpId="0"/>
      <p:bldP spid="1604" grpId="0"/>
      <p:bldP spid="1605" grpId="0" animBg="1"/>
      <p:bldP spid="1606" grpId="0"/>
      <p:bldP spid="1608" grpId="0"/>
      <p:bldP spid="1610" grpId="0" animBg="1"/>
      <p:bldP spid="1611" grpId="0" animBg="1"/>
      <p:bldP spid="1612" grpId="0"/>
      <p:bldP spid="1614" grpId="0"/>
      <p:bldP spid="1617" grpId="0" animBg="1"/>
      <p:bldP spid="1622" grpId="0"/>
      <p:bldP spid="1624" grpId="0" animBg="1"/>
      <p:bldP spid="162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TextBox 229">
            <a:extLst>
              <a:ext uri="{FF2B5EF4-FFF2-40B4-BE49-F238E27FC236}">
                <a16:creationId xmlns:a16="http://schemas.microsoft.com/office/drawing/2014/main" id="{9FD5F569-5125-603E-18F9-C7A3B5D5A706}"/>
              </a:ext>
            </a:extLst>
          </p:cNvPr>
          <p:cNvSpPr txBox="1"/>
          <p:nvPr/>
        </p:nvSpPr>
        <p:spPr>
          <a:xfrm>
            <a:off x="588262" y="5762942"/>
            <a:ext cx="11887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panose="020B0502040204020203" pitchFamily="34" charset="0"/>
                <a:ea typeface="Arial" charset="0"/>
                <a:cs typeface="Segoe UI Semibold" panose="020B0502040204020203" pitchFamily="34" charset="0"/>
              </a:rPr>
              <a:t>ML Platform</a:t>
            </a:r>
          </a:p>
        </p:txBody>
      </p:sp>
      <p:sp>
        <p:nvSpPr>
          <p:cNvPr id="229" name="TextBox 228">
            <a:extLst>
              <a:ext uri="{FF2B5EF4-FFF2-40B4-BE49-F238E27FC236}">
                <a16:creationId xmlns:a16="http://schemas.microsoft.com/office/drawing/2014/main" id="{DE836F1B-1A6E-067D-0F03-B10511EB022C}"/>
              </a:ext>
            </a:extLst>
          </p:cNvPr>
          <p:cNvSpPr txBox="1"/>
          <p:nvPr/>
        </p:nvSpPr>
        <p:spPr>
          <a:xfrm>
            <a:off x="588262" y="4566401"/>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panose="020B0502040204020203" pitchFamily="34" charset="0"/>
                <a:ea typeface="Arial" charset="0"/>
                <a:cs typeface="Segoe UI Semibold" panose="020B0502040204020203" pitchFamily="34" charset="0"/>
              </a:rPr>
              <a:t>Customizable AI Models</a:t>
            </a:r>
          </a:p>
        </p:txBody>
      </p:sp>
      <p:sp>
        <p:nvSpPr>
          <p:cNvPr id="231" name="TextBox 230">
            <a:extLst>
              <a:ext uri="{FF2B5EF4-FFF2-40B4-BE49-F238E27FC236}">
                <a16:creationId xmlns:a16="http://schemas.microsoft.com/office/drawing/2014/main" id="{3745BBE3-4F48-ADD8-3736-5F05C8359CC3}"/>
              </a:ext>
            </a:extLst>
          </p:cNvPr>
          <p:cNvSpPr txBox="1"/>
          <p:nvPr/>
        </p:nvSpPr>
        <p:spPr>
          <a:xfrm>
            <a:off x="589263" y="5036486"/>
            <a:ext cx="1369246"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tx2"/>
                </a:solidFill>
                <a:effectLst/>
                <a:uLnTx/>
                <a:uFillTx/>
                <a:latin typeface="Segoe UI"/>
                <a:ea typeface="Arial" charset="0"/>
                <a:cs typeface="Segoe UI" panose="020B0502040204020203" pitchFamily="34" charset="0"/>
              </a:rPr>
              <a:t>Cognitive Services</a:t>
            </a:r>
          </a:p>
        </p:txBody>
      </p:sp>
      <p:sp>
        <p:nvSpPr>
          <p:cNvPr id="304" name="TextBox 303">
            <a:extLst>
              <a:ext uri="{FF2B5EF4-FFF2-40B4-BE49-F238E27FC236}">
                <a16:creationId xmlns:a16="http://schemas.microsoft.com/office/drawing/2014/main" id="{2A988C05-FDDD-9ABB-178D-F3814AEACF33}"/>
              </a:ext>
            </a:extLst>
          </p:cNvPr>
          <p:cNvSpPr txBox="1"/>
          <p:nvPr/>
        </p:nvSpPr>
        <p:spPr>
          <a:xfrm>
            <a:off x="588262" y="3459067"/>
            <a:ext cx="219456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panose="020B0502040204020203" pitchFamily="34" charset="0"/>
                <a:ea typeface="Arial" charset="0"/>
                <a:cs typeface="Segoe UI Semibold" panose="020B0502040204020203" pitchFamily="34" charset="0"/>
              </a:rPr>
              <a:t>Scenario-Based Services</a:t>
            </a:r>
          </a:p>
        </p:txBody>
      </p:sp>
      <p:sp>
        <p:nvSpPr>
          <p:cNvPr id="305" name="TextBox 304">
            <a:extLst>
              <a:ext uri="{FF2B5EF4-FFF2-40B4-BE49-F238E27FC236}">
                <a16:creationId xmlns:a16="http://schemas.microsoft.com/office/drawing/2014/main" id="{A701C4AB-F3F9-B835-183F-FE2F01630269}"/>
              </a:ext>
            </a:extLst>
          </p:cNvPr>
          <p:cNvSpPr txBox="1"/>
          <p:nvPr/>
        </p:nvSpPr>
        <p:spPr>
          <a:xfrm>
            <a:off x="594094" y="3877265"/>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tx2"/>
                </a:solidFill>
                <a:effectLst/>
                <a:uLnTx/>
                <a:uFillTx/>
                <a:latin typeface="Segoe UI"/>
                <a:ea typeface="Arial" charset="0"/>
                <a:cs typeface="Segoe UI" panose="020B0502040204020203" pitchFamily="34" charset="0"/>
              </a:rPr>
              <a:t>Applied AI Services</a:t>
            </a:r>
          </a:p>
        </p:txBody>
      </p:sp>
      <p:sp>
        <p:nvSpPr>
          <p:cNvPr id="309" name="TextBox 308">
            <a:extLst>
              <a:ext uri="{FF2B5EF4-FFF2-40B4-BE49-F238E27FC236}">
                <a16:creationId xmlns:a16="http://schemas.microsoft.com/office/drawing/2014/main" id="{41FE4C9A-531F-1C41-2AEE-B514AE2CB8E3}"/>
              </a:ext>
            </a:extLst>
          </p:cNvPr>
          <p:cNvSpPr txBox="1"/>
          <p:nvPr/>
        </p:nvSpPr>
        <p:spPr>
          <a:xfrm>
            <a:off x="588262" y="2358389"/>
            <a:ext cx="192024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panose="020B0502040204020203" pitchFamily="34" charset="0"/>
                <a:ea typeface="Arial" charset="0"/>
                <a:cs typeface="Segoe UI Semibold" panose="020B0502040204020203" pitchFamily="34" charset="0"/>
              </a:rPr>
              <a:t>Application Platform</a:t>
            </a:r>
          </a:p>
        </p:txBody>
      </p:sp>
      <p:sp>
        <p:nvSpPr>
          <p:cNvPr id="311" name="TextBox 310">
            <a:extLst>
              <a:ext uri="{FF2B5EF4-FFF2-40B4-BE49-F238E27FC236}">
                <a16:creationId xmlns:a16="http://schemas.microsoft.com/office/drawing/2014/main" id="{4F4AF747-5D46-3A34-F1BC-AD27332D43F9}"/>
              </a:ext>
            </a:extLst>
          </p:cNvPr>
          <p:cNvSpPr txBox="1"/>
          <p:nvPr/>
        </p:nvSpPr>
        <p:spPr>
          <a:xfrm>
            <a:off x="588263" y="2776587"/>
            <a:ext cx="1430078" cy="253916"/>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chemeClr val="tx2"/>
                </a:solidFill>
                <a:effectLst/>
                <a:uLnTx/>
                <a:uFillTx/>
                <a:latin typeface="Segoe UI"/>
                <a:ea typeface="Arial" charset="0"/>
                <a:cs typeface="Segoe UI" panose="020B0502040204020203" pitchFamily="34" charset="0"/>
              </a:rPr>
              <a:t>AI Builder</a:t>
            </a:r>
          </a:p>
        </p:txBody>
      </p:sp>
      <p:sp>
        <p:nvSpPr>
          <p:cNvPr id="313" name="TextBox 312">
            <a:extLst>
              <a:ext uri="{FF2B5EF4-FFF2-40B4-BE49-F238E27FC236}">
                <a16:creationId xmlns:a16="http://schemas.microsoft.com/office/drawing/2014/main" id="{84FB7CDA-D099-B022-0B26-8FB287B80E1F}"/>
              </a:ext>
            </a:extLst>
          </p:cNvPr>
          <p:cNvSpPr txBox="1"/>
          <p:nvPr/>
        </p:nvSpPr>
        <p:spPr>
          <a:xfrm>
            <a:off x="595189" y="1365469"/>
            <a:ext cx="1493520" cy="307777"/>
          </a:xfrm>
          <a:prstGeom prst="rect">
            <a:avLst/>
          </a:prstGeom>
          <a:noFill/>
        </p:spPr>
        <p:txBody>
          <a:bodyPr wrap="square">
            <a:spAutoFit/>
          </a:bodyPr>
          <a:lstStyle/>
          <a:p>
            <a:pPr marL="0" marR="0" lvl="0" indent="0" algn="l" defTabSz="66659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chemeClr val="tx2"/>
                </a:solidFill>
                <a:effectLst/>
                <a:uLnTx/>
                <a:uFillTx/>
                <a:latin typeface="Segoe UI Semibold" panose="020B0502040204020203" pitchFamily="34" charset="0"/>
                <a:ea typeface="Arial" charset="0"/>
                <a:cs typeface="Segoe UI Semibold" panose="020B0502040204020203" pitchFamily="34" charset="0"/>
              </a:rPr>
              <a:t>Applications</a:t>
            </a:r>
          </a:p>
        </p:txBody>
      </p:sp>
      <p:sp>
        <p:nvSpPr>
          <p:cNvPr id="3" name="Title 2">
            <a:extLst>
              <a:ext uri="{FF2B5EF4-FFF2-40B4-BE49-F238E27FC236}">
                <a16:creationId xmlns:a16="http://schemas.microsoft.com/office/drawing/2014/main" id="{32B5AF0E-C9C0-C806-D02D-DC37D061CA9E}"/>
              </a:ext>
            </a:extLst>
          </p:cNvPr>
          <p:cNvSpPr>
            <a:spLocks noGrp="1"/>
          </p:cNvSpPr>
          <p:nvPr>
            <p:ph type="title"/>
          </p:nvPr>
        </p:nvSpPr>
        <p:spPr>
          <a:xfrm>
            <a:off x="588263" y="334017"/>
            <a:ext cx="11018520" cy="492443"/>
          </a:xfrm>
        </p:spPr>
        <p:txBody>
          <a:bodyPr>
            <a:normAutofit fontScale="90000"/>
          </a:bodyPr>
          <a:lstStyle/>
          <a:p>
            <a:r>
              <a:rPr lang="en-US" sz="3600">
                <a:solidFill>
                  <a:schemeClr val="accent2">
                    <a:lumMod val="60000"/>
                    <a:lumOff val="40000"/>
                  </a:schemeClr>
                </a:solidFill>
                <a:cs typeface="Segoe UI"/>
              </a:rPr>
              <a:t>Microsoft AI Services</a:t>
            </a:r>
          </a:p>
        </p:txBody>
      </p:sp>
      <p:sp>
        <p:nvSpPr>
          <p:cNvPr id="142" name="Freeform 2">
            <a:extLst>
              <a:ext uri="{FF2B5EF4-FFF2-40B4-BE49-F238E27FC236}">
                <a16:creationId xmlns:a16="http://schemas.microsoft.com/office/drawing/2014/main" id="{417617C9-11F1-FE74-948D-6BAE0F7E4E87}"/>
              </a:ext>
            </a:extLst>
          </p:cNvPr>
          <p:cNvSpPr>
            <a:spLocks noChangeArrowheads="1"/>
          </p:cNvSpPr>
          <p:nvPr/>
        </p:nvSpPr>
        <p:spPr bwMode="auto">
          <a:xfrm>
            <a:off x="2886317" y="1011198"/>
            <a:ext cx="7599176"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pic>
        <p:nvPicPr>
          <p:cNvPr id="143" name="Picture 142" descr="Graphical user interface&#10;&#10;Description automatically generated">
            <a:extLst>
              <a:ext uri="{FF2B5EF4-FFF2-40B4-BE49-F238E27FC236}">
                <a16:creationId xmlns:a16="http://schemas.microsoft.com/office/drawing/2014/main" id="{EF2BFC67-5BB4-026A-BBC1-4FA180E5DA0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23735" y="1257017"/>
            <a:ext cx="1427000" cy="524478"/>
          </a:xfrm>
          <a:prstGeom prst="rect">
            <a:avLst/>
          </a:prstGeom>
        </p:spPr>
      </p:pic>
      <p:pic>
        <p:nvPicPr>
          <p:cNvPr id="144" name="Picture 143" descr="Graphical user interface, application&#10;&#10;Description automatically generated">
            <a:extLst>
              <a:ext uri="{FF2B5EF4-FFF2-40B4-BE49-F238E27FC236}">
                <a16:creationId xmlns:a16="http://schemas.microsoft.com/office/drawing/2014/main" id="{146D3A7A-F106-C176-DF12-1AF4584FCD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06711" y="1159592"/>
            <a:ext cx="1617184" cy="711278"/>
          </a:xfrm>
          <a:prstGeom prst="rect">
            <a:avLst/>
          </a:prstGeom>
        </p:spPr>
      </p:pic>
      <p:sp>
        <p:nvSpPr>
          <p:cNvPr id="145" name="TextBox 144">
            <a:extLst>
              <a:ext uri="{FF2B5EF4-FFF2-40B4-BE49-F238E27FC236}">
                <a16:creationId xmlns:a16="http://schemas.microsoft.com/office/drawing/2014/main" id="{353C7C6C-8FCD-3F6B-1D30-7A0D5B943741}"/>
              </a:ext>
            </a:extLst>
          </p:cNvPr>
          <p:cNvSpPr txBox="1"/>
          <p:nvPr/>
        </p:nvSpPr>
        <p:spPr>
          <a:xfrm>
            <a:off x="8795366" y="1465260"/>
            <a:ext cx="1442610" cy="223331"/>
          </a:xfrm>
          <a:prstGeom prst="rect">
            <a:avLst/>
          </a:prstGeom>
          <a:noFill/>
        </p:spPr>
        <p:txBody>
          <a:bodyPr wrap="square" lIns="91440" tIns="45720" rIns="91440" bIns="45720" anchor="t">
            <a:spAutoFit/>
          </a:bodyPr>
          <a:lstStyle/>
          <a:p>
            <a:pPr marL="0" marR="0" lvl="0" indent="0" algn="ctr" defTabSz="755521" rtl="0" eaLnBrk="1" fontAlgn="auto" latinLnBrk="0" hangingPunct="1">
              <a:lnSpc>
                <a:spcPct val="63529"/>
              </a:lnSpc>
              <a:spcBef>
                <a:spcPts val="0"/>
              </a:spcBef>
              <a:spcAft>
                <a:spcPts val="0"/>
              </a:spcAft>
              <a:buClrTx/>
              <a:buSzTx/>
              <a:buFontTx/>
              <a:buNone/>
              <a:tabLst/>
              <a:defRPr/>
            </a:pPr>
            <a:r>
              <a:rPr kumimoji="0" lang="en-US" sz="1200" i="0" u="none" strike="noStrike" kern="0" cap="none" spc="0" normalizeH="0" baseline="0" noProof="0">
                <a:ln>
                  <a:noFill/>
                </a:ln>
                <a:solidFill>
                  <a:prstClr val="white"/>
                </a:solidFill>
                <a:effectLst/>
                <a:uLnTx/>
                <a:uFillTx/>
                <a:latin typeface="Segoe UI"/>
                <a:ea typeface="+mn-ea"/>
                <a:cs typeface="Arial" charset="0"/>
              </a:rPr>
              <a:t>Partner Solutions</a:t>
            </a:r>
            <a:endParaRPr lang="en-US" sz="2400" i="0" u="none" strike="noStrike" kern="0" cap="none" spc="0" normalizeH="0" baseline="0" noProof="0">
              <a:ln>
                <a:noFill/>
              </a:ln>
              <a:solidFill>
                <a:prstClr val="white"/>
              </a:solidFill>
              <a:effectLst/>
              <a:uLnTx/>
              <a:uFillTx/>
              <a:latin typeface="Segoe UI"/>
              <a:cs typeface="Segoe UI Semibold" panose="020B0702040204020203" pitchFamily="34" charset="0"/>
            </a:endParaRPr>
          </a:p>
        </p:txBody>
      </p:sp>
      <p:sp>
        <p:nvSpPr>
          <p:cNvPr id="173" name="Freeform 2">
            <a:extLst>
              <a:ext uri="{FF2B5EF4-FFF2-40B4-BE49-F238E27FC236}">
                <a16:creationId xmlns:a16="http://schemas.microsoft.com/office/drawing/2014/main" id="{D2A68E0E-0818-CC1E-041E-400139144411}"/>
              </a:ext>
            </a:extLst>
          </p:cNvPr>
          <p:cNvSpPr>
            <a:spLocks noChangeArrowheads="1"/>
          </p:cNvSpPr>
          <p:nvPr/>
        </p:nvSpPr>
        <p:spPr bwMode="auto">
          <a:xfrm>
            <a:off x="2886317" y="211187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800" b="1" i="0" u="none" strike="noStrike" kern="0" cap="none" spc="0" normalizeH="0" baseline="0" noProof="0">
              <a:ln>
                <a:noFill/>
              </a:ln>
              <a:solidFill>
                <a:srgbClr val="50E6FF"/>
              </a:solidFill>
              <a:effectLst/>
              <a:uLnTx/>
              <a:uFillTx/>
              <a:latin typeface="Segoe UI Semibold"/>
              <a:ea typeface="+mn-ea"/>
              <a:cs typeface="Segoe UI Semibold" panose="020B0502040204020203" pitchFamily="34" charset="0"/>
            </a:endParaRPr>
          </a:p>
        </p:txBody>
      </p:sp>
      <p:sp>
        <p:nvSpPr>
          <p:cNvPr id="178" name="TextBox 177">
            <a:extLst>
              <a:ext uri="{FF2B5EF4-FFF2-40B4-BE49-F238E27FC236}">
                <a16:creationId xmlns:a16="http://schemas.microsoft.com/office/drawing/2014/main" id="{C8CCBAFE-528A-43F0-4DBE-A96FD04D555B}"/>
              </a:ext>
            </a:extLst>
          </p:cNvPr>
          <p:cNvSpPr txBox="1"/>
          <p:nvPr/>
        </p:nvSpPr>
        <p:spPr>
          <a:xfrm>
            <a:off x="3185341" y="2777813"/>
            <a:ext cx="40395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Fabric</a:t>
            </a:r>
          </a:p>
        </p:txBody>
      </p:sp>
      <p:grpSp>
        <p:nvGrpSpPr>
          <p:cNvPr id="27" name="Group 26">
            <a:extLst>
              <a:ext uri="{FF2B5EF4-FFF2-40B4-BE49-F238E27FC236}">
                <a16:creationId xmlns:a16="http://schemas.microsoft.com/office/drawing/2014/main" id="{E0E267A5-58B8-8432-B987-01A16729C3D7}"/>
              </a:ext>
            </a:extLst>
          </p:cNvPr>
          <p:cNvGrpSpPr/>
          <p:nvPr/>
        </p:nvGrpSpPr>
        <p:grpSpPr>
          <a:xfrm>
            <a:off x="4813265" y="2291353"/>
            <a:ext cx="806311" cy="669969"/>
            <a:chOff x="6348539" y="2305595"/>
            <a:chExt cx="806311" cy="669969"/>
          </a:xfrm>
        </p:grpSpPr>
        <p:pic>
          <p:nvPicPr>
            <p:cNvPr id="176" name="Picture 175" descr="A close up of a logo&#10;&#10;Description automatically generated">
              <a:extLst>
                <a:ext uri="{FF2B5EF4-FFF2-40B4-BE49-F238E27FC236}">
                  <a16:creationId xmlns:a16="http://schemas.microsoft.com/office/drawing/2014/main" id="{BB89438E-0A79-2D78-91C8-685065F3D004}"/>
                </a:ext>
              </a:extLst>
            </p:cNvPr>
            <p:cNvPicPr>
              <a:picLocks noChangeAspect="1"/>
            </p:cNvPicPr>
            <p:nvPr/>
          </p:nvPicPr>
          <p:blipFill>
            <a:blip r:embed="rId6"/>
            <a:stretch>
              <a:fillRect/>
            </a:stretch>
          </p:blipFill>
          <p:spPr>
            <a:xfrm>
              <a:off x="6568814" y="2305595"/>
              <a:ext cx="365760" cy="365760"/>
            </a:xfrm>
            <a:prstGeom prst="rect">
              <a:avLst/>
            </a:prstGeom>
          </p:spPr>
        </p:pic>
        <p:sp>
          <p:nvSpPr>
            <p:cNvPr id="179" name="TextBox 178">
              <a:extLst>
                <a:ext uri="{FF2B5EF4-FFF2-40B4-BE49-F238E27FC236}">
                  <a16:creationId xmlns:a16="http://schemas.microsoft.com/office/drawing/2014/main" id="{782EF79B-3F06-354C-1409-208D930F60D9}"/>
                </a:ext>
              </a:extLst>
            </p:cNvPr>
            <p:cNvSpPr txBox="1"/>
            <p:nvPr/>
          </p:nvSpPr>
          <p:spPr>
            <a:xfrm>
              <a:off x="6348539" y="2790898"/>
              <a:ext cx="80631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pps</a:t>
              </a:r>
            </a:p>
          </p:txBody>
        </p:sp>
      </p:grpSp>
      <p:grpSp>
        <p:nvGrpSpPr>
          <p:cNvPr id="28" name="Group 27">
            <a:extLst>
              <a:ext uri="{FF2B5EF4-FFF2-40B4-BE49-F238E27FC236}">
                <a16:creationId xmlns:a16="http://schemas.microsoft.com/office/drawing/2014/main" id="{641BF886-9518-774C-5F60-A942D1A7D9AE}"/>
              </a:ext>
            </a:extLst>
          </p:cNvPr>
          <p:cNvGrpSpPr/>
          <p:nvPr/>
        </p:nvGrpSpPr>
        <p:grpSpPr>
          <a:xfrm>
            <a:off x="6715303" y="2291353"/>
            <a:ext cx="1134927" cy="669969"/>
            <a:chOff x="8469013" y="2289498"/>
            <a:chExt cx="1134927" cy="669969"/>
          </a:xfrm>
        </p:grpSpPr>
        <p:pic>
          <p:nvPicPr>
            <p:cNvPr id="175" name="Picture 174" descr="A close up of a logo&#10;&#10;Description automatically generated">
              <a:extLst>
                <a:ext uri="{FF2B5EF4-FFF2-40B4-BE49-F238E27FC236}">
                  <a16:creationId xmlns:a16="http://schemas.microsoft.com/office/drawing/2014/main" id="{C321AFE2-859A-BDDD-2017-8B9C93130AD7}"/>
                </a:ext>
              </a:extLst>
            </p:cNvPr>
            <p:cNvPicPr>
              <a:picLocks noChangeAspect="1"/>
            </p:cNvPicPr>
            <p:nvPr/>
          </p:nvPicPr>
          <p:blipFill>
            <a:blip r:embed="rId7"/>
            <a:stretch>
              <a:fillRect/>
            </a:stretch>
          </p:blipFill>
          <p:spPr>
            <a:xfrm>
              <a:off x="8876714" y="2289498"/>
              <a:ext cx="365760" cy="365761"/>
            </a:xfrm>
            <a:prstGeom prst="rect">
              <a:avLst/>
            </a:prstGeom>
          </p:spPr>
        </p:pic>
        <p:sp>
          <p:nvSpPr>
            <p:cNvPr id="180" name="TextBox 179">
              <a:extLst>
                <a:ext uri="{FF2B5EF4-FFF2-40B4-BE49-F238E27FC236}">
                  <a16:creationId xmlns:a16="http://schemas.microsoft.com/office/drawing/2014/main" id="{A8D13FA0-C2D1-D8B1-26F3-D6B085335944}"/>
                </a:ext>
              </a:extLst>
            </p:cNvPr>
            <p:cNvSpPr txBox="1"/>
            <p:nvPr/>
          </p:nvSpPr>
          <p:spPr>
            <a:xfrm>
              <a:off x="8469013" y="2774801"/>
              <a:ext cx="113492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Power Automate</a:t>
              </a:r>
            </a:p>
          </p:txBody>
        </p:sp>
      </p:grpSp>
      <p:grpSp>
        <p:nvGrpSpPr>
          <p:cNvPr id="26" name="Group 25">
            <a:extLst>
              <a:ext uri="{FF2B5EF4-FFF2-40B4-BE49-F238E27FC236}">
                <a16:creationId xmlns:a16="http://schemas.microsoft.com/office/drawing/2014/main" id="{1793EF08-4675-9A05-FD20-C2BF43F179C6}"/>
              </a:ext>
            </a:extLst>
          </p:cNvPr>
          <p:cNvGrpSpPr/>
          <p:nvPr/>
        </p:nvGrpSpPr>
        <p:grpSpPr>
          <a:xfrm>
            <a:off x="9131105" y="2290197"/>
            <a:ext cx="971421" cy="672282"/>
            <a:chOff x="10095922" y="1989683"/>
            <a:chExt cx="971421" cy="672282"/>
          </a:xfrm>
        </p:grpSpPr>
        <p:pic>
          <p:nvPicPr>
            <p:cNvPr id="174" name="Picture 173" descr="A picture containing clock&#10;&#10;Description automatically generated">
              <a:extLst>
                <a:ext uri="{FF2B5EF4-FFF2-40B4-BE49-F238E27FC236}">
                  <a16:creationId xmlns:a16="http://schemas.microsoft.com/office/drawing/2014/main" id="{E6B1F2C7-4DE4-D7CA-6061-E2D69E0C9927}"/>
                </a:ext>
              </a:extLst>
            </p:cNvPr>
            <p:cNvPicPr>
              <a:picLocks noChangeAspect="1"/>
            </p:cNvPicPr>
            <p:nvPr/>
          </p:nvPicPr>
          <p:blipFill>
            <a:blip r:embed="rId8"/>
            <a:stretch>
              <a:fillRect/>
            </a:stretch>
          </p:blipFill>
          <p:spPr>
            <a:xfrm>
              <a:off x="10398750" y="1989683"/>
              <a:ext cx="365760" cy="365760"/>
            </a:xfrm>
            <a:prstGeom prst="rect">
              <a:avLst/>
            </a:prstGeom>
          </p:spPr>
        </p:pic>
        <p:sp>
          <p:nvSpPr>
            <p:cNvPr id="181" name="TextBox 180">
              <a:extLst>
                <a:ext uri="{FF2B5EF4-FFF2-40B4-BE49-F238E27FC236}">
                  <a16:creationId xmlns:a16="http://schemas.microsoft.com/office/drawing/2014/main" id="{EEB44F71-30B6-E67A-A686-DC771E8C4A72}"/>
                </a:ext>
              </a:extLst>
            </p:cNvPr>
            <p:cNvSpPr txBox="1"/>
            <p:nvPr/>
          </p:nvSpPr>
          <p:spPr>
            <a:xfrm>
              <a:off x="10095922" y="2477299"/>
              <a:ext cx="97142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Copilot Studio</a:t>
              </a:r>
            </a:p>
          </p:txBody>
        </p:sp>
      </p:grpSp>
      <p:sp>
        <p:nvSpPr>
          <p:cNvPr id="226" name="Freeform 2">
            <a:extLst>
              <a:ext uri="{FF2B5EF4-FFF2-40B4-BE49-F238E27FC236}">
                <a16:creationId xmlns:a16="http://schemas.microsoft.com/office/drawing/2014/main" id="{52072822-EA2E-1829-623F-7C4ABB259A9F}"/>
              </a:ext>
              <a:ext uri="{C183D7F6-B498-43B3-948B-1728B52AA6E4}">
                <adec:decorative xmlns:adec="http://schemas.microsoft.com/office/drawing/2017/decorative" val="1"/>
              </a:ext>
            </a:extLst>
          </p:cNvPr>
          <p:cNvSpPr>
            <a:spLocks noChangeArrowheads="1"/>
          </p:cNvSpPr>
          <p:nvPr/>
        </p:nvSpPr>
        <p:spPr bwMode="auto">
          <a:xfrm>
            <a:off x="5748281" y="7529190"/>
            <a:ext cx="2104034" cy="218243"/>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27" name="Freeform 2">
            <a:extLst>
              <a:ext uri="{FF2B5EF4-FFF2-40B4-BE49-F238E27FC236}">
                <a16:creationId xmlns:a16="http://schemas.microsoft.com/office/drawing/2014/main" id="{1BAC9947-D5B7-2275-A008-91889FA3BBEA}"/>
              </a:ext>
              <a:ext uri="{C183D7F6-B498-43B3-948B-1728B52AA6E4}">
                <adec:decorative xmlns:adec="http://schemas.microsoft.com/office/drawing/2017/decorative" val="1"/>
              </a:ext>
            </a:extLst>
          </p:cNvPr>
          <p:cNvSpPr>
            <a:spLocks noChangeArrowheads="1"/>
          </p:cNvSpPr>
          <p:nvPr/>
        </p:nvSpPr>
        <p:spPr bwMode="auto">
          <a:xfrm>
            <a:off x="2888077" y="4313232"/>
            <a:ext cx="759741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grpSp>
        <p:nvGrpSpPr>
          <p:cNvPr id="274" name="Group 273">
            <a:extLst>
              <a:ext uri="{FF2B5EF4-FFF2-40B4-BE49-F238E27FC236}">
                <a16:creationId xmlns:a16="http://schemas.microsoft.com/office/drawing/2014/main" id="{48F80B3F-D8F1-5EA3-7380-A6AACDEB004A}"/>
              </a:ext>
            </a:extLst>
          </p:cNvPr>
          <p:cNvGrpSpPr/>
          <p:nvPr/>
        </p:nvGrpSpPr>
        <p:grpSpPr>
          <a:xfrm>
            <a:off x="3245655" y="4434031"/>
            <a:ext cx="365759" cy="379692"/>
            <a:chOff x="5548028" y="2938515"/>
            <a:chExt cx="455215" cy="461879"/>
          </a:xfrm>
        </p:grpSpPr>
        <p:sp>
          <p:nvSpPr>
            <p:cNvPr id="294" name="Freeform: Shape 293">
              <a:extLst>
                <a:ext uri="{FF2B5EF4-FFF2-40B4-BE49-F238E27FC236}">
                  <a16:creationId xmlns:a16="http://schemas.microsoft.com/office/drawing/2014/main" id="{37EF6459-E497-CDBF-373A-2A30EB8C25CA}"/>
                </a:ext>
              </a:extLst>
            </p:cNvPr>
            <p:cNvSpPr/>
            <p:nvPr/>
          </p:nvSpPr>
          <p:spPr bwMode="auto">
            <a:xfrm rot="5400000">
              <a:off x="5548028"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5" name="Freeform: Shape 294">
              <a:extLst>
                <a:ext uri="{FF2B5EF4-FFF2-40B4-BE49-F238E27FC236}">
                  <a16:creationId xmlns:a16="http://schemas.microsoft.com/office/drawing/2014/main" id="{83505EBE-102F-BC95-0A46-CFDA0A2F92BA}"/>
                </a:ext>
              </a:extLst>
            </p:cNvPr>
            <p:cNvSpPr/>
            <p:nvPr/>
          </p:nvSpPr>
          <p:spPr bwMode="auto">
            <a:xfrm rot="16200000" flipV="1">
              <a:off x="5548028"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6" name="Freeform: Shape 295">
              <a:extLst>
                <a:ext uri="{FF2B5EF4-FFF2-40B4-BE49-F238E27FC236}">
                  <a16:creationId xmlns:a16="http://schemas.microsoft.com/office/drawing/2014/main" id="{9859CE15-50C5-B88B-EEBF-30972B759A78}"/>
                </a:ext>
              </a:extLst>
            </p:cNvPr>
            <p:cNvSpPr/>
            <p:nvPr/>
          </p:nvSpPr>
          <p:spPr bwMode="auto">
            <a:xfrm rot="16200000" flipH="1">
              <a:off x="5936403" y="2938515"/>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7" name="Freeform: Shape 296">
              <a:extLst>
                <a:ext uri="{FF2B5EF4-FFF2-40B4-BE49-F238E27FC236}">
                  <a16:creationId xmlns:a16="http://schemas.microsoft.com/office/drawing/2014/main" id="{A50C60BE-7BBF-542B-3D25-6D9103B7A93A}"/>
                </a:ext>
              </a:extLst>
            </p:cNvPr>
            <p:cNvSpPr/>
            <p:nvPr/>
          </p:nvSpPr>
          <p:spPr bwMode="auto">
            <a:xfrm rot="5400000" flipH="1" flipV="1">
              <a:off x="5936403" y="3333554"/>
              <a:ext cx="66840" cy="66840"/>
            </a:xfrm>
            <a:custGeom>
              <a:avLst/>
              <a:gdLst>
                <a:gd name="connsiteX0" fmla="*/ 0 w 218507"/>
                <a:gd name="connsiteY0" fmla="*/ 218507 h 218507"/>
                <a:gd name="connsiteX1" fmla="*/ 0 w 218507"/>
                <a:gd name="connsiteY1" fmla="*/ 172788 h 218507"/>
                <a:gd name="connsiteX2" fmla="*/ 0 w 218507"/>
                <a:gd name="connsiteY2" fmla="*/ 0 h 218507"/>
                <a:gd name="connsiteX3" fmla="*/ 45719 w 218507"/>
                <a:gd name="connsiteY3" fmla="*/ 0 h 218507"/>
                <a:gd name="connsiteX4" fmla="*/ 45719 w 218507"/>
                <a:gd name="connsiteY4" fmla="*/ 172788 h 218507"/>
                <a:gd name="connsiteX5" fmla="*/ 218507 w 218507"/>
                <a:gd name="connsiteY5" fmla="*/ 172788 h 218507"/>
                <a:gd name="connsiteX6" fmla="*/ 218507 w 218507"/>
                <a:gd name="connsiteY6" fmla="*/ 218507 h 218507"/>
                <a:gd name="connsiteX7" fmla="*/ 45719 w 218507"/>
                <a:gd name="connsiteY7" fmla="*/ 218507 h 218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507" h="218507">
                  <a:moveTo>
                    <a:pt x="0" y="218507"/>
                  </a:moveTo>
                  <a:lnTo>
                    <a:pt x="0" y="172788"/>
                  </a:lnTo>
                  <a:lnTo>
                    <a:pt x="0" y="0"/>
                  </a:lnTo>
                  <a:lnTo>
                    <a:pt x="45719" y="0"/>
                  </a:lnTo>
                  <a:lnTo>
                    <a:pt x="45719" y="172788"/>
                  </a:lnTo>
                  <a:lnTo>
                    <a:pt x="218507" y="172788"/>
                  </a:lnTo>
                  <a:lnTo>
                    <a:pt x="218507" y="218507"/>
                  </a:lnTo>
                  <a:lnTo>
                    <a:pt x="45719" y="218507"/>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cxnSp>
        <p:nvCxnSpPr>
          <p:cNvPr id="275" name="Straight Connector 274">
            <a:extLst>
              <a:ext uri="{FF2B5EF4-FFF2-40B4-BE49-F238E27FC236}">
                <a16:creationId xmlns:a16="http://schemas.microsoft.com/office/drawing/2014/main" id="{0194A52C-B60A-6887-94DE-285C25B28F59}"/>
              </a:ext>
            </a:extLst>
          </p:cNvPr>
          <p:cNvCxnSpPr>
            <a:cxnSpLocks/>
          </p:cNvCxnSpPr>
          <p:nvPr/>
        </p:nvCxnSpPr>
        <p:spPr>
          <a:xfrm>
            <a:off x="3421072" y="4690343"/>
            <a:ext cx="215" cy="59448"/>
          </a:xfrm>
          <a:prstGeom prst="line">
            <a:avLst/>
          </a:prstGeom>
          <a:noFill/>
          <a:ln w="9525" cap="rnd" cmpd="sng" algn="ctr">
            <a:solidFill>
              <a:srgbClr val="50E6FF"/>
            </a:solidFill>
            <a:prstDash val="sysDot"/>
            <a:headEnd type="none" w="lg" len="med"/>
            <a:tailEnd type="none" w="lg" len="med"/>
          </a:ln>
          <a:effectLst/>
        </p:spPr>
      </p:cxnSp>
      <p:cxnSp>
        <p:nvCxnSpPr>
          <p:cNvPr id="276" name="Straight Connector 275">
            <a:extLst>
              <a:ext uri="{FF2B5EF4-FFF2-40B4-BE49-F238E27FC236}">
                <a16:creationId xmlns:a16="http://schemas.microsoft.com/office/drawing/2014/main" id="{562E0E69-98B2-19EC-9D80-7175549E8BDA}"/>
              </a:ext>
            </a:extLst>
          </p:cNvPr>
          <p:cNvCxnSpPr>
            <a:cxnSpLocks/>
            <a:endCxn id="287" idx="2"/>
          </p:cNvCxnSpPr>
          <p:nvPr/>
        </p:nvCxnSpPr>
        <p:spPr>
          <a:xfrm>
            <a:off x="3427536" y="4503053"/>
            <a:ext cx="20368" cy="119228"/>
          </a:xfrm>
          <a:prstGeom prst="line">
            <a:avLst/>
          </a:prstGeom>
          <a:noFill/>
          <a:ln w="9525" cap="rnd" cmpd="sng" algn="ctr">
            <a:solidFill>
              <a:srgbClr val="50E6FF"/>
            </a:solidFill>
            <a:prstDash val="sysDot"/>
            <a:headEnd type="none" w="lg" len="med"/>
            <a:tailEnd type="none" w="lg" len="med"/>
          </a:ln>
          <a:effectLst/>
        </p:spPr>
      </p:cxnSp>
      <p:cxnSp>
        <p:nvCxnSpPr>
          <p:cNvPr id="277" name="Straight Connector 276">
            <a:extLst>
              <a:ext uri="{FF2B5EF4-FFF2-40B4-BE49-F238E27FC236}">
                <a16:creationId xmlns:a16="http://schemas.microsoft.com/office/drawing/2014/main" id="{AC93592A-C9ED-E9FF-85E0-7377A0E9E0DE}"/>
              </a:ext>
            </a:extLst>
          </p:cNvPr>
          <p:cNvCxnSpPr>
            <a:cxnSpLocks/>
            <a:stCxn id="292" idx="1"/>
          </p:cNvCxnSpPr>
          <p:nvPr/>
        </p:nvCxnSpPr>
        <p:spPr>
          <a:xfrm flipH="1">
            <a:off x="3358031" y="4537477"/>
            <a:ext cx="152760" cy="1473"/>
          </a:xfrm>
          <a:prstGeom prst="line">
            <a:avLst/>
          </a:prstGeom>
          <a:noFill/>
          <a:ln w="9525" cap="rnd" cmpd="sng" algn="ctr">
            <a:solidFill>
              <a:srgbClr val="50E6FF"/>
            </a:solidFill>
            <a:prstDash val="sysDot"/>
            <a:headEnd type="none" w="lg" len="med"/>
            <a:tailEnd type="none" w="lg" len="med"/>
          </a:ln>
          <a:effectLst/>
        </p:spPr>
      </p:cxnSp>
      <p:cxnSp>
        <p:nvCxnSpPr>
          <p:cNvPr id="278" name="Straight Connector 277">
            <a:extLst>
              <a:ext uri="{FF2B5EF4-FFF2-40B4-BE49-F238E27FC236}">
                <a16:creationId xmlns:a16="http://schemas.microsoft.com/office/drawing/2014/main" id="{C3E20546-3323-DBF6-11D7-E32AD8FCA7CE}"/>
              </a:ext>
            </a:extLst>
          </p:cNvPr>
          <p:cNvCxnSpPr>
            <a:cxnSpLocks/>
            <a:stCxn id="287" idx="0"/>
            <a:endCxn id="293" idx="2"/>
          </p:cNvCxnSpPr>
          <p:nvPr/>
        </p:nvCxnSpPr>
        <p:spPr>
          <a:xfrm flipH="1" flipV="1">
            <a:off x="3341177" y="4556196"/>
            <a:ext cx="106727" cy="31594"/>
          </a:xfrm>
          <a:prstGeom prst="line">
            <a:avLst/>
          </a:prstGeom>
          <a:noFill/>
          <a:ln w="9525" cap="rnd" cmpd="sng" algn="ctr">
            <a:solidFill>
              <a:srgbClr val="50E6FF"/>
            </a:solidFill>
            <a:prstDash val="sysDot"/>
            <a:headEnd type="none" w="lg" len="med"/>
            <a:tailEnd type="none" w="lg" len="med"/>
          </a:ln>
          <a:effectLst/>
        </p:spPr>
      </p:cxnSp>
      <p:cxnSp>
        <p:nvCxnSpPr>
          <p:cNvPr id="279" name="Straight Connector 278">
            <a:extLst>
              <a:ext uri="{FF2B5EF4-FFF2-40B4-BE49-F238E27FC236}">
                <a16:creationId xmlns:a16="http://schemas.microsoft.com/office/drawing/2014/main" id="{429E3E61-C501-CDFF-87B9-3C227A82D1BF}"/>
              </a:ext>
            </a:extLst>
          </p:cNvPr>
          <p:cNvCxnSpPr>
            <a:cxnSpLocks/>
          </p:cNvCxnSpPr>
          <p:nvPr/>
        </p:nvCxnSpPr>
        <p:spPr>
          <a:xfrm flipV="1">
            <a:off x="3447903" y="4544193"/>
            <a:ext cx="56164" cy="21671"/>
          </a:xfrm>
          <a:prstGeom prst="line">
            <a:avLst/>
          </a:prstGeom>
          <a:noFill/>
          <a:ln w="9525" cap="rnd" cmpd="sng" algn="ctr">
            <a:solidFill>
              <a:srgbClr val="50E6FF"/>
            </a:solidFill>
            <a:prstDash val="sysDot"/>
            <a:headEnd type="none" w="lg" len="med"/>
            <a:tailEnd type="none" w="lg" len="med"/>
          </a:ln>
          <a:effectLst/>
        </p:spPr>
      </p:cxnSp>
      <p:cxnSp>
        <p:nvCxnSpPr>
          <p:cNvPr id="280" name="Straight Connector 279">
            <a:extLst>
              <a:ext uri="{FF2B5EF4-FFF2-40B4-BE49-F238E27FC236}">
                <a16:creationId xmlns:a16="http://schemas.microsoft.com/office/drawing/2014/main" id="{5D0F9E20-073E-DC3E-8499-90D4FD594BC8}"/>
              </a:ext>
            </a:extLst>
          </p:cNvPr>
          <p:cNvCxnSpPr>
            <a:cxnSpLocks/>
          </p:cNvCxnSpPr>
          <p:nvPr/>
        </p:nvCxnSpPr>
        <p:spPr>
          <a:xfrm flipH="1">
            <a:off x="3345398" y="4601499"/>
            <a:ext cx="61611" cy="39118"/>
          </a:xfrm>
          <a:prstGeom prst="line">
            <a:avLst/>
          </a:prstGeom>
          <a:noFill/>
          <a:ln w="9525" cap="rnd" cmpd="sng" algn="ctr">
            <a:solidFill>
              <a:srgbClr val="50E6FF"/>
            </a:solidFill>
            <a:prstDash val="sysDot"/>
            <a:headEnd type="none" w="lg" len="med"/>
            <a:tailEnd type="none" w="lg" len="med"/>
          </a:ln>
          <a:effectLst/>
        </p:spPr>
      </p:cxnSp>
      <p:cxnSp>
        <p:nvCxnSpPr>
          <p:cNvPr id="281" name="Straight Connector 280">
            <a:extLst>
              <a:ext uri="{FF2B5EF4-FFF2-40B4-BE49-F238E27FC236}">
                <a16:creationId xmlns:a16="http://schemas.microsoft.com/office/drawing/2014/main" id="{1C603850-498F-5640-9103-D0B71E4BF9A6}"/>
              </a:ext>
            </a:extLst>
          </p:cNvPr>
          <p:cNvCxnSpPr>
            <a:cxnSpLocks/>
          </p:cNvCxnSpPr>
          <p:nvPr/>
        </p:nvCxnSpPr>
        <p:spPr>
          <a:xfrm>
            <a:off x="3442456" y="4603813"/>
            <a:ext cx="61611" cy="39118"/>
          </a:xfrm>
          <a:prstGeom prst="line">
            <a:avLst/>
          </a:prstGeom>
          <a:noFill/>
          <a:ln w="9525" cap="rnd" cmpd="sng" algn="ctr">
            <a:solidFill>
              <a:srgbClr val="50E6FF"/>
            </a:solidFill>
            <a:prstDash val="sysDot"/>
            <a:headEnd type="none" w="lg" len="med"/>
            <a:tailEnd type="none" w="lg" len="med"/>
          </a:ln>
          <a:effectLst/>
        </p:spPr>
      </p:cxnSp>
      <p:cxnSp>
        <p:nvCxnSpPr>
          <p:cNvPr id="282" name="Straight Connector 281">
            <a:extLst>
              <a:ext uri="{FF2B5EF4-FFF2-40B4-BE49-F238E27FC236}">
                <a16:creationId xmlns:a16="http://schemas.microsoft.com/office/drawing/2014/main" id="{2FB50592-B41F-A158-9519-A3698707EC1E}"/>
              </a:ext>
            </a:extLst>
          </p:cNvPr>
          <p:cNvCxnSpPr>
            <a:cxnSpLocks/>
            <a:stCxn id="286" idx="1"/>
          </p:cNvCxnSpPr>
          <p:nvPr/>
        </p:nvCxnSpPr>
        <p:spPr>
          <a:xfrm flipH="1" flipV="1">
            <a:off x="3353095" y="4665742"/>
            <a:ext cx="61611" cy="16360"/>
          </a:xfrm>
          <a:prstGeom prst="line">
            <a:avLst/>
          </a:prstGeom>
          <a:noFill/>
          <a:ln w="9525" cap="rnd" cmpd="sng" algn="ctr">
            <a:solidFill>
              <a:srgbClr val="50E6FF"/>
            </a:solidFill>
            <a:prstDash val="sysDot"/>
            <a:headEnd type="none" w="lg" len="med"/>
            <a:tailEnd type="none" w="lg" len="med"/>
          </a:ln>
          <a:effectLst/>
        </p:spPr>
      </p:cxnSp>
      <p:cxnSp>
        <p:nvCxnSpPr>
          <p:cNvPr id="283" name="Straight Connector 282">
            <a:extLst>
              <a:ext uri="{FF2B5EF4-FFF2-40B4-BE49-F238E27FC236}">
                <a16:creationId xmlns:a16="http://schemas.microsoft.com/office/drawing/2014/main" id="{4EB0BD4E-9EA2-E626-624E-0F2E206DDEAD}"/>
              </a:ext>
            </a:extLst>
          </p:cNvPr>
          <p:cNvCxnSpPr>
            <a:cxnSpLocks/>
            <a:stCxn id="286" idx="3"/>
          </p:cNvCxnSpPr>
          <p:nvPr/>
        </p:nvCxnSpPr>
        <p:spPr>
          <a:xfrm flipV="1">
            <a:off x="3448417" y="4668057"/>
            <a:ext cx="63347" cy="14047"/>
          </a:xfrm>
          <a:prstGeom prst="line">
            <a:avLst/>
          </a:prstGeom>
          <a:noFill/>
          <a:ln w="9525" cap="rnd" cmpd="sng" algn="ctr">
            <a:solidFill>
              <a:srgbClr val="50E6FF"/>
            </a:solidFill>
            <a:prstDash val="sysDot"/>
            <a:headEnd type="none" w="lg" len="med"/>
            <a:tailEnd type="none" w="lg" len="med"/>
          </a:ln>
          <a:effectLst/>
        </p:spPr>
      </p:cxnSp>
      <p:grpSp>
        <p:nvGrpSpPr>
          <p:cNvPr id="284" name="Group 283">
            <a:extLst>
              <a:ext uri="{FF2B5EF4-FFF2-40B4-BE49-F238E27FC236}">
                <a16:creationId xmlns:a16="http://schemas.microsoft.com/office/drawing/2014/main" id="{91CECC85-EC7E-84EE-CEEB-B56DFD8DD2A4}"/>
              </a:ext>
            </a:extLst>
          </p:cNvPr>
          <p:cNvGrpSpPr/>
          <p:nvPr/>
        </p:nvGrpSpPr>
        <p:grpSpPr>
          <a:xfrm>
            <a:off x="3324320" y="4461381"/>
            <a:ext cx="220183" cy="332167"/>
            <a:chOff x="5636354" y="2960513"/>
            <a:chExt cx="274035" cy="404067"/>
          </a:xfrm>
        </p:grpSpPr>
        <p:sp>
          <p:nvSpPr>
            <p:cNvPr id="285" name="Rectangle 284">
              <a:extLst>
                <a:ext uri="{FF2B5EF4-FFF2-40B4-BE49-F238E27FC236}">
                  <a16:creationId xmlns:a16="http://schemas.microsoft.com/office/drawing/2014/main" id="{CE3F0A6B-C64F-E918-A64A-AFD41DB7F755}"/>
                </a:ext>
              </a:extLst>
            </p:cNvPr>
            <p:cNvSpPr/>
            <p:nvPr/>
          </p:nvSpPr>
          <p:spPr bwMode="auto">
            <a:xfrm>
              <a:off x="5757785" y="332262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6" name="Rectangle 285">
              <a:extLst>
                <a:ext uri="{FF2B5EF4-FFF2-40B4-BE49-F238E27FC236}">
                  <a16:creationId xmlns:a16="http://schemas.microsoft.com/office/drawing/2014/main" id="{6590B890-4DB8-6B7D-D4A7-F893D0C0721E}"/>
                </a:ext>
              </a:extLst>
            </p:cNvPr>
            <p:cNvSpPr/>
            <p:nvPr/>
          </p:nvSpPr>
          <p:spPr bwMode="auto">
            <a:xfrm>
              <a:off x="5748846" y="320803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7" name="Rectangle 286">
              <a:extLst>
                <a:ext uri="{FF2B5EF4-FFF2-40B4-BE49-F238E27FC236}">
                  <a16:creationId xmlns:a16="http://schemas.microsoft.com/office/drawing/2014/main" id="{42E3565B-E416-C687-FC5C-F015E12EBFD5}"/>
                </a:ext>
              </a:extLst>
            </p:cNvPr>
            <p:cNvSpPr/>
            <p:nvPr/>
          </p:nvSpPr>
          <p:spPr bwMode="auto">
            <a:xfrm>
              <a:off x="5769184" y="311428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8" name="Rectangle 287">
              <a:extLst>
                <a:ext uri="{FF2B5EF4-FFF2-40B4-BE49-F238E27FC236}">
                  <a16:creationId xmlns:a16="http://schemas.microsoft.com/office/drawing/2014/main" id="{905D4A78-CF17-054A-A809-664DD24E5140}"/>
                </a:ext>
              </a:extLst>
            </p:cNvPr>
            <p:cNvSpPr/>
            <p:nvPr/>
          </p:nvSpPr>
          <p:spPr bwMode="auto">
            <a:xfrm>
              <a:off x="5868432" y="3188537"/>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9" name="Rectangle 288">
              <a:extLst>
                <a:ext uri="{FF2B5EF4-FFF2-40B4-BE49-F238E27FC236}">
                  <a16:creationId xmlns:a16="http://schemas.microsoft.com/office/drawing/2014/main" id="{A3609178-DAA5-752D-FE5A-248F6AAFCE5C}"/>
                </a:ext>
              </a:extLst>
            </p:cNvPr>
            <p:cNvSpPr/>
            <p:nvPr/>
          </p:nvSpPr>
          <p:spPr bwMode="auto">
            <a:xfrm>
              <a:off x="5636354" y="318820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90" name="Group 289">
              <a:extLst>
                <a:ext uri="{FF2B5EF4-FFF2-40B4-BE49-F238E27FC236}">
                  <a16:creationId xmlns:a16="http://schemas.microsoft.com/office/drawing/2014/main" id="{392234D9-90BE-44E7-245F-D8300614B599}"/>
                </a:ext>
              </a:extLst>
            </p:cNvPr>
            <p:cNvGrpSpPr/>
            <p:nvPr/>
          </p:nvGrpSpPr>
          <p:grpSpPr>
            <a:xfrm>
              <a:off x="5636354" y="2960513"/>
              <a:ext cx="274035" cy="115338"/>
              <a:chOff x="5636354" y="2960513"/>
              <a:chExt cx="274035" cy="115338"/>
            </a:xfrm>
          </p:grpSpPr>
          <p:sp>
            <p:nvSpPr>
              <p:cNvPr id="291" name="Rectangle 290">
                <a:extLst>
                  <a:ext uri="{FF2B5EF4-FFF2-40B4-BE49-F238E27FC236}">
                    <a16:creationId xmlns:a16="http://schemas.microsoft.com/office/drawing/2014/main" id="{DC7B7203-42EF-1B7F-5BCD-842C864F7A7E}"/>
                  </a:ext>
                </a:extLst>
              </p:cNvPr>
              <p:cNvSpPr/>
              <p:nvPr/>
            </p:nvSpPr>
            <p:spPr bwMode="auto">
              <a:xfrm>
                <a:off x="5748846" y="2960513"/>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2" name="Rectangle 291">
                <a:extLst>
                  <a:ext uri="{FF2B5EF4-FFF2-40B4-BE49-F238E27FC236}">
                    <a16:creationId xmlns:a16="http://schemas.microsoft.com/office/drawing/2014/main" id="{1B13CAE8-0044-B65D-6C20-0C06030688C4}"/>
                  </a:ext>
                </a:extLst>
              </p:cNvPr>
              <p:cNvSpPr/>
              <p:nvPr/>
            </p:nvSpPr>
            <p:spPr bwMode="auto">
              <a:xfrm>
                <a:off x="5868432" y="3032102"/>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3" name="Rectangle 292">
                <a:extLst>
                  <a:ext uri="{FF2B5EF4-FFF2-40B4-BE49-F238E27FC236}">
                    <a16:creationId xmlns:a16="http://schemas.microsoft.com/office/drawing/2014/main" id="{38344BCD-B17F-69DA-CE54-86B6E740C16A}"/>
                  </a:ext>
                </a:extLst>
              </p:cNvPr>
              <p:cNvSpPr/>
              <p:nvPr/>
            </p:nvSpPr>
            <p:spPr bwMode="auto">
              <a:xfrm>
                <a:off x="5636354" y="3033894"/>
                <a:ext cx="41957" cy="41957"/>
              </a:xfrm>
              <a:prstGeom prst="rect">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48133" tIns="118507" rIns="148133" bIns="118507" numCol="1" spcCol="0" rtlCol="0" fromWordArt="0" anchor="t" anchorCtr="0" forceAA="0" compatLnSpc="1">
                <a:prstTxWarp prst="textNoShape">
                  <a:avLst/>
                </a:prstTxWarp>
                <a:noAutofit/>
              </a:bodyPr>
              <a:lstStyle/>
              <a:p>
                <a:pPr marL="0" marR="0" lvl="0" indent="0" algn="ctr" defTabSz="755303" rtl="0" eaLnBrk="1" fontAlgn="base" latinLnBrk="0" hangingPunct="1">
                  <a:lnSpc>
                    <a:spcPct val="100000"/>
                  </a:lnSpc>
                  <a:spcBef>
                    <a:spcPct val="0"/>
                  </a:spcBef>
                  <a:spcAft>
                    <a:spcPct val="0"/>
                  </a:spcAft>
                  <a:buClrTx/>
                  <a:buSzTx/>
                  <a:buFontTx/>
                  <a:buNone/>
                  <a:tabLst/>
                  <a:defRPr/>
                </a:pPr>
                <a:endParaRPr kumimoji="0" lang="en-US" sz="162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298" name="TextBox 297">
            <a:extLst>
              <a:ext uri="{FF2B5EF4-FFF2-40B4-BE49-F238E27FC236}">
                <a16:creationId xmlns:a16="http://schemas.microsoft.com/office/drawing/2014/main" id="{ABC3A64E-A366-11BB-BE58-A0B1610CB8F8}"/>
              </a:ext>
            </a:extLst>
          </p:cNvPr>
          <p:cNvSpPr txBox="1"/>
          <p:nvPr/>
        </p:nvSpPr>
        <p:spPr>
          <a:xfrm>
            <a:off x="3240669" y="4995907"/>
            <a:ext cx="41197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sion</a:t>
            </a:r>
          </a:p>
        </p:txBody>
      </p:sp>
      <p:sp>
        <p:nvSpPr>
          <p:cNvPr id="264" name="Rectangle: Rounded Corners 263">
            <a:extLst>
              <a:ext uri="{FF2B5EF4-FFF2-40B4-BE49-F238E27FC236}">
                <a16:creationId xmlns:a16="http://schemas.microsoft.com/office/drawing/2014/main" id="{A3FA5D40-ACB5-99E4-1413-1C6EB555AE30}"/>
              </a:ext>
            </a:extLst>
          </p:cNvPr>
          <p:cNvSpPr/>
          <p:nvPr/>
        </p:nvSpPr>
        <p:spPr bwMode="auto">
          <a:xfrm>
            <a:off x="4868713" y="4510707"/>
            <a:ext cx="14614" cy="18561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5" name="Rectangle: Rounded Corners 264">
            <a:extLst>
              <a:ext uri="{FF2B5EF4-FFF2-40B4-BE49-F238E27FC236}">
                <a16:creationId xmlns:a16="http://schemas.microsoft.com/office/drawing/2014/main" id="{E8641DCF-FB63-9A55-0CCE-693070A08878}"/>
              </a:ext>
            </a:extLst>
          </p:cNvPr>
          <p:cNvSpPr/>
          <p:nvPr/>
        </p:nvSpPr>
        <p:spPr bwMode="auto">
          <a:xfrm>
            <a:off x="4911648" y="4451151"/>
            <a:ext cx="14614" cy="305713"/>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6" name="Rectangle: Rounded Corners 265">
            <a:extLst>
              <a:ext uri="{FF2B5EF4-FFF2-40B4-BE49-F238E27FC236}">
                <a16:creationId xmlns:a16="http://schemas.microsoft.com/office/drawing/2014/main" id="{944F23FC-7E49-DD14-1FD0-185BC014A0C1}"/>
              </a:ext>
            </a:extLst>
          </p:cNvPr>
          <p:cNvSpPr/>
          <p:nvPr/>
        </p:nvSpPr>
        <p:spPr bwMode="auto">
          <a:xfrm>
            <a:off x="4955115" y="4510707"/>
            <a:ext cx="14614" cy="185611"/>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7" name="Rectangle: Rounded Corners 266">
            <a:extLst>
              <a:ext uri="{FF2B5EF4-FFF2-40B4-BE49-F238E27FC236}">
                <a16:creationId xmlns:a16="http://schemas.microsoft.com/office/drawing/2014/main" id="{6BECDE41-4F95-274C-BBAC-1C7AF9FB1034}"/>
              </a:ext>
            </a:extLst>
          </p:cNvPr>
          <p:cNvSpPr/>
          <p:nvPr/>
        </p:nvSpPr>
        <p:spPr bwMode="auto">
          <a:xfrm>
            <a:off x="4735694" y="4590320"/>
            <a:ext cx="15286" cy="32755"/>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8" name="Rectangle: Rounded Corners 267">
            <a:extLst>
              <a:ext uri="{FF2B5EF4-FFF2-40B4-BE49-F238E27FC236}">
                <a16:creationId xmlns:a16="http://schemas.microsoft.com/office/drawing/2014/main" id="{57B1F556-27EB-E69E-68D1-F6B71A3F697B}"/>
              </a:ext>
            </a:extLst>
          </p:cNvPr>
          <p:cNvSpPr/>
          <p:nvPr/>
        </p:nvSpPr>
        <p:spPr bwMode="auto">
          <a:xfrm>
            <a:off x="4779818" y="4579401"/>
            <a:ext cx="14614" cy="54591"/>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9" name="Rectangle: Rounded Corners 268">
            <a:extLst>
              <a:ext uri="{FF2B5EF4-FFF2-40B4-BE49-F238E27FC236}">
                <a16:creationId xmlns:a16="http://schemas.microsoft.com/office/drawing/2014/main" id="{42DB687A-2D47-C059-B1DD-D3A996050EF1}"/>
              </a:ext>
            </a:extLst>
          </p:cNvPr>
          <p:cNvSpPr/>
          <p:nvPr/>
        </p:nvSpPr>
        <p:spPr bwMode="auto">
          <a:xfrm>
            <a:off x="4823270" y="4557565"/>
            <a:ext cx="14614" cy="98265"/>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0" name="Rectangle: Rounded Corners 269">
            <a:extLst>
              <a:ext uri="{FF2B5EF4-FFF2-40B4-BE49-F238E27FC236}">
                <a16:creationId xmlns:a16="http://schemas.microsoft.com/office/drawing/2014/main" id="{FAB4A64A-FB0A-F41F-964A-AF9DF8F0784A}"/>
              </a:ext>
            </a:extLst>
          </p:cNvPr>
          <p:cNvSpPr/>
          <p:nvPr/>
        </p:nvSpPr>
        <p:spPr bwMode="auto">
          <a:xfrm>
            <a:off x="5000983" y="4557565"/>
            <a:ext cx="14614" cy="98265"/>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1" name="Rectangle: Rounded Corners 270">
            <a:extLst>
              <a:ext uri="{FF2B5EF4-FFF2-40B4-BE49-F238E27FC236}">
                <a16:creationId xmlns:a16="http://schemas.microsoft.com/office/drawing/2014/main" id="{2AB55D2E-647E-9CB7-A44E-7BF0D46ABD25}"/>
              </a:ext>
            </a:extLst>
          </p:cNvPr>
          <p:cNvSpPr/>
          <p:nvPr/>
        </p:nvSpPr>
        <p:spPr bwMode="auto">
          <a:xfrm>
            <a:off x="5039543" y="4579401"/>
            <a:ext cx="14614" cy="54591"/>
          </a:xfrm>
          <a:prstGeom prst="roundRect">
            <a:avLst>
              <a:gd name="adj" fmla="val 50000"/>
            </a:avLst>
          </a:prstGeom>
          <a:solidFill>
            <a:srgbClr val="0278D5"/>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2" name="Rectangle: Rounded Corners 271">
            <a:extLst>
              <a:ext uri="{FF2B5EF4-FFF2-40B4-BE49-F238E27FC236}">
                <a16:creationId xmlns:a16="http://schemas.microsoft.com/office/drawing/2014/main" id="{EEB340AF-8EB7-534F-A4EB-2E40D15900DA}"/>
              </a:ext>
            </a:extLst>
          </p:cNvPr>
          <p:cNvSpPr/>
          <p:nvPr/>
        </p:nvSpPr>
        <p:spPr bwMode="auto">
          <a:xfrm>
            <a:off x="5086169" y="4590320"/>
            <a:ext cx="15286" cy="32755"/>
          </a:xfrm>
          <a:prstGeom prst="roundRect">
            <a:avLst>
              <a:gd name="adj" fmla="val 50000"/>
            </a:avLst>
          </a:prstGeom>
          <a:solidFill>
            <a:srgbClr val="0680E1"/>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9" name="TextBox 298">
            <a:extLst>
              <a:ext uri="{FF2B5EF4-FFF2-40B4-BE49-F238E27FC236}">
                <a16:creationId xmlns:a16="http://schemas.microsoft.com/office/drawing/2014/main" id="{0464FDD7-E99F-CE73-93B2-0ACEF52C1515}"/>
              </a:ext>
            </a:extLst>
          </p:cNvPr>
          <p:cNvSpPr txBox="1"/>
          <p:nvPr/>
        </p:nvSpPr>
        <p:spPr>
          <a:xfrm>
            <a:off x="4674497" y="5002003"/>
            <a:ext cx="48891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Speech</a:t>
            </a:r>
          </a:p>
        </p:txBody>
      </p:sp>
      <p:sp>
        <p:nvSpPr>
          <p:cNvPr id="248" name="Freeform: Shape 247">
            <a:extLst>
              <a:ext uri="{FF2B5EF4-FFF2-40B4-BE49-F238E27FC236}">
                <a16:creationId xmlns:a16="http://schemas.microsoft.com/office/drawing/2014/main" id="{97B56C61-2081-9076-E601-21C7D9957177}"/>
              </a:ext>
            </a:extLst>
          </p:cNvPr>
          <p:cNvSpPr/>
          <p:nvPr/>
        </p:nvSpPr>
        <p:spPr bwMode="auto">
          <a:xfrm>
            <a:off x="6342483" y="4471719"/>
            <a:ext cx="156981" cy="140743"/>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9" name="Freeform: Shape 248">
            <a:extLst>
              <a:ext uri="{FF2B5EF4-FFF2-40B4-BE49-F238E27FC236}">
                <a16:creationId xmlns:a16="http://schemas.microsoft.com/office/drawing/2014/main" id="{E2A21632-7447-70FC-5275-0EF543DAB22D}"/>
              </a:ext>
            </a:extLst>
          </p:cNvPr>
          <p:cNvSpPr/>
          <p:nvPr/>
        </p:nvSpPr>
        <p:spPr bwMode="auto">
          <a:xfrm>
            <a:off x="6551261" y="4670941"/>
            <a:ext cx="156981" cy="140743"/>
          </a:xfrm>
          <a:custGeom>
            <a:avLst/>
            <a:gdLst>
              <a:gd name="connsiteX0" fmla="*/ 0 w 637408"/>
              <a:gd name="connsiteY0" fmla="*/ 421480 h 526514"/>
              <a:gd name="connsiteX1" fmla="*/ 637408 w 637408"/>
              <a:gd name="connsiteY1" fmla="*/ 421480 h 526514"/>
              <a:gd name="connsiteX2" fmla="*/ 637408 w 637408"/>
              <a:gd name="connsiteY2" fmla="*/ 526514 h 526514"/>
              <a:gd name="connsiteX3" fmla="*/ 0 w 637408"/>
              <a:gd name="connsiteY3" fmla="*/ 526514 h 526514"/>
              <a:gd name="connsiteX4" fmla="*/ 0 w 637408"/>
              <a:gd name="connsiteY4" fmla="*/ 210740 h 526514"/>
              <a:gd name="connsiteX5" fmla="*/ 317130 w 637408"/>
              <a:gd name="connsiteY5" fmla="*/ 210740 h 526514"/>
              <a:gd name="connsiteX6" fmla="*/ 317130 w 637408"/>
              <a:gd name="connsiteY6" fmla="*/ 315774 h 526514"/>
              <a:gd name="connsiteX7" fmla="*/ 0 w 637408"/>
              <a:gd name="connsiteY7" fmla="*/ 315774 h 526514"/>
              <a:gd name="connsiteX8" fmla="*/ 0 w 637408"/>
              <a:gd name="connsiteY8" fmla="*/ 0 h 526514"/>
              <a:gd name="connsiteX9" fmla="*/ 637408 w 637408"/>
              <a:gd name="connsiteY9" fmla="*/ 0 h 526514"/>
              <a:gd name="connsiteX10" fmla="*/ 637408 w 637408"/>
              <a:gd name="connsiteY10" fmla="*/ 105034 h 526514"/>
              <a:gd name="connsiteX11" fmla="*/ 0 w 637408"/>
              <a:gd name="connsiteY11" fmla="*/ 105034 h 52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7408" h="526514">
                <a:moveTo>
                  <a:pt x="0" y="421480"/>
                </a:moveTo>
                <a:lnTo>
                  <a:pt x="637408" y="421480"/>
                </a:lnTo>
                <a:lnTo>
                  <a:pt x="637408" y="526514"/>
                </a:lnTo>
                <a:lnTo>
                  <a:pt x="0" y="526514"/>
                </a:lnTo>
                <a:close/>
                <a:moveTo>
                  <a:pt x="0" y="210740"/>
                </a:moveTo>
                <a:lnTo>
                  <a:pt x="317130" y="210740"/>
                </a:lnTo>
                <a:lnTo>
                  <a:pt x="317130" y="315774"/>
                </a:lnTo>
                <a:lnTo>
                  <a:pt x="0" y="315774"/>
                </a:lnTo>
                <a:close/>
                <a:moveTo>
                  <a:pt x="0" y="0"/>
                </a:moveTo>
                <a:lnTo>
                  <a:pt x="637408" y="0"/>
                </a:lnTo>
                <a:lnTo>
                  <a:pt x="637408" y="105034"/>
                </a:lnTo>
                <a:lnTo>
                  <a:pt x="0" y="105034"/>
                </a:lnTo>
                <a:close/>
              </a:path>
            </a:pathLst>
          </a:custGeom>
          <a:solidFill>
            <a:schemeClr val="accent2"/>
          </a:solidFill>
          <a:ln w="12700"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0" name="Freeform: Shape 249">
            <a:extLst>
              <a:ext uri="{FF2B5EF4-FFF2-40B4-BE49-F238E27FC236}">
                <a16:creationId xmlns:a16="http://schemas.microsoft.com/office/drawing/2014/main" id="{279A64B5-7EC5-6196-339E-B58BAB088C03}"/>
              </a:ext>
            </a:extLst>
          </p:cNvPr>
          <p:cNvSpPr/>
          <p:nvPr/>
        </p:nvSpPr>
        <p:spPr bwMode="auto">
          <a:xfrm rot="18188466">
            <a:off x="6354662" y="4517103"/>
            <a:ext cx="335106" cy="207011"/>
          </a:xfrm>
          <a:custGeom>
            <a:avLst/>
            <a:gdLst>
              <a:gd name="connsiteX0" fmla="*/ 72342 w 509381"/>
              <a:gd name="connsiteY0" fmla="*/ 25018 h 341542"/>
              <a:gd name="connsiteX1" fmla="*/ 67298 w 509381"/>
              <a:gd name="connsiteY1" fmla="*/ 32041 h 341542"/>
              <a:gd name="connsiteX2" fmla="*/ 43259 w 509381"/>
              <a:gd name="connsiteY2" fmla="*/ 173878 h 341542"/>
              <a:gd name="connsiteX3" fmla="*/ 50859 w 509381"/>
              <a:gd name="connsiteY3" fmla="*/ 196938 h 341542"/>
              <a:gd name="connsiteX4" fmla="*/ 79332 w 509381"/>
              <a:gd name="connsiteY4" fmla="*/ 186206 h 341542"/>
              <a:gd name="connsiteX5" fmla="*/ 60605 w 509381"/>
              <a:gd name="connsiteY5" fmla="*/ 275386 h 341542"/>
              <a:gd name="connsiteX6" fmla="*/ 0 w 509381"/>
              <a:gd name="connsiteY6" fmla="*/ 216104 h 341542"/>
              <a:gd name="connsiteX7" fmla="*/ 24323 w 509381"/>
              <a:gd name="connsiteY7" fmla="*/ 206937 h 341542"/>
              <a:gd name="connsiteX8" fmla="*/ 15225 w 509381"/>
              <a:gd name="connsiteY8" fmla="*/ 179331 h 341542"/>
              <a:gd name="connsiteX9" fmla="*/ 42625 w 509381"/>
              <a:gd name="connsiteY9" fmla="*/ 17665 h 341542"/>
              <a:gd name="connsiteX10" fmla="*/ 55313 w 509381"/>
              <a:gd name="connsiteY10" fmla="*/ 0 h 341542"/>
              <a:gd name="connsiteX11" fmla="*/ 463819 w 509381"/>
              <a:gd name="connsiteY11" fmla="*/ 71088 h 341542"/>
              <a:gd name="connsiteX12" fmla="*/ 509381 w 509381"/>
              <a:gd name="connsiteY12" fmla="*/ 142583 h 341542"/>
              <a:gd name="connsiteX13" fmla="*/ 474254 w 509381"/>
              <a:gd name="connsiteY13" fmla="*/ 142583 h 341542"/>
              <a:gd name="connsiteX14" fmla="*/ 471059 w 509381"/>
              <a:gd name="connsiteY14" fmla="*/ 185182 h 341542"/>
              <a:gd name="connsiteX15" fmla="*/ 350884 w 509381"/>
              <a:gd name="connsiteY15" fmla="*/ 341542 h 341542"/>
              <a:gd name="connsiteX16" fmla="*/ 337746 w 509381"/>
              <a:gd name="connsiteY16" fmla="*/ 316191 h 341542"/>
              <a:gd name="connsiteX17" fmla="*/ 446495 w 509381"/>
              <a:gd name="connsiteY17" fmla="*/ 159805 h 341542"/>
              <a:gd name="connsiteX18" fmla="*/ 446962 w 509381"/>
              <a:gd name="connsiteY18" fmla="*/ 142583 h 341542"/>
              <a:gd name="connsiteX19" fmla="*/ 418256 w 509381"/>
              <a:gd name="connsiteY19" fmla="*/ 142583 h 34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09381" h="341542">
                <a:moveTo>
                  <a:pt x="72342" y="25018"/>
                </a:moveTo>
                <a:lnTo>
                  <a:pt x="67298" y="32041"/>
                </a:lnTo>
                <a:cubicBezTo>
                  <a:pt x="42761" y="74239"/>
                  <a:pt x="33649" y="124657"/>
                  <a:pt x="43259" y="173878"/>
                </a:cubicBezTo>
                <a:lnTo>
                  <a:pt x="50859" y="196938"/>
                </a:lnTo>
                <a:lnTo>
                  <a:pt x="79332" y="186206"/>
                </a:lnTo>
                <a:lnTo>
                  <a:pt x="60605" y="275386"/>
                </a:lnTo>
                <a:lnTo>
                  <a:pt x="0" y="216104"/>
                </a:lnTo>
                <a:lnTo>
                  <a:pt x="24323" y="206937"/>
                </a:lnTo>
                <a:lnTo>
                  <a:pt x="15225" y="179331"/>
                </a:lnTo>
                <a:cubicBezTo>
                  <a:pt x="4271" y="123230"/>
                  <a:pt x="14657" y="65762"/>
                  <a:pt x="42625" y="17665"/>
                </a:cubicBezTo>
                <a:lnTo>
                  <a:pt x="55313" y="0"/>
                </a:lnTo>
                <a:close/>
                <a:moveTo>
                  <a:pt x="463819" y="71088"/>
                </a:moveTo>
                <a:lnTo>
                  <a:pt x="509381" y="142583"/>
                </a:lnTo>
                <a:lnTo>
                  <a:pt x="474254" y="142583"/>
                </a:lnTo>
                <a:lnTo>
                  <a:pt x="471059" y="185182"/>
                </a:lnTo>
                <a:cubicBezTo>
                  <a:pt x="456630" y="250192"/>
                  <a:pt x="414554" y="308545"/>
                  <a:pt x="350884" y="341542"/>
                </a:cubicBezTo>
                <a:lnTo>
                  <a:pt x="337746" y="316191"/>
                </a:lnTo>
                <a:cubicBezTo>
                  <a:pt x="399814" y="284026"/>
                  <a:pt x="438492" y="224396"/>
                  <a:pt x="446495" y="159805"/>
                </a:cubicBezTo>
                <a:lnTo>
                  <a:pt x="446962" y="142583"/>
                </a:lnTo>
                <a:lnTo>
                  <a:pt x="418256" y="142583"/>
                </a:lnTo>
                <a:close/>
              </a:path>
            </a:pathLst>
          </a:cu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0" name="TextBox 299">
            <a:extLst>
              <a:ext uri="{FF2B5EF4-FFF2-40B4-BE49-F238E27FC236}">
                <a16:creationId xmlns:a16="http://schemas.microsoft.com/office/drawing/2014/main" id="{5071B232-E2DC-DBC6-2810-C0F6AB2AC6E5}"/>
              </a:ext>
            </a:extLst>
          </p:cNvPr>
          <p:cNvSpPr txBox="1"/>
          <p:nvPr/>
        </p:nvSpPr>
        <p:spPr>
          <a:xfrm>
            <a:off x="6195623" y="5002003"/>
            <a:ext cx="6652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Language</a:t>
            </a:r>
          </a:p>
        </p:txBody>
      </p:sp>
      <p:sp>
        <p:nvSpPr>
          <p:cNvPr id="252" name="Rectangle: Rounded Corners 251">
            <a:extLst>
              <a:ext uri="{FF2B5EF4-FFF2-40B4-BE49-F238E27FC236}">
                <a16:creationId xmlns:a16="http://schemas.microsoft.com/office/drawing/2014/main" id="{E403FA4E-1ECE-4B8F-6D7B-86E159A50912}"/>
              </a:ext>
            </a:extLst>
          </p:cNvPr>
          <p:cNvSpPr/>
          <p:nvPr/>
        </p:nvSpPr>
        <p:spPr bwMode="auto">
          <a:xfrm rot="2700000">
            <a:off x="8230095" y="4575020"/>
            <a:ext cx="12487" cy="71235"/>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3" name="Rectangle: Rounded Corners 252">
            <a:extLst>
              <a:ext uri="{FF2B5EF4-FFF2-40B4-BE49-F238E27FC236}">
                <a16:creationId xmlns:a16="http://schemas.microsoft.com/office/drawing/2014/main" id="{BCE269B6-BBEC-76F4-EE1E-E352DFA25A00}"/>
              </a:ext>
            </a:extLst>
          </p:cNvPr>
          <p:cNvSpPr/>
          <p:nvPr/>
        </p:nvSpPr>
        <p:spPr bwMode="auto">
          <a:xfrm rot="8100000">
            <a:off x="8230441" y="4572935"/>
            <a:ext cx="11796" cy="75406"/>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4" name="Circle: Hollow 253">
            <a:extLst>
              <a:ext uri="{FF2B5EF4-FFF2-40B4-BE49-F238E27FC236}">
                <a16:creationId xmlns:a16="http://schemas.microsoft.com/office/drawing/2014/main" id="{25649361-808D-5834-CEFC-397387469795}"/>
              </a:ext>
            </a:extLst>
          </p:cNvPr>
          <p:cNvSpPr/>
          <p:nvPr/>
        </p:nvSpPr>
        <p:spPr bwMode="auto">
          <a:xfrm>
            <a:off x="8151139" y="4528615"/>
            <a:ext cx="163893" cy="173488"/>
          </a:xfrm>
          <a:prstGeom prst="donut">
            <a:avLst>
              <a:gd name="adj" fmla="val 7741"/>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5" name="Rectangle: Rounded Corners 254">
            <a:extLst>
              <a:ext uri="{FF2B5EF4-FFF2-40B4-BE49-F238E27FC236}">
                <a16:creationId xmlns:a16="http://schemas.microsoft.com/office/drawing/2014/main" id="{96BD27FA-2142-E061-311E-7BA9B6148909}"/>
              </a:ext>
            </a:extLst>
          </p:cNvPr>
          <p:cNvSpPr/>
          <p:nvPr/>
        </p:nvSpPr>
        <p:spPr bwMode="auto">
          <a:xfrm flipH="1">
            <a:off x="8228135" y="4695805"/>
            <a:ext cx="17695" cy="62434"/>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6" name="Rectangle: Rounded Corners 255">
            <a:extLst>
              <a:ext uri="{FF2B5EF4-FFF2-40B4-BE49-F238E27FC236}">
                <a16:creationId xmlns:a16="http://schemas.microsoft.com/office/drawing/2014/main" id="{1F1733E9-7ACA-05C6-FCDD-1F364C111EA7}"/>
              </a:ext>
            </a:extLst>
          </p:cNvPr>
          <p:cNvSpPr/>
          <p:nvPr/>
        </p:nvSpPr>
        <p:spPr bwMode="auto">
          <a:xfrm rot="5400000">
            <a:off x="8229177" y="4714167"/>
            <a:ext cx="15609" cy="82573"/>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7" name="Rectangle: Rounded Corners 256">
            <a:extLst>
              <a:ext uri="{FF2B5EF4-FFF2-40B4-BE49-F238E27FC236}">
                <a16:creationId xmlns:a16="http://schemas.microsoft.com/office/drawing/2014/main" id="{054C7D8F-314A-4029-273D-0FDAA7FB0CD0}"/>
              </a:ext>
            </a:extLst>
          </p:cNvPr>
          <p:cNvSpPr/>
          <p:nvPr/>
        </p:nvSpPr>
        <p:spPr bwMode="auto">
          <a:xfrm rot="16200000" flipH="1">
            <a:off x="8229177" y="4747283"/>
            <a:ext cx="15609" cy="82573"/>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8" name="Freeform: Shape 257">
            <a:extLst>
              <a:ext uri="{FF2B5EF4-FFF2-40B4-BE49-F238E27FC236}">
                <a16:creationId xmlns:a16="http://schemas.microsoft.com/office/drawing/2014/main" id="{2E718F5C-1A05-471D-346A-B14FA63EA692}"/>
              </a:ext>
            </a:extLst>
          </p:cNvPr>
          <p:cNvSpPr/>
          <p:nvPr/>
        </p:nvSpPr>
        <p:spPr bwMode="auto">
          <a:xfrm>
            <a:off x="8024735" y="4440059"/>
            <a:ext cx="221094" cy="93751"/>
          </a:xfrm>
          <a:custGeom>
            <a:avLst/>
            <a:gdLst>
              <a:gd name="connsiteX0" fmla="*/ 233493 w 1713841"/>
              <a:gd name="connsiteY0" fmla="*/ 0 h 686542"/>
              <a:gd name="connsiteX1" fmla="*/ 1480348 w 1713841"/>
              <a:gd name="connsiteY1" fmla="*/ 0 h 686542"/>
              <a:gd name="connsiteX2" fmla="*/ 1713841 w 1713841"/>
              <a:gd name="connsiteY2" fmla="*/ 233493 h 686542"/>
              <a:gd name="connsiteX3" fmla="*/ 1713841 w 1713841"/>
              <a:gd name="connsiteY3" fmla="*/ 686542 h 686542"/>
              <a:gd name="connsiteX4" fmla="*/ 1608076 w 1713841"/>
              <a:gd name="connsiteY4" fmla="*/ 686542 h 686542"/>
              <a:gd name="connsiteX5" fmla="*/ 1608076 w 1713841"/>
              <a:gd name="connsiteY5" fmla="*/ 218163 h 686542"/>
              <a:gd name="connsiteX6" fmla="*/ 1497408 w 1713841"/>
              <a:gd name="connsiteY6" fmla="*/ 107495 h 686542"/>
              <a:gd name="connsiteX7" fmla="*/ 216432 w 1713841"/>
              <a:gd name="connsiteY7" fmla="*/ 107495 h 686542"/>
              <a:gd name="connsiteX8" fmla="*/ 105764 w 1713841"/>
              <a:gd name="connsiteY8" fmla="*/ 218163 h 686542"/>
              <a:gd name="connsiteX9" fmla="*/ 105764 w 1713841"/>
              <a:gd name="connsiteY9" fmla="*/ 686542 h 686542"/>
              <a:gd name="connsiteX10" fmla="*/ 0 w 1713841"/>
              <a:gd name="connsiteY10" fmla="*/ 686542 h 686542"/>
              <a:gd name="connsiteX11" fmla="*/ 0 w 1713841"/>
              <a:gd name="connsiteY11" fmla="*/ 233493 h 686542"/>
              <a:gd name="connsiteX12" fmla="*/ 233493 w 1713841"/>
              <a:gd name="connsiteY12" fmla="*/ 0 h 686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3841" h="686542">
                <a:moveTo>
                  <a:pt x="233493" y="0"/>
                </a:moveTo>
                <a:lnTo>
                  <a:pt x="1480348" y="0"/>
                </a:lnTo>
                <a:cubicBezTo>
                  <a:pt x="1609303" y="0"/>
                  <a:pt x="1713841" y="104538"/>
                  <a:pt x="1713841" y="233493"/>
                </a:cubicBezTo>
                <a:lnTo>
                  <a:pt x="1713841" y="686542"/>
                </a:lnTo>
                <a:lnTo>
                  <a:pt x="1608076" y="686542"/>
                </a:lnTo>
                <a:lnTo>
                  <a:pt x="1608076" y="218163"/>
                </a:lnTo>
                <a:cubicBezTo>
                  <a:pt x="1608076" y="157043"/>
                  <a:pt x="1558528" y="107495"/>
                  <a:pt x="1497408" y="107495"/>
                </a:cubicBezTo>
                <a:lnTo>
                  <a:pt x="216432" y="107495"/>
                </a:lnTo>
                <a:cubicBezTo>
                  <a:pt x="155312" y="107495"/>
                  <a:pt x="105764" y="157043"/>
                  <a:pt x="105764" y="218163"/>
                </a:cubicBezTo>
                <a:lnTo>
                  <a:pt x="105764" y="686542"/>
                </a:lnTo>
                <a:lnTo>
                  <a:pt x="0" y="686542"/>
                </a:lnTo>
                <a:lnTo>
                  <a:pt x="0" y="233493"/>
                </a:lnTo>
                <a:cubicBezTo>
                  <a:pt x="0" y="104538"/>
                  <a:pt x="104538" y="0"/>
                  <a:pt x="23349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9" name="Freeform: Shape 258">
            <a:extLst>
              <a:ext uri="{FF2B5EF4-FFF2-40B4-BE49-F238E27FC236}">
                <a16:creationId xmlns:a16="http://schemas.microsoft.com/office/drawing/2014/main" id="{ADAA2121-E2D6-37EA-2507-89EC2FF46386}"/>
              </a:ext>
            </a:extLst>
          </p:cNvPr>
          <p:cNvSpPr/>
          <p:nvPr/>
        </p:nvSpPr>
        <p:spPr bwMode="auto">
          <a:xfrm>
            <a:off x="7949270" y="4528615"/>
            <a:ext cx="163893" cy="173488"/>
          </a:xfrm>
          <a:custGeom>
            <a:avLst/>
            <a:gdLst>
              <a:gd name="connsiteX0" fmla="*/ 839492 w 1270446"/>
              <a:gd name="connsiteY0" fmla="*/ 439038 h 1270446"/>
              <a:gd name="connsiteX1" fmla="*/ 770221 w 1270446"/>
              <a:gd name="connsiteY1" fmla="*/ 469850 h 1270446"/>
              <a:gd name="connsiteX2" fmla="*/ 581902 w 1270446"/>
              <a:gd name="connsiteY2" fmla="*/ 765659 h 1270446"/>
              <a:gd name="connsiteX3" fmla="*/ 490533 w 1270446"/>
              <a:gd name="connsiteY3" fmla="*/ 697532 h 1270446"/>
              <a:gd name="connsiteX4" fmla="*/ 394560 w 1270446"/>
              <a:gd name="connsiteY4" fmla="*/ 711519 h 1270446"/>
              <a:gd name="connsiteX5" fmla="*/ 408545 w 1270446"/>
              <a:gd name="connsiteY5" fmla="*/ 807493 h 1270446"/>
              <a:gd name="connsiteX6" fmla="*/ 553639 w 1270446"/>
              <a:gd name="connsiteY6" fmla="*/ 915676 h 1270446"/>
              <a:gd name="connsiteX7" fmla="*/ 604523 w 1270446"/>
              <a:gd name="connsiteY7" fmla="*/ 928560 h 1270446"/>
              <a:gd name="connsiteX8" fmla="*/ 618152 w 1270446"/>
              <a:gd name="connsiteY8" fmla="*/ 923785 h 1270446"/>
              <a:gd name="connsiteX9" fmla="*/ 620052 w 1270446"/>
              <a:gd name="connsiteY9" fmla="*/ 923736 h 1270446"/>
              <a:gd name="connsiteX10" fmla="*/ 627278 w 1270446"/>
              <a:gd name="connsiteY10" fmla="*/ 920589 h 1270446"/>
              <a:gd name="connsiteX11" fmla="*/ 629336 w 1270446"/>
              <a:gd name="connsiteY11" fmla="*/ 919869 h 1270446"/>
              <a:gd name="connsiteX12" fmla="*/ 629717 w 1270446"/>
              <a:gd name="connsiteY12" fmla="*/ 919528 h 1270446"/>
              <a:gd name="connsiteX13" fmla="*/ 644157 w 1270446"/>
              <a:gd name="connsiteY13" fmla="*/ 913240 h 1270446"/>
              <a:gd name="connsiteX14" fmla="*/ 663040 w 1270446"/>
              <a:gd name="connsiteY14" fmla="*/ 893615 h 1270446"/>
              <a:gd name="connsiteX15" fmla="*/ 885926 w 1270446"/>
              <a:gd name="connsiteY15" fmla="*/ 543510 h 1270446"/>
              <a:gd name="connsiteX16" fmla="*/ 864904 w 1270446"/>
              <a:gd name="connsiteY16" fmla="*/ 448827 h 1270446"/>
              <a:gd name="connsiteX17" fmla="*/ 839492 w 1270446"/>
              <a:gd name="connsiteY17" fmla="*/ 439038 h 1270446"/>
              <a:gd name="connsiteX18" fmla="*/ 635223 w 1270446"/>
              <a:gd name="connsiteY18" fmla="*/ 0 h 1270446"/>
              <a:gd name="connsiteX19" fmla="*/ 1270446 w 1270446"/>
              <a:gd name="connsiteY19" fmla="*/ 635223 h 1270446"/>
              <a:gd name="connsiteX20" fmla="*/ 635223 w 1270446"/>
              <a:gd name="connsiteY20" fmla="*/ 1270446 h 1270446"/>
              <a:gd name="connsiteX21" fmla="*/ 0 w 1270446"/>
              <a:gd name="connsiteY21" fmla="*/ 635223 h 1270446"/>
              <a:gd name="connsiteX22" fmla="*/ 635223 w 1270446"/>
              <a:gd name="connsiteY22" fmla="*/ 0 h 127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70446" h="1270446">
                <a:moveTo>
                  <a:pt x="839492" y="439038"/>
                </a:moveTo>
                <a:cubicBezTo>
                  <a:pt x="813137" y="434601"/>
                  <a:pt x="785477" y="445886"/>
                  <a:pt x="770221" y="469850"/>
                </a:cubicBezTo>
                <a:lnTo>
                  <a:pt x="581902" y="765659"/>
                </a:lnTo>
                <a:lnTo>
                  <a:pt x="490533" y="697532"/>
                </a:lnTo>
                <a:cubicBezTo>
                  <a:pt x="460168" y="674892"/>
                  <a:pt x="417199" y="681155"/>
                  <a:pt x="394560" y="711519"/>
                </a:cubicBezTo>
                <a:cubicBezTo>
                  <a:pt x="371919" y="741883"/>
                  <a:pt x="378181" y="784853"/>
                  <a:pt x="408545" y="807493"/>
                </a:cubicBezTo>
                <a:lnTo>
                  <a:pt x="553639" y="915676"/>
                </a:lnTo>
                <a:cubicBezTo>
                  <a:pt x="568821" y="926996"/>
                  <a:pt x="587155" y="931091"/>
                  <a:pt x="604523" y="928560"/>
                </a:cubicBezTo>
                <a:lnTo>
                  <a:pt x="618152" y="923785"/>
                </a:lnTo>
                <a:lnTo>
                  <a:pt x="620052" y="923736"/>
                </a:lnTo>
                <a:lnTo>
                  <a:pt x="627278" y="920589"/>
                </a:lnTo>
                <a:lnTo>
                  <a:pt x="629336" y="919869"/>
                </a:lnTo>
                <a:lnTo>
                  <a:pt x="629717" y="919528"/>
                </a:lnTo>
                <a:lnTo>
                  <a:pt x="644157" y="913240"/>
                </a:lnTo>
                <a:cubicBezTo>
                  <a:pt x="651491" y="908182"/>
                  <a:pt x="657955" y="901603"/>
                  <a:pt x="663040" y="893615"/>
                </a:cubicBezTo>
                <a:cubicBezTo>
                  <a:pt x="737335" y="776914"/>
                  <a:pt x="811631" y="660212"/>
                  <a:pt x="885926" y="543510"/>
                </a:cubicBezTo>
                <a:cubicBezTo>
                  <a:pt x="906267" y="511559"/>
                  <a:pt x="896855" y="469168"/>
                  <a:pt x="864904" y="448827"/>
                </a:cubicBezTo>
                <a:cubicBezTo>
                  <a:pt x="856916" y="443742"/>
                  <a:pt x="848276" y="440516"/>
                  <a:pt x="839492" y="439038"/>
                </a:cubicBezTo>
                <a:close/>
                <a:moveTo>
                  <a:pt x="635223" y="0"/>
                </a:moveTo>
                <a:cubicBezTo>
                  <a:pt x="986047" y="0"/>
                  <a:pt x="1270446" y="284399"/>
                  <a:pt x="1270446" y="635223"/>
                </a:cubicBezTo>
                <a:cubicBezTo>
                  <a:pt x="1270446" y="986047"/>
                  <a:pt x="986047" y="1270446"/>
                  <a:pt x="635223" y="1270446"/>
                </a:cubicBezTo>
                <a:cubicBezTo>
                  <a:pt x="284399" y="1270446"/>
                  <a:pt x="0" y="986047"/>
                  <a:pt x="0" y="635223"/>
                </a:cubicBezTo>
                <a:cubicBezTo>
                  <a:pt x="0" y="284399"/>
                  <a:pt x="284399" y="0"/>
                  <a:pt x="635223" y="0"/>
                </a:cubicBezTo>
                <a:close/>
              </a:path>
            </a:pathLst>
          </a:cu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0" name="Rectangle: Rounded Corners 259">
            <a:extLst>
              <a:ext uri="{FF2B5EF4-FFF2-40B4-BE49-F238E27FC236}">
                <a16:creationId xmlns:a16="http://schemas.microsoft.com/office/drawing/2014/main" id="{BFF51E90-76DD-B2A3-FBFD-67D1619ACBC1}"/>
              </a:ext>
            </a:extLst>
          </p:cNvPr>
          <p:cNvSpPr/>
          <p:nvPr/>
        </p:nvSpPr>
        <p:spPr bwMode="auto">
          <a:xfrm flipH="1">
            <a:off x="8022192" y="4695805"/>
            <a:ext cx="17695" cy="96984"/>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1" name="Rectangle: Rounded Corners 260">
            <a:extLst>
              <a:ext uri="{FF2B5EF4-FFF2-40B4-BE49-F238E27FC236}">
                <a16:creationId xmlns:a16="http://schemas.microsoft.com/office/drawing/2014/main" id="{1973EA90-2BEA-F653-1365-6B93C54ED032}"/>
              </a:ext>
            </a:extLst>
          </p:cNvPr>
          <p:cNvSpPr/>
          <p:nvPr/>
        </p:nvSpPr>
        <p:spPr bwMode="auto">
          <a:xfrm rot="3197686">
            <a:off x="8043939" y="4731795"/>
            <a:ext cx="18730" cy="71235"/>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2" name="Rectangle: Rounded Corners 261">
            <a:extLst>
              <a:ext uri="{FF2B5EF4-FFF2-40B4-BE49-F238E27FC236}">
                <a16:creationId xmlns:a16="http://schemas.microsoft.com/office/drawing/2014/main" id="{1B6F0D9F-F449-CAD3-8678-03C6BF984567}"/>
              </a:ext>
            </a:extLst>
          </p:cNvPr>
          <p:cNvSpPr/>
          <p:nvPr/>
        </p:nvSpPr>
        <p:spPr bwMode="auto">
          <a:xfrm rot="18402314" flipH="1">
            <a:off x="7998332" y="4730690"/>
            <a:ext cx="18730" cy="71235"/>
          </a:xfrm>
          <a:prstGeom prst="roundRect">
            <a:avLst>
              <a:gd name="adj" fmla="val 50000"/>
            </a:avLst>
          </a:prstGeom>
          <a:solidFill>
            <a:srgbClr val="50E6FF"/>
          </a:solidFill>
          <a:ln w="9525" cap="flat" cmpd="sng" algn="ctr">
            <a:noFill/>
            <a:prstDash val="solid"/>
            <a:headEnd type="none" w="med" len="med"/>
            <a:tailEnd type="none" w="med" len="med"/>
          </a:ln>
          <a:effectLst/>
        </p:spPr>
        <p:txBody>
          <a:bodyPr rot="0" spcFirstLastPara="0" vertOverflow="overflow" horzOverflow="overflow" vert="horz" wrap="square" lIns="133320" tIns="106656"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01" name="TextBox 300">
            <a:extLst>
              <a:ext uri="{FF2B5EF4-FFF2-40B4-BE49-F238E27FC236}">
                <a16:creationId xmlns:a16="http://schemas.microsoft.com/office/drawing/2014/main" id="{7A273F2B-EFE9-214E-C76F-C93C6593E5CC}"/>
              </a:ext>
            </a:extLst>
          </p:cNvPr>
          <p:cNvSpPr txBox="1"/>
          <p:nvPr/>
        </p:nvSpPr>
        <p:spPr>
          <a:xfrm>
            <a:off x="7842453" y="5002003"/>
            <a:ext cx="573875"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Decision</a:t>
            </a:r>
          </a:p>
        </p:txBody>
      </p:sp>
      <p:sp>
        <p:nvSpPr>
          <p:cNvPr id="302" name="TextBox 301">
            <a:extLst>
              <a:ext uri="{FF2B5EF4-FFF2-40B4-BE49-F238E27FC236}">
                <a16:creationId xmlns:a16="http://schemas.microsoft.com/office/drawing/2014/main" id="{7EAEF2FE-FD9C-0BC7-B69B-9D3DD7B0BEDD}"/>
              </a:ext>
            </a:extLst>
          </p:cNvPr>
          <p:cNvSpPr txBox="1"/>
          <p:nvPr/>
        </p:nvSpPr>
        <p:spPr>
          <a:xfrm>
            <a:off x="9199225" y="4982324"/>
            <a:ext cx="94256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OpenAI</a:t>
            </a:r>
          </a:p>
        </p:txBody>
      </p:sp>
      <p:sp>
        <p:nvSpPr>
          <p:cNvPr id="228" name="Freeform 2">
            <a:extLst>
              <a:ext uri="{FF2B5EF4-FFF2-40B4-BE49-F238E27FC236}">
                <a16:creationId xmlns:a16="http://schemas.microsoft.com/office/drawing/2014/main" id="{637C0297-7B8B-5869-641F-094537676CA2}"/>
              </a:ext>
              <a:ext uri="{C183D7F6-B498-43B3-948B-1728B52AA6E4}">
                <adec:decorative xmlns:adec="http://schemas.microsoft.com/office/drawing/2017/decorative" val="1"/>
              </a:ext>
            </a:extLst>
          </p:cNvPr>
          <p:cNvSpPr>
            <a:spLocks noChangeArrowheads="1"/>
          </p:cNvSpPr>
          <p:nvPr/>
        </p:nvSpPr>
        <p:spPr bwMode="auto">
          <a:xfrm>
            <a:off x="2886318" y="3212554"/>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sp>
        <p:nvSpPr>
          <p:cNvPr id="237" name="TextBox 236">
            <a:extLst>
              <a:ext uri="{FF2B5EF4-FFF2-40B4-BE49-F238E27FC236}">
                <a16:creationId xmlns:a16="http://schemas.microsoft.com/office/drawing/2014/main" id="{0F04C122-448B-ED91-1713-129B6E063CBF}"/>
              </a:ext>
            </a:extLst>
          </p:cNvPr>
          <p:cNvSpPr txBox="1"/>
          <p:nvPr/>
        </p:nvSpPr>
        <p:spPr>
          <a:xfrm>
            <a:off x="8615226" y="3912278"/>
            <a:ext cx="1255152"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Immersive Reader </a:t>
            </a:r>
          </a:p>
        </p:txBody>
      </p:sp>
      <p:pic>
        <p:nvPicPr>
          <p:cNvPr id="238" name="Picture 237" descr="Immersive Reader">
            <a:extLst>
              <a:ext uri="{FF2B5EF4-FFF2-40B4-BE49-F238E27FC236}">
                <a16:creationId xmlns:a16="http://schemas.microsoft.com/office/drawing/2014/main" id="{3C0ED577-AE91-9A7D-571F-D44B1E9A36F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47139" y="3347399"/>
            <a:ext cx="372109" cy="372109"/>
          </a:xfrm>
          <a:prstGeom prst="rect">
            <a:avLst/>
          </a:prstGeom>
        </p:spPr>
      </p:pic>
      <p:sp>
        <p:nvSpPr>
          <p:cNvPr id="234" name="TextBox 233">
            <a:extLst>
              <a:ext uri="{FF2B5EF4-FFF2-40B4-BE49-F238E27FC236}">
                <a16:creationId xmlns:a16="http://schemas.microsoft.com/office/drawing/2014/main" id="{AC208AA6-864D-B0BD-5678-F1A1383B8856}"/>
              </a:ext>
            </a:extLst>
          </p:cNvPr>
          <p:cNvSpPr txBox="1"/>
          <p:nvPr/>
        </p:nvSpPr>
        <p:spPr>
          <a:xfrm>
            <a:off x="5525667" y="3906525"/>
            <a:ext cx="1090043" cy="184666"/>
          </a:xfrm>
          <a:prstGeom prst="rect">
            <a:avLst/>
          </a:prstGeom>
          <a:noFill/>
        </p:spPr>
        <p:txBody>
          <a:bodyPr wrap="none" lIns="0" tIns="0" rIns="0" bIns="0" rtlCol="0" anchor="t">
            <a:spAutoFit/>
          </a:bodyPr>
          <a:lstStyle/>
          <a:p>
            <a:pPr algn="ctr">
              <a:defRPr/>
            </a:pPr>
            <a:r>
              <a:rPr lang="en-US" sz="1200" kern="0">
                <a:solidFill>
                  <a:srgbClr val="FFFFFF"/>
                </a:solidFill>
                <a:latin typeface="Segoe UI"/>
                <a:cs typeface="Segoe UI"/>
              </a:rPr>
              <a:t>Doc Intelligence</a:t>
            </a:r>
            <a:endParaRPr lang="en-US" sz="1200" b="0" i="0" u="none" strike="noStrike" kern="0" cap="none" spc="0" normalizeH="0" baseline="0" noProof="0">
              <a:ln>
                <a:noFill/>
              </a:ln>
              <a:solidFill>
                <a:srgbClr val="FFFFFF"/>
              </a:solidFill>
              <a:effectLst/>
              <a:uLnTx/>
              <a:uFillTx/>
              <a:latin typeface="Segoe UI"/>
              <a:cs typeface="Segoe UI"/>
            </a:endParaRPr>
          </a:p>
        </p:txBody>
      </p:sp>
      <p:pic>
        <p:nvPicPr>
          <p:cNvPr id="239" name="Graphic 238" descr="Form Recognizer">
            <a:extLst>
              <a:ext uri="{FF2B5EF4-FFF2-40B4-BE49-F238E27FC236}">
                <a16:creationId xmlns:a16="http://schemas.microsoft.com/office/drawing/2014/main" id="{B1F8EAD3-8914-EDB1-34D4-629798C5520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54239" y="3358530"/>
            <a:ext cx="365760" cy="365760"/>
          </a:xfrm>
          <a:prstGeom prst="rect">
            <a:avLst/>
          </a:prstGeom>
        </p:spPr>
      </p:pic>
      <p:sp>
        <p:nvSpPr>
          <p:cNvPr id="232" name="TextBox 231">
            <a:extLst>
              <a:ext uri="{FF2B5EF4-FFF2-40B4-BE49-F238E27FC236}">
                <a16:creationId xmlns:a16="http://schemas.microsoft.com/office/drawing/2014/main" id="{0B6D9E71-CAAA-25D1-9174-698C5C5B9148}"/>
              </a:ext>
            </a:extLst>
          </p:cNvPr>
          <p:cNvSpPr txBox="1"/>
          <p:nvPr/>
        </p:nvSpPr>
        <p:spPr>
          <a:xfrm>
            <a:off x="3113329" y="3909925"/>
            <a:ext cx="748603"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Bot Service</a:t>
            </a:r>
          </a:p>
        </p:txBody>
      </p:sp>
      <p:pic>
        <p:nvPicPr>
          <p:cNvPr id="240" name="Graphic 239" descr="Bot Service">
            <a:extLst>
              <a:ext uri="{FF2B5EF4-FFF2-40B4-BE49-F238E27FC236}">
                <a16:creationId xmlns:a16="http://schemas.microsoft.com/office/drawing/2014/main" id="{C4077C7F-8E35-843B-566A-38BC0CDBCE5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327099" y="3336358"/>
            <a:ext cx="365760" cy="365761"/>
          </a:xfrm>
          <a:prstGeom prst="rect">
            <a:avLst/>
          </a:prstGeom>
        </p:spPr>
      </p:pic>
      <p:sp>
        <p:nvSpPr>
          <p:cNvPr id="235" name="TextBox 234">
            <a:extLst>
              <a:ext uri="{FF2B5EF4-FFF2-40B4-BE49-F238E27FC236}">
                <a16:creationId xmlns:a16="http://schemas.microsoft.com/office/drawing/2014/main" id="{FAD56C0D-A25B-2F69-349A-4626C65B43BF}"/>
              </a:ext>
            </a:extLst>
          </p:cNvPr>
          <p:cNvSpPr txBox="1"/>
          <p:nvPr/>
        </p:nvSpPr>
        <p:spPr>
          <a:xfrm>
            <a:off x="7113944" y="3906525"/>
            <a:ext cx="939360"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Video Indexer</a:t>
            </a:r>
          </a:p>
        </p:txBody>
      </p:sp>
      <p:pic>
        <p:nvPicPr>
          <p:cNvPr id="241" name="Graphic 240" descr="video indexer icon">
            <a:extLst>
              <a:ext uri="{FF2B5EF4-FFF2-40B4-BE49-F238E27FC236}">
                <a16:creationId xmlns:a16="http://schemas.microsoft.com/office/drawing/2014/main" id="{4CA26F3A-464F-26F9-647F-1B4924AA1C2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409142" y="3323314"/>
            <a:ext cx="365760" cy="365761"/>
          </a:xfrm>
          <a:prstGeom prst="rect">
            <a:avLst/>
          </a:prstGeom>
        </p:spPr>
      </p:pic>
      <p:sp>
        <p:nvSpPr>
          <p:cNvPr id="233" name="TextBox 232">
            <a:extLst>
              <a:ext uri="{FF2B5EF4-FFF2-40B4-BE49-F238E27FC236}">
                <a16:creationId xmlns:a16="http://schemas.microsoft.com/office/drawing/2014/main" id="{C50B60AA-CC26-2B34-ADED-7A703C35B866}"/>
              </a:ext>
            </a:extLst>
          </p:cNvPr>
          <p:cNvSpPr txBox="1"/>
          <p:nvPr/>
        </p:nvSpPr>
        <p:spPr>
          <a:xfrm>
            <a:off x="4426743" y="3901889"/>
            <a:ext cx="633187" cy="184666"/>
          </a:xfrm>
          <a:prstGeom prst="rect">
            <a:avLst/>
          </a:prstGeom>
          <a:noFill/>
        </p:spPr>
        <p:txBody>
          <a:bodyPr wrap="none" lIns="0" tIns="0" rIns="0" bIns="0" rtlCol="0" anchor="t">
            <a:spAutoFit/>
          </a:bodyPr>
          <a:lstStyle/>
          <a:p>
            <a:pPr algn="ctr">
              <a:defRPr/>
            </a:pPr>
            <a:r>
              <a:rPr lang="en-US" sz="1200" kern="0">
                <a:solidFill>
                  <a:srgbClr val="FFFFFF"/>
                </a:solidFill>
                <a:latin typeface="Segoe UI"/>
              </a:rPr>
              <a:t>AI Search</a:t>
            </a:r>
            <a:endParaRPr kumimoji="0" lang="en-US" sz="1200" b="0" i="0" u="none" strike="noStrike" kern="0" cap="none" spc="0" normalizeH="0" baseline="0" noProof="0">
              <a:ln>
                <a:noFill/>
              </a:ln>
              <a:solidFill>
                <a:srgbClr val="FFFFFF"/>
              </a:solidFill>
              <a:effectLst/>
              <a:uLnTx/>
              <a:uFillTx/>
              <a:latin typeface="Segoe UI"/>
              <a:ea typeface="+mn-ea"/>
              <a:cs typeface="+mn-cs"/>
            </a:endParaRPr>
          </a:p>
        </p:txBody>
      </p:sp>
      <p:pic>
        <p:nvPicPr>
          <p:cNvPr id="243" name="Graphic 242" descr="Cognitive Search graphic">
            <a:extLst>
              <a:ext uri="{FF2B5EF4-FFF2-40B4-BE49-F238E27FC236}">
                <a16:creationId xmlns:a16="http://schemas.microsoft.com/office/drawing/2014/main" id="{6512B17B-DBD5-63ED-134E-2364E6102C6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604245" y="3336357"/>
            <a:ext cx="365760" cy="365761"/>
          </a:xfrm>
          <a:prstGeom prst="rect">
            <a:avLst/>
          </a:prstGeom>
        </p:spPr>
      </p:pic>
      <p:sp>
        <p:nvSpPr>
          <p:cNvPr id="35" name="Right Bracket 34">
            <a:extLst>
              <a:ext uri="{FF2B5EF4-FFF2-40B4-BE49-F238E27FC236}">
                <a16:creationId xmlns:a16="http://schemas.microsoft.com/office/drawing/2014/main" id="{33EB235D-9C68-2FD5-BDC2-8BB9D245BA89}"/>
              </a:ext>
              <a:ext uri="{C183D7F6-B498-43B3-948B-1728B52AA6E4}">
                <adec:decorative xmlns:adec="http://schemas.microsoft.com/office/drawing/2017/decorative" val="1"/>
              </a:ext>
            </a:extLst>
          </p:cNvPr>
          <p:cNvSpPr/>
          <p:nvPr/>
        </p:nvSpPr>
        <p:spPr>
          <a:xfrm>
            <a:off x="10606261" y="3212555"/>
            <a:ext cx="360172" cy="3207196"/>
          </a:xfrm>
          <a:prstGeom prst="rightBracket">
            <a:avLst>
              <a:gd name="adj" fmla="val 116543"/>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4" name="Group 3" descr="Graphic of Developers and Data Scientists">
            <a:extLst>
              <a:ext uri="{FF2B5EF4-FFF2-40B4-BE49-F238E27FC236}">
                <a16:creationId xmlns:a16="http://schemas.microsoft.com/office/drawing/2014/main" id="{B99CD628-6919-F85E-911B-5F946CB2891C}"/>
              </a:ext>
            </a:extLst>
          </p:cNvPr>
          <p:cNvGrpSpPr/>
          <p:nvPr/>
        </p:nvGrpSpPr>
        <p:grpSpPr>
          <a:xfrm>
            <a:off x="10991354" y="4437800"/>
            <a:ext cx="1057440" cy="723858"/>
            <a:chOff x="70690" y="4603614"/>
            <a:chExt cx="1057440" cy="723858"/>
          </a:xfrm>
        </p:grpSpPr>
        <p:sp>
          <p:nvSpPr>
            <p:cNvPr id="204" name="TextBox 203">
              <a:extLst>
                <a:ext uri="{FF2B5EF4-FFF2-40B4-BE49-F238E27FC236}">
                  <a16:creationId xmlns:a16="http://schemas.microsoft.com/office/drawing/2014/main" id="{1198A5BE-DC16-CE93-03EC-A4A8328E04A6}"/>
                </a:ext>
              </a:extLst>
            </p:cNvPr>
            <p:cNvSpPr txBox="1"/>
            <p:nvPr/>
          </p:nvSpPr>
          <p:spPr>
            <a:xfrm>
              <a:off x="70690" y="4995073"/>
              <a:ext cx="1057440" cy="332399"/>
            </a:xfrm>
            <a:prstGeom prst="rect">
              <a:avLst/>
            </a:prstGeom>
            <a:noFill/>
          </p:spPr>
          <p:txBody>
            <a:bodyPr wrap="square" lIns="0" tIns="0" rIns="0" bIns="0" rtlCol="0">
              <a:spAutoFit/>
            </a:bodyPr>
            <a:lstStyle>
              <a:defPPr>
                <a:defRPr lang="en-US"/>
              </a:defPPr>
              <a:lvl1pPr>
                <a:defRPr sz="1400">
                  <a:solidFill>
                    <a:schemeClr val="tx2">
                      <a:lumMod val="65000"/>
                    </a:schemeClr>
                  </a:solidFill>
                </a:defRPr>
              </a:lvl1p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chemeClr val="tx2"/>
                  </a:solidFill>
                  <a:effectLst/>
                  <a:uLnTx/>
                  <a:uFillTx/>
                  <a:latin typeface="Segoe UI" panose="020B0502040204020203" pitchFamily="34" charset="0"/>
                  <a:cs typeface="Segoe UI" panose="020B0502040204020203" pitchFamily="34" charset="0"/>
                </a:rPr>
                <a:t>Developers &amp; Data Scientists </a:t>
              </a:r>
            </a:p>
          </p:txBody>
        </p:sp>
        <p:grpSp>
          <p:nvGrpSpPr>
            <p:cNvPr id="205" name="Group 204">
              <a:extLst>
                <a:ext uri="{FF2B5EF4-FFF2-40B4-BE49-F238E27FC236}">
                  <a16:creationId xmlns:a16="http://schemas.microsoft.com/office/drawing/2014/main" id="{4D7D8497-D2FF-B6CB-41F2-40AEE04E4EFF}"/>
                </a:ext>
              </a:extLst>
            </p:cNvPr>
            <p:cNvGrpSpPr/>
            <p:nvPr/>
          </p:nvGrpSpPr>
          <p:grpSpPr>
            <a:xfrm>
              <a:off x="300547" y="4603614"/>
              <a:ext cx="533943" cy="337728"/>
              <a:chOff x="5131145" y="-41574"/>
              <a:chExt cx="703082" cy="444713"/>
            </a:xfrm>
          </p:grpSpPr>
          <p:pic>
            <p:nvPicPr>
              <p:cNvPr id="206" name="Graphic 205">
                <a:extLst>
                  <a:ext uri="{FF2B5EF4-FFF2-40B4-BE49-F238E27FC236}">
                    <a16:creationId xmlns:a16="http://schemas.microsoft.com/office/drawing/2014/main" id="{503A40CF-4A65-0F77-588C-14C5ADD0C86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389514" y="-41574"/>
                <a:ext cx="444713" cy="444713"/>
              </a:xfrm>
              <a:prstGeom prst="rect">
                <a:avLst/>
              </a:prstGeom>
            </p:spPr>
          </p:pic>
          <p:pic>
            <p:nvPicPr>
              <p:cNvPr id="207" name="Graphic 206">
                <a:extLst>
                  <a:ext uri="{FF2B5EF4-FFF2-40B4-BE49-F238E27FC236}">
                    <a16:creationId xmlns:a16="http://schemas.microsoft.com/office/drawing/2014/main" id="{1ADB4248-F85E-D195-1BA1-11FA89BBB435}"/>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131145" y="-14404"/>
                <a:ext cx="394711" cy="394711"/>
              </a:xfrm>
              <a:prstGeom prst="rect">
                <a:avLst/>
              </a:prstGeom>
            </p:spPr>
          </p:pic>
        </p:grpSp>
      </p:grpSp>
      <p:sp>
        <p:nvSpPr>
          <p:cNvPr id="36" name="Right Bracket 35">
            <a:extLst>
              <a:ext uri="{FF2B5EF4-FFF2-40B4-BE49-F238E27FC236}">
                <a16:creationId xmlns:a16="http://schemas.microsoft.com/office/drawing/2014/main" id="{1DCC3A10-09EC-B10B-E3F8-97C6ADFA084E}"/>
              </a:ext>
              <a:ext uri="{C183D7F6-B498-43B3-948B-1728B52AA6E4}">
                <adec:decorative xmlns:adec="http://schemas.microsoft.com/office/drawing/2017/decorative" val="1"/>
              </a:ext>
            </a:extLst>
          </p:cNvPr>
          <p:cNvSpPr/>
          <p:nvPr/>
        </p:nvSpPr>
        <p:spPr>
          <a:xfrm>
            <a:off x="10601536" y="1011198"/>
            <a:ext cx="360172" cy="2105758"/>
          </a:xfrm>
          <a:prstGeom prst="rightBracket">
            <a:avLst>
              <a:gd name="adj" fmla="val 79085"/>
            </a:avLst>
          </a:prstGeom>
          <a:ln w="127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37" name="Group 36" descr="Graphic of Business Users">
            <a:extLst>
              <a:ext uri="{FF2B5EF4-FFF2-40B4-BE49-F238E27FC236}">
                <a16:creationId xmlns:a16="http://schemas.microsoft.com/office/drawing/2014/main" id="{BC5F570D-0172-7721-0F2C-8625FCC4C1D8}"/>
              </a:ext>
            </a:extLst>
          </p:cNvPr>
          <p:cNvGrpSpPr/>
          <p:nvPr/>
        </p:nvGrpSpPr>
        <p:grpSpPr>
          <a:xfrm>
            <a:off x="11113174" y="1736675"/>
            <a:ext cx="689805" cy="720359"/>
            <a:chOff x="10065331" y="1702953"/>
            <a:chExt cx="689805" cy="720359"/>
          </a:xfrm>
        </p:grpSpPr>
        <p:sp>
          <p:nvSpPr>
            <p:cNvPr id="211" name="TextBox 210">
              <a:extLst>
                <a:ext uri="{FF2B5EF4-FFF2-40B4-BE49-F238E27FC236}">
                  <a16:creationId xmlns:a16="http://schemas.microsoft.com/office/drawing/2014/main" id="{6452D088-4CBD-A381-2B8E-AE603AB1EB48}"/>
                </a:ext>
              </a:extLst>
            </p:cNvPr>
            <p:cNvSpPr txBox="1"/>
            <p:nvPr/>
          </p:nvSpPr>
          <p:spPr>
            <a:xfrm>
              <a:off x="10065331" y="2090913"/>
              <a:ext cx="689805" cy="332399"/>
            </a:xfrm>
            <a:prstGeom prst="rect">
              <a:avLst/>
            </a:prstGeom>
            <a:noFill/>
          </p:spPr>
          <p:txBody>
            <a:bodyPr wrap="square" lIns="0" tIns="0" rIns="0" bIns="0" rtlCol="0">
              <a:spAutoFit/>
            </a:bodyPr>
            <a:lstStyle/>
            <a:p>
              <a:pPr marL="0" marR="0" lvl="0" indent="0" algn="ctr" defTabSz="740664" rtl="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a:ln>
                    <a:noFill/>
                  </a:ln>
                  <a:solidFill>
                    <a:schemeClr val="tx2"/>
                  </a:solidFill>
                  <a:effectLst/>
                  <a:uLnTx/>
                  <a:uFillTx/>
                  <a:latin typeface="Segoe UI" panose="020B0502040204020203" pitchFamily="34" charset="0"/>
                  <a:cs typeface="Segoe UI" panose="020B0502040204020203" pitchFamily="34" charset="0"/>
                </a:rPr>
                <a:t>Business Users</a:t>
              </a:r>
            </a:p>
          </p:txBody>
        </p:sp>
        <p:grpSp>
          <p:nvGrpSpPr>
            <p:cNvPr id="212" name="Group 211">
              <a:extLst>
                <a:ext uri="{FF2B5EF4-FFF2-40B4-BE49-F238E27FC236}">
                  <a16:creationId xmlns:a16="http://schemas.microsoft.com/office/drawing/2014/main" id="{83AE07DA-B40B-D040-B184-B795476F780F}"/>
                </a:ext>
              </a:extLst>
            </p:cNvPr>
            <p:cNvGrpSpPr/>
            <p:nvPr/>
          </p:nvGrpSpPr>
          <p:grpSpPr>
            <a:xfrm>
              <a:off x="10108191" y="1702953"/>
              <a:ext cx="511196" cy="331940"/>
              <a:chOff x="4053860" y="-1864422"/>
              <a:chExt cx="673129" cy="437091"/>
            </a:xfrm>
          </p:grpSpPr>
          <p:pic>
            <p:nvPicPr>
              <p:cNvPr id="213" name="Graphic 212">
                <a:extLst>
                  <a:ext uri="{FF2B5EF4-FFF2-40B4-BE49-F238E27FC236}">
                    <a16:creationId xmlns:a16="http://schemas.microsoft.com/office/drawing/2014/main" id="{1A569213-5D24-77D7-8F4E-B95F5D2BD4D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289898" y="-1864422"/>
                <a:ext cx="437091" cy="437091"/>
              </a:xfrm>
              <a:prstGeom prst="rect">
                <a:avLst/>
              </a:prstGeom>
            </p:spPr>
          </p:pic>
          <p:pic>
            <p:nvPicPr>
              <p:cNvPr id="214" name="Graphic 213">
                <a:extLst>
                  <a:ext uri="{FF2B5EF4-FFF2-40B4-BE49-F238E27FC236}">
                    <a16:creationId xmlns:a16="http://schemas.microsoft.com/office/drawing/2014/main" id="{27A84DD9-5FC1-75CE-6144-9F2ADD2E016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053860" y="-1838330"/>
                <a:ext cx="394711" cy="394711"/>
              </a:xfrm>
              <a:prstGeom prst="rect">
                <a:avLst/>
              </a:prstGeom>
            </p:spPr>
          </p:pic>
        </p:grpSp>
      </p:grpSp>
      <p:pic>
        <p:nvPicPr>
          <p:cNvPr id="5" name="Picture 4" descr="Shape&#10;&#10;Description automatically generated with medium confidence">
            <a:extLst>
              <a:ext uri="{FF2B5EF4-FFF2-40B4-BE49-F238E27FC236}">
                <a16:creationId xmlns:a16="http://schemas.microsoft.com/office/drawing/2014/main" id="{AAE61EA2-F88E-ECA3-7204-5902A654A814}"/>
              </a:ext>
            </a:extLst>
          </p:cNvPr>
          <p:cNvPicPr>
            <a:picLocks noChangeAspect="1"/>
          </p:cNvPicPr>
          <p:nvPr/>
        </p:nvPicPr>
        <p:blipFill rotWithShape="1">
          <a:blip r:embed="rId24">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rcRect l="4633" r="71604"/>
          <a:stretch/>
        </p:blipFill>
        <p:spPr>
          <a:xfrm>
            <a:off x="9338439" y="4294141"/>
            <a:ext cx="574984" cy="846879"/>
          </a:xfrm>
          <a:prstGeom prst="rect">
            <a:avLst/>
          </a:prstGeom>
        </p:spPr>
      </p:pic>
      <p:sp>
        <p:nvSpPr>
          <p:cNvPr id="8" name="Freeform 2">
            <a:extLst>
              <a:ext uri="{FF2B5EF4-FFF2-40B4-BE49-F238E27FC236}">
                <a16:creationId xmlns:a16="http://schemas.microsoft.com/office/drawing/2014/main" id="{173B5A17-E1B3-CCF0-23F9-155F67148CDA}"/>
              </a:ext>
              <a:ext uri="{C183D7F6-B498-43B3-948B-1728B52AA6E4}">
                <adec:decorative xmlns:adec="http://schemas.microsoft.com/office/drawing/2017/decorative" val="1"/>
              </a:ext>
            </a:extLst>
          </p:cNvPr>
          <p:cNvSpPr>
            <a:spLocks noChangeArrowheads="1"/>
          </p:cNvSpPr>
          <p:nvPr/>
        </p:nvSpPr>
        <p:spPr bwMode="auto">
          <a:xfrm>
            <a:off x="2886316" y="5409316"/>
            <a:ext cx="7599175" cy="1005840"/>
          </a:xfrm>
          <a:prstGeom prst="rect">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3600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endParaRPr kumimoji="0" lang="en-US" sz="1458" b="0" i="0" u="none" strike="noStrike" kern="0" cap="none" spc="0" normalizeH="0" baseline="0" noProof="0">
              <a:ln>
                <a:noFill/>
              </a:ln>
              <a:solidFill>
                <a:srgbClr val="0078D4">
                  <a:lumMod val="60000"/>
                  <a:lumOff val="40000"/>
                </a:srgbClr>
              </a:solidFill>
              <a:effectLst/>
              <a:uLnTx/>
              <a:uFillTx/>
              <a:latin typeface="Segoe UI"/>
              <a:ea typeface="+mn-ea"/>
              <a:cs typeface="Segoe UI" pitchFamily="34" charset="0"/>
            </a:endParaRPr>
          </a:p>
        </p:txBody>
      </p:sp>
      <p:pic>
        <p:nvPicPr>
          <p:cNvPr id="245" name="Graphic 244">
            <a:extLst>
              <a:ext uri="{FF2B5EF4-FFF2-40B4-BE49-F238E27FC236}">
                <a16:creationId xmlns:a16="http://schemas.microsoft.com/office/drawing/2014/main" id="{17CE85ED-FD1C-2999-47D7-D32F39D6CFB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474533" y="5524850"/>
            <a:ext cx="413950" cy="413948"/>
          </a:xfrm>
          <a:prstGeom prst="rect">
            <a:avLst/>
          </a:prstGeom>
        </p:spPr>
      </p:pic>
      <p:sp>
        <p:nvSpPr>
          <p:cNvPr id="246" name="TextBox 245">
            <a:extLst>
              <a:ext uri="{FF2B5EF4-FFF2-40B4-BE49-F238E27FC236}">
                <a16:creationId xmlns:a16="http://schemas.microsoft.com/office/drawing/2014/main" id="{3151FEBD-8645-9578-FCAA-239B9FD4FB31}"/>
              </a:ext>
            </a:extLst>
          </p:cNvPr>
          <p:cNvSpPr txBox="1"/>
          <p:nvPr/>
        </p:nvSpPr>
        <p:spPr>
          <a:xfrm>
            <a:off x="8091347" y="6144339"/>
            <a:ext cx="1227901"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M. Learning</a:t>
            </a:r>
          </a:p>
        </p:txBody>
      </p:sp>
      <p:pic>
        <p:nvPicPr>
          <p:cNvPr id="1026" name="Picture 2" descr="Azure Databricks Logo PNG vector in SVG, PDF, AI, CDR format">
            <a:extLst>
              <a:ext uri="{FF2B5EF4-FFF2-40B4-BE49-F238E27FC236}">
                <a16:creationId xmlns:a16="http://schemas.microsoft.com/office/drawing/2014/main" id="{5FF41002-B716-4E36-713D-BDA9E1344AFA}"/>
              </a:ext>
            </a:extLst>
          </p:cNvPr>
          <p:cNvPicPr>
            <a:picLocks noChangeAspect="1" noChangeArrowheads="1"/>
          </p:cNvPicPr>
          <p:nvPr/>
        </p:nvPicPr>
        <p:blipFill>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96205" y="5442146"/>
            <a:ext cx="771882" cy="57935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zure Synapse Analytics | Sticker">
            <a:extLst>
              <a:ext uri="{FF2B5EF4-FFF2-40B4-BE49-F238E27FC236}">
                <a16:creationId xmlns:a16="http://schemas.microsoft.com/office/drawing/2014/main" id="{EB44322C-3489-0F77-6B13-D6C5767931F0}"/>
              </a:ext>
            </a:extLst>
          </p:cNvPr>
          <p:cNvPicPr>
            <a:picLocks noChangeAspect="1" noChangeArrowheads="1"/>
          </p:cNvPicPr>
          <p:nvPr/>
        </p:nvPicPr>
        <p:blipFill>
          <a:blip r:embed="rId29">
            <a:clrChange>
              <a:clrFrom>
                <a:srgbClr val="E6E0D4"/>
              </a:clrFrom>
              <a:clrTo>
                <a:srgbClr val="E6E0D4">
                  <a:alpha val="0"/>
                </a:srgbClr>
              </a:clrTo>
            </a:clrChange>
            <a:extLst>
              <a:ext uri="{28A0092B-C50C-407E-A947-70E740481C1C}">
                <a14:useLocalDpi xmlns:a14="http://schemas.microsoft.com/office/drawing/2010/main" val="0"/>
              </a:ext>
            </a:extLst>
          </a:blip>
          <a:srcRect/>
          <a:stretch>
            <a:fillRect/>
          </a:stretch>
        </p:blipFill>
        <p:spPr bwMode="auto">
          <a:xfrm>
            <a:off x="5567152" y="5408192"/>
            <a:ext cx="683926" cy="6839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ll Microsoft Fabric icons for diagramming - Sam Debruyn">
            <a:extLst>
              <a:ext uri="{FF2B5EF4-FFF2-40B4-BE49-F238E27FC236}">
                <a16:creationId xmlns:a16="http://schemas.microsoft.com/office/drawing/2014/main" id="{D2C8FD83-3042-9E9A-C2D3-86C67C0E515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7066163" y="5485254"/>
            <a:ext cx="472973" cy="47297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9C0C8E68-DE24-D239-8AE9-936F9AAFA418}"/>
              </a:ext>
            </a:extLst>
          </p:cNvPr>
          <p:cNvSpPr txBox="1"/>
          <p:nvPr/>
        </p:nvSpPr>
        <p:spPr>
          <a:xfrm>
            <a:off x="7056192" y="6150804"/>
            <a:ext cx="40395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Fabric</a:t>
            </a:r>
          </a:p>
        </p:txBody>
      </p:sp>
      <p:sp>
        <p:nvSpPr>
          <p:cNvPr id="6" name="TextBox 5">
            <a:extLst>
              <a:ext uri="{FF2B5EF4-FFF2-40B4-BE49-F238E27FC236}">
                <a16:creationId xmlns:a16="http://schemas.microsoft.com/office/drawing/2014/main" id="{1AEA86FA-EB24-2703-3F51-94771B30DF62}"/>
              </a:ext>
            </a:extLst>
          </p:cNvPr>
          <p:cNvSpPr txBox="1"/>
          <p:nvPr/>
        </p:nvSpPr>
        <p:spPr>
          <a:xfrm>
            <a:off x="5416191" y="6131705"/>
            <a:ext cx="985847"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Synapse</a:t>
            </a:r>
          </a:p>
        </p:txBody>
      </p:sp>
      <p:sp>
        <p:nvSpPr>
          <p:cNvPr id="7" name="TextBox 6">
            <a:extLst>
              <a:ext uri="{FF2B5EF4-FFF2-40B4-BE49-F238E27FC236}">
                <a16:creationId xmlns:a16="http://schemas.microsoft.com/office/drawing/2014/main" id="{35B6630A-45D5-424A-5737-43091D4397B2}"/>
              </a:ext>
            </a:extLst>
          </p:cNvPr>
          <p:cNvSpPr txBox="1"/>
          <p:nvPr/>
        </p:nvSpPr>
        <p:spPr>
          <a:xfrm>
            <a:off x="3970439" y="6131705"/>
            <a:ext cx="1139736" cy="18466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Azure Databricks</a:t>
            </a:r>
          </a:p>
        </p:txBody>
      </p:sp>
      <p:pic>
        <p:nvPicPr>
          <p:cNvPr id="9" name="Picture 8" descr="All Microsoft Fabric icons for diagramming - Sam Debruyn">
            <a:extLst>
              <a:ext uri="{FF2B5EF4-FFF2-40B4-BE49-F238E27FC236}">
                <a16:creationId xmlns:a16="http://schemas.microsoft.com/office/drawing/2014/main" id="{00228D43-DE60-BAFD-E934-7A8CC8761AF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245653" y="2366040"/>
            <a:ext cx="365761" cy="36576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7043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B21B5-041A-26C4-CC1A-4B109793F1FC}"/>
            </a:ext>
          </a:extLst>
        </p:cNvPr>
        <p:cNvGrpSpPr/>
        <p:nvPr/>
      </p:nvGrpSpPr>
      <p:grpSpPr>
        <a:xfrm>
          <a:off x="0" y="0"/>
          <a:ext cx="0" cy="0"/>
          <a:chOff x="0" y="0"/>
          <a:chExt cx="0" cy="0"/>
        </a:xfrm>
      </p:grpSpPr>
      <p:pic>
        <p:nvPicPr>
          <p:cNvPr id="84" name="Picture 83">
            <a:extLst>
              <a:ext uri="{FF2B5EF4-FFF2-40B4-BE49-F238E27FC236}">
                <a16:creationId xmlns:a16="http://schemas.microsoft.com/office/drawing/2014/main" id="{F3E6FD8B-80C0-1B9E-C224-BEA81C1249C2}"/>
              </a:ext>
              <a:ext uri="{C183D7F6-B498-43B3-948B-1728B52AA6E4}">
                <adec:decorative xmlns:adec="http://schemas.microsoft.com/office/drawing/2017/decorative" val="1"/>
              </a:ext>
            </a:extLst>
          </p:cNvPr>
          <p:cNvPicPr>
            <a:picLocks noChangeAspect="1"/>
          </p:cNvPicPr>
          <p:nvPr/>
        </p:nvPicPr>
        <p:blipFill rotWithShape="1">
          <a:blip r:embed="rId3">
            <a:alphaModFix amt="80000"/>
            <a:extLst>
              <a:ext uri="{28A0092B-C50C-407E-A947-70E740481C1C}">
                <a14:useLocalDpi xmlns:a14="http://schemas.microsoft.com/office/drawing/2010/main" val="0"/>
              </a:ext>
            </a:extLst>
          </a:blip>
          <a:srcRect l="-1" r="28045"/>
          <a:stretch/>
        </p:blipFill>
        <p:spPr>
          <a:xfrm flipV="1">
            <a:off x="5291174" y="2567676"/>
            <a:ext cx="6900826" cy="4290321"/>
          </a:xfrm>
          <a:prstGeom prst="rect">
            <a:avLst/>
          </a:prstGeom>
        </p:spPr>
      </p:pic>
      <p:sp>
        <p:nvSpPr>
          <p:cNvPr id="54" name="Rectangle 53">
            <a:extLst>
              <a:ext uri="{FF2B5EF4-FFF2-40B4-BE49-F238E27FC236}">
                <a16:creationId xmlns:a16="http://schemas.microsoft.com/office/drawing/2014/main" id="{83E2FF86-65AD-B1D1-E5E7-89A759DC59CC}"/>
              </a:ext>
              <a:ext uri="{C183D7F6-B498-43B3-948B-1728B52AA6E4}">
                <adec:decorative xmlns:adec="http://schemas.microsoft.com/office/drawing/2017/decorative" val="1"/>
              </a:ext>
            </a:extLst>
          </p:cNvPr>
          <p:cNvSpPr/>
          <p:nvPr/>
        </p:nvSpPr>
        <p:spPr bwMode="auto">
          <a:xfrm rot="10800000">
            <a:off x="0" y="-4"/>
            <a:ext cx="12192000" cy="6858000"/>
          </a:xfrm>
          <a:prstGeom prst="rect">
            <a:avLst/>
          </a:prstGeom>
          <a:gradFill flip="none" rotWithShape="1">
            <a:gsLst>
              <a:gs pos="0">
                <a:srgbClr val="F7F7F8"/>
              </a:gs>
              <a:gs pos="100000">
                <a:srgbClr val="F7F7F8">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57" name="Rectangle: Rounded Corners 56">
            <a:extLst>
              <a:ext uri="{FF2B5EF4-FFF2-40B4-BE49-F238E27FC236}">
                <a16:creationId xmlns:a16="http://schemas.microsoft.com/office/drawing/2014/main" id="{CC3F3612-4925-44A2-1B08-C4491B984AAA}"/>
              </a:ext>
              <a:ext uri="{C183D7F6-B498-43B3-948B-1728B52AA6E4}">
                <adec:decorative xmlns:adec="http://schemas.microsoft.com/office/drawing/2017/decorative" val="1"/>
              </a:ext>
            </a:extLst>
          </p:cNvPr>
          <p:cNvSpPr>
            <a:spLocks/>
          </p:cNvSpPr>
          <p:nvPr/>
        </p:nvSpPr>
        <p:spPr bwMode="auto">
          <a:xfrm>
            <a:off x="588962" y="1436688"/>
            <a:ext cx="11017250" cy="3709595"/>
          </a:xfrm>
          <a:prstGeom prst="roundRect">
            <a:avLst>
              <a:gd name="adj" fmla="val 2853"/>
            </a:avLst>
          </a:prstGeom>
          <a:solidFill>
            <a:schemeClr val="bg1"/>
          </a:solidFill>
          <a:ln w="3175" cap="flat">
            <a:solidFill>
              <a:schemeClr val="bg1">
                <a:lumMod val="95000"/>
              </a:schemeClr>
            </a:solidFill>
            <a:prstDash val="solid"/>
            <a:miter/>
          </a:ln>
          <a:effectLst>
            <a:outerShdw blurRad="50800" dist="38100" dir="8100000" algn="tr" rotWithShape="0">
              <a:prstClr val="black">
                <a:alpha val="5000"/>
              </a:prstClr>
            </a:outerShdw>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sp>
        <p:nvSpPr>
          <p:cNvPr id="2" name="Rectangle 1">
            <a:extLst>
              <a:ext uri="{FF2B5EF4-FFF2-40B4-BE49-F238E27FC236}">
                <a16:creationId xmlns:a16="http://schemas.microsoft.com/office/drawing/2014/main" id="{6A626DFD-F01E-0B67-2B25-65F457272330}"/>
              </a:ext>
              <a:ext uri="{C183D7F6-B498-43B3-948B-1728B52AA6E4}">
                <adec:decorative xmlns:adec="http://schemas.microsoft.com/office/drawing/2017/decorative" val="1"/>
              </a:ext>
            </a:extLst>
          </p:cNvPr>
          <p:cNvSpPr/>
          <p:nvPr/>
        </p:nvSpPr>
        <p:spPr bwMode="auto">
          <a:xfrm>
            <a:off x="585787" y="2228458"/>
            <a:ext cx="11017249" cy="100242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 name="Title 2">
            <a:extLst>
              <a:ext uri="{FF2B5EF4-FFF2-40B4-BE49-F238E27FC236}">
                <a16:creationId xmlns:a16="http://schemas.microsoft.com/office/drawing/2014/main" id="{FB35F187-54B8-AFA9-EB7D-A46A94B7E5CF}"/>
              </a:ext>
            </a:extLst>
          </p:cNvPr>
          <p:cNvSpPr>
            <a:spLocks noGrp="1"/>
          </p:cNvSpPr>
          <p:nvPr>
            <p:ph type="title"/>
          </p:nvPr>
        </p:nvSpPr>
        <p:spPr/>
        <p:txBody>
          <a:bodyPr/>
          <a:lstStyle/>
          <a:p>
            <a:r>
              <a:rPr lang="en-US">
                <a:ea typeface="+mj-ea"/>
                <a:cs typeface="+mj-cs"/>
              </a:rPr>
              <a:t>Microsoft Fabric: The data platform for the era of AI</a:t>
            </a:r>
          </a:p>
        </p:txBody>
      </p:sp>
      <p:sp>
        <p:nvSpPr>
          <p:cNvPr id="71" name="Graphic 63">
            <a:extLst>
              <a:ext uri="{FF2B5EF4-FFF2-40B4-BE49-F238E27FC236}">
                <a16:creationId xmlns:a16="http://schemas.microsoft.com/office/drawing/2014/main" id="{E609F671-3A85-88B8-41E2-6CEFEFAF6E54}"/>
              </a:ext>
              <a:ext uri="{C183D7F6-B498-43B3-948B-1728B52AA6E4}">
                <adec:decorative xmlns:adec="http://schemas.microsoft.com/office/drawing/2017/decorative" val="1"/>
              </a:ext>
            </a:extLst>
          </p:cNvPr>
          <p:cNvSpPr/>
          <p:nvPr/>
        </p:nvSpPr>
        <p:spPr>
          <a:xfrm>
            <a:off x="799114" y="1626892"/>
            <a:ext cx="329088" cy="411358"/>
          </a:xfrm>
          <a:custGeom>
            <a:avLst/>
            <a:gdLst>
              <a:gd name="connsiteX0" fmla="*/ 135255 w 270509"/>
              <a:gd name="connsiteY0" fmla="*/ 135255 h 338136"/>
              <a:gd name="connsiteX1" fmla="*/ 270509 w 270509"/>
              <a:gd name="connsiteY1" fmla="*/ 67627 h 338136"/>
              <a:gd name="connsiteX2" fmla="*/ 135255 w 270509"/>
              <a:gd name="connsiteY2" fmla="*/ 0 h 338136"/>
              <a:gd name="connsiteX3" fmla="*/ 0 w 270509"/>
              <a:gd name="connsiteY3" fmla="*/ 67627 h 338136"/>
              <a:gd name="connsiteX4" fmla="*/ 135255 w 270509"/>
              <a:gd name="connsiteY4" fmla="*/ 135255 h 338136"/>
              <a:gd name="connsiteX5" fmla="*/ 242241 w 270509"/>
              <a:gd name="connsiteY5" fmla="*/ 138129 h 338136"/>
              <a:gd name="connsiteX6" fmla="*/ 270509 w 270509"/>
              <a:gd name="connsiteY6" fmla="*/ 119244 h 338136"/>
              <a:gd name="connsiteX7" fmla="*/ 270509 w 270509"/>
              <a:gd name="connsiteY7" fmla="*/ 270509 h 338136"/>
              <a:gd name="connsiteX8" fmla="*/ 135255 w 270509"/>
              <a:gd name="connsiteY8" fmla="*/ 338137 h 338136"/>
              <a:gd name="connsiteX9" fmla="*/ 0 w 270509"/>
              <a:gd name="connsiteY9" fmla="*/ 270509 h 338136"/>
              <a:gd name="connsiteX10" fmla="*/ 0 w 270509"/>
              <a:gd name="connsiteY10" fmla="*/ 119244 h 338136"/>
              <a:gd name="connsiteX11" fmla="*/ 28268 w 270509"/>
              <a:gd name="connsiteY11" fmla="*/ 138129 h 338136"/>
              <a:gd name="connsiteX12" fmla="*/ 135255 w 270509"/>
              <a:gd name="connsiteY12" fmla="*/ 160615 h 338136"/>
              <a:gd name="connsiteX13" fmla="*/ 242241 w 270509"/>
              <a:gd name="connsiteY13" fmla="*/ 138129 h 33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509" h="338136">
                <a:moveTo>
                  <a:pt x="135255" y="135255"/>
                </a:moveTo>
                <a:cubicBezTo>
                  <a:pt x="209949" y="135255"/>
                  <a:pt x="270509" y="104991"/>
                  <a:pt x="270509" y="67627"/>
                </a:cubicBezTo>
                <a:cubicBezTo>
                  <a:pt x="270509" y="30263"/>
                  <a:pt x="209949" y="0"/>
                  <a:pt x="135255" y="0"/>
                </a:cubicBezTo>
                <a:cubicBezTo>
                  <a:pt x="60560" y="0"/>
                  <a:pt x="0" y="30263"/>
                  <a:pt x="0" y="67627"/>
                </a:cubicBezTo>
                <a:cubicBezTo>
                  <a:pt x="0" y="104991"/>
                  <a:pt x="60560" y="135255"/>
                  <a:pt x="135255" y="135255"/>
                </a:cubicBezTo>
                <a:close/>
                <a:moveTo>
                  <a:pt x="242241" y="138129"/>
                </a:moveTo>
                <a:cubicBezTo>
                  <a:pt x="252458" y="133112"/>
                  <a:pt x="261963" y="126762"/>
                  <a:pt x="270509" y="119244"/>
                </a:cubicBezTo>
                <a:lnTo>
                  <a:pt x="270509" y="270509"/>
                </a:lnTo>
                <a:cubicBezTo>
                  <a:pt x="270509" y="307873"/>
                  <a:pt x="209949" y="338137"/>
                  <a:pt x="135255" y="338137"/>
                </a:cubicBezTo>
                <a:cubicBezTo>
                  <a:pt x="60560" y="338137"/>
                  <a:pt x="0" y="307873"/>
                  <a:pt x="0" y="270509"/>
                </a:cubicBezTo>
                <a:lnTo>
                  <a:pt x="0" y="119244"/>
                </a:lnTo>
                <a:cubicBezTo>
                  <a:pt x="8546" y="126762"/>
                  <a:pt x="18052" y="133112"/>
                  <a:pt x="28268" y="138129"/>
                </a:cubicBezTo>
                <a:cubicBezTo>
                  <a:pt x="56976" y="152466"/>
                  <a:pt x="94814" y="160615"/>
                  <a:pt x="135255" y="160615"/>
                </a:cubicBezTo>
                <a:cubicBezTo>
                  <a:pt x="175696" y="160615"/>
                  <a:pt x="213533" y="152466"/>
                  <a:pt x="242241" y="138129"/>
                </a:cubicBezTo>
                <a:close/>
              </a:path>
            </a:pathLst>
          </a:custGeom>
          <a:gradFill flip="none" rotWithShape="1">
            <a:gsLst>
              <a:gs pos="0">
                <a:srgbClr val="93D1AB"/>
              </a:gs>
              <a:gs pos="32000">
                <a:srgbClr val="57B9C5"/>
              </a:gs>
              <a:gs pos="94000">
                <a:srgbClr val="0F656B"/>
              </a:gs>
            </a:gsLst>
            <a:path path="circle">
              <a:fillToRect r="100000" b="100000"/>
            </a:path>
            <a:tileRect l="-100000" t="-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5" name="Graphic 65">
            <a:extLst>
              <a:ext uri="{FF2B5EF4-FFF2-40B4-BE49-F238E27FC236}">
                <a16:creationId xmlns:a16="http://schemas.microsoft.com/office/drawing/2014/main" id="{16762AB2-DEDC-F1CE-EE13-358FAECE2ACE}"/>
              </a:ext>
              <a:ext uri="{C183D7F6-B498-43B3-948B-1728B52AA6E4}">
                <adec:decorative xmlns:adec="http://schemas.microsoft.com/office/drawing/2017/decorative" val="1"/>
              </a:ext>
            </a:extLst>
          </p:cNvPr>
          <p:cNvSpPr/>
          <p:nvPr/>
        </p:nvSpPr>
        <p:spPr>
          <a:xfrm>
            <a:off x="3543333" y="1626993"/>
            <a:ext cx="411360" cy="411156"/>
          </a:xfrm>
          <a:custGeom>
            <a:avLst/>
            <a:gdLst>
              <a:gd name="connsiteX0" fmla="*/ 137622 w 338136"/>
              <a:gd name="connsiteY0" fmla="*/ 0 h 337967"/>
              <a:gd name="connsiteX1" fmla="*/ 156388 w 338136"/>
              <a:gd name="connsiteY1" fmla="*/ 23856 h 337967"/>
              <a:gd name="connsiteX2" fmla="*/ 156388 w 338136"/>
              <a:gd name="connsiteY2" fmla="*/ 97113 h 337967"/>
              <a:gd name="connsiteX3" fmla="*/ 141257 w 338136"/>
              <a:gd name="connsiteY3" fmla="*/ 97113 h 337967"/>
              <a:gd name="connsiteX4" fmla="*/ 97230 w 338136"/>
              <a:gd name="connsiteY4" fmla="*/ 78447 h 337967"/>
              <a:gd name="connsiteX5" fmla="*/ 78564 w 338136"/>
              <a:gd name="connsiteY5" fmla="*/ 122473 h 337967"/>
              <a:gd name="connsiteX6" fmla="*/ 122591 w 338136"/>
              <a:gd name="connsiteY6" fmla="*/ 141138 h 337967"/>
              <a:gd name="connsiteX7" fmla="*/ 141257 w 338136"/>
              <a:gd name="connsiteY7" fmla="*/ 122473 h 337967"/>
              <a:gd name="connsiteX8" fmla="*/ 156388 w 338136"/>
              <a:gd name="connsiteY8" fmla="*/ 122473 h 337967"/>
              <a:gd name="connsiteX9" fmla="*/ 156388 w 338136"/>
              <a:gd name="connsiteY9" fmla="*/ 306724 h 337967"/>
              <a:gd name="connsiteX10" fmla="*/ 143150 w 338136"/>
              <a:gd name="connsiteY10" fmla="*/ 331408 h 337967"/>
              <a:gd name="connsiteX11" fmla="*/ 116775 w 338136"/>
              <a:gd name="connsiteY11" fmla="*/ 337968 h 337967"/>
              <a:gd name="connsiteX12" fmla="*/ 60036 w 338136"/>
              <a:gd name="connsiteY12" fmla="*/ 309767 h 337967"/>
              <a:gd name="connsiteX13" fmla="*/ 42791 w 338136"/>
              <a:gd name="connsiteY13" fmla="*/ 273637 h 337967"/>
              <a:gd name="connsiteX14" fmla="*/ 21336 w 338136"/>
              <a:gd name="connsiteY14" fmla="*/ 261971 h 337967"/>
              <a:gd name="connsiteX15" fmla="*/ 0 w 338136"/>
              <a:gd name="connsiteY15" fmla="*/ 210659 h 337967"/>
              <a:gd name="connsiteX16" fmla="*/ 3212 w 338136"/>
              <a:gd name="connsiteY16" fmla="*/ 177420 h 337967"/>
              <a:gd name="connsiteX17" fmla="*/ 74390 w 338136"/>
              <a:gd name="connsiteY17" fmla="*/ 177420 h 337967"/>
              <a:gd name="connsiteX18" fmla="*/ 96961 w 338136"/>
              <a:gd name="connsiteY18" fmla="*/ 196880 h 337967"/>
              <a:gd name="connsiteX19" fmla="*/ 78642 w 338136"/>
              <a:gd name="connsiteY19" fmla="*/ 241053 h 337967"/>
              <a:gd name="connsiteX20" fmla="*/ 122813 w 338136"/>
              <a:gd name="connsiteY20" fmla="*/ 259371 h 337967"/>
              <a:gd name="connsiteX21" fmla="*/ 141133 w 338136"/>
              <a:gd name="connsiteY21" fmla="*/ 215199 h 337967"/>
              <a:gd name="connsiteX22" fmla="*/ 122439 w 338136"/>
              <a:gd name="connsiteY22" fmla="*/ 196728 h 337967"/>
              <a:gd name="connsiteX23" fmla="*/ 74390 w 338136"/>
              <a:gd name="connsiteY23" fmla="*/ 152060 h 337967"/>
              <a:gd name="connsiteX24" fmla="*/ 17583 w 338136"/>
              <a:gd name="connsiteY24" fmla="*/ 152060 h 337967"/>
              <a:gd name="connsiteX25" fmla="*/ 25952 w 338136"/>
              <a:gd name="connsiteY25" fmla="*/ 146954 h 337967"/>
              <a:gd name="connsiteX26" fmla="*/ 22943 w 338136"/>
              <a:gd name="connsiteY26" fmla="*/ 127900 h 337967"/>
              <a:gd name="connsiteX27" fmla="*/ 27930 w 338136"/>
              <a:gd name="connsiteY27" fmla="*/ 91026 h 337967"/>
              <a:gd name="connsiteX28" fmla="*/ 45479 w 338136"/>
              <a:gd name="connsiteY28" fmla="*/ 61034 h 337967"/>
              <a:gd name="connsiteX29" fmla="*/ 64009 w 338136"/>
              <a:gd name="connsiteY29" fmla="*/ 51447 h 337967"/>
              <a:gd name="connsiteX30" fmla="*/ 86884 w 338136"/>
              <a:gd name="connsiteY30" fmla="*/ 17008 h 337967"/>
              <a:gd name="connsiteX31" fmla="*/ 137605 w 338136"/>
              <a:gd name="connsiteY31" fmla="*/ 0 h 337967"/>
              <a:gd name="connsiteX32" fmla="*/ 181748 w 338136"/>
              <a:gd name="connsiteY32" fmla="*/ 253501 h 337967"/>
              <a:gd name="connsiteX33" fmla="*/ 209645 w 338136"/>
              <a:gd name="connsiteY33" fmla="*/ 253501 h 337967"/>
              <a:gd name="connsiteX34" fmla="*/ 257829 w 338136"/>
              <a:gd name="connsiteY34" fmla="*/ 205317 h 337967"/>
              <a:gd name="connsiteX35" fmla="*/ 257829 w 338136"/>
              <a:gd name="connsiteY35" fmla="*/ 174969 h 337967"/>
              <a:gd name="connsiteX36" fmla="*/ 276494 w 338136"/>
              <a:gd name="connsiteY36" fmla="*/ 130943 h 337967"/>
              <a:gd name="connsiteX37" fmla="*/ 232469 w 338136"/>
              <a:gd name="connsiteY37" fmla="*/ 112277 h 337967"/>
              <a:gd name="connsiteX38" fmla="*/ 213804 w 338136"/>
              <a:gd name="connsiteY38" fmla="*/ 156302 h 337967"/>
              <a:gd name="connsiteX39" fmla="*/ 232469 w 338136"/>
              <a:gd name="connsiteY39" fmla="*/ 174969 h 337967"/>
              <a:gd name="connsiteX40" fmla="*/ 232469 w 338136"/>
              <a:gd name="connsiteY40" fmla="*/ 205317 h 337967"/>
              <a:gd name="connsiteX41" fmla="*/ 209645 w 338136"/>
              <a:gd name="connsiteY41" fmla="*/ 228141 h 337967"/>
              <a:gd name="connsiteX42" fmla="*/ 181748 w 338136"/>
              <a:gd name="connsiteY42" fmla="*/ 228141 h 337967"/>
              <a:gd name="connsiteX43" fmla="*/ 181748 w 338136"/>
              <a:gd name="connsiteY43" fmla="*/ 23856 h 337967"/>
              <a:gd name="connsiteX44" fmla="*/ 200515 w 338136"/>
              <a:gd name="connsiteY44" fmla="*/ 0 h 337967"/>
              <a:gd name="connsiteX45" fmla="*/ 251252 w 338136"/>
              <a:gd name="connsiteY45" fmla="*/ 17008 h 337967"/>
              <a:gd name="connsiteX46" fmla="*/ 274127 w 338136"/>
              <a:gd name="connsiteY46" fmla="*/ 51447 h 337967"/>
              <a:gd name="connsiteX47" fmla="*/ 292657 w 338136"/>
              <a:gd name="connsiteY47" fmla="*/ 61034 h 337967"/>
              <a:gd name="connsiteX48" fmla="*/ 310207 w 338136"/>
              <a:gd name="connsiteY48" fmla="*/ 91026 h 337967"/>
              <a:gd name="connsiteX49" fmla="*/ 315194 w 338136"/>
              <a:gd name="connsiteY49" fmla="*/ 127900 h 337967"/>
              <a:gd name="connsiteX50" fmla="*/ 312185 w 338136"/>
              <a:gd name="connsiteY50" fmla="*/ 146954 h 337967"/>
              <a:gd name="connsiteX51" fmla="*/ 313301 w 338136"/>
              <a:gd name="connsiteY51" fmla="*/ 147461 h 337967"/>
              <a:gd name="connsiteX52" fmla="*/ 328415 w 338136"/>
              <a:gd name="connsiteY52" fmla="*/ 161156 h 337967"/>
              <a:gd name="connsiteX53" fmla="*/ 338137 w 338136"/>
              <a:gd name="connsiteY53" fmla="*/ 210659 h 337967"/>
              <a:gd name="connsiteX54" fmla="*/ 316800 w 338136"/>
              <a:gd name="connsiteY54" fmla="*/ 261971 h 337967"/>
              <a:gd name="connsiteX55" fmla="*/ 295329 w 338136"/>
              <a:gd name="connsiteY55" fmla="*/ 273637 h 337967"/>
              <a:gd name="connsiteX56" fmla="*/ 278101 w 338136"/>
              <a:gd name="connsiteY56" fmla="*/ 309767 h 337967"/>
              <a:gd name="connsiteX57" fmla="*/ 221344 w 338136"/>
              <a:gd name="connsiteY57" fmla="*/ 337968 h 337967"/>
              <a:gd name="connsiteX58" fmla="*/ 194970 w 338136"/>
              <a:gd name="connsiteY58" fmla="*/ 331425 h 337967"/>
              <a:gd name="connsiteX59" fmla="*/ 181748 w 338136"/>
              <a:gd name="connsiteY59" fmla="*/ 306724 h 337967"/>
              <a:gd name="connsiteX60" fmla="*/ 181748 w 338136"/>
              <a:gd name="connsiteY60" fmla="*/ 253501 h 337967"/>
              <a:gd name="connsiteX61" fmla="*/ 101441 w 338136"/>
              <a:gd name="connsiteY61" fmla="*/ 109793 h 337967"/>
              <a:gd name="connsiteX62" fmla="*/ 109894 w 338136"/>
              <a:gd name="connsiteY62" fmla="*/ 101340 h 337967"/>
              <a:gd name="connsiteX63" fmla="*/ 118348 w 338136"/>
              <a:gd name="connsiteY63" fmla="*/ 109793 h 337967"/>
              <a:gd name="connsiteX64" fmla="*/ 109894 w 338136"/>
              <a:gd name="connsiteY64" fmla="*/ 118246 h 337967"/>
              <a:gd name="connsiteX65" fmla="*/ 101441 w 338136"/>
              <a:gd name="connsiteY65" fmla="*/ 109793 h 337967"/>
              <a:gd name="connsiteX66" fmla="*/ 109894 w 338136"/>
              <a:gd name="connsiteY66" fmla="*/ 219687 h 337967"/>
              <a:gd name="connsiteX67" fmla="*/ 101441 w 338136"/>
              <a:gd name="connsiteY67" fmla="*/ 228141 h 337967"/>
              <a:gd name="connsiteX68" fmla="*/ 109894 w 338136"/>
              <a:gd name="connsiteY68" fmla="*/ 236594 h 337967"/>
              <a:gd name="connsiteX69" fmla="*/ 118348 w 338136"/>
              <a:gd name="connsiteY69" fmla="*/ 228141 h 337967"/>
              <a:gd name="connsiteX70" fmla="*/ 109894 w 338136"/>
              <a:gd name="connsiteY70" fmla="*/ 219687 h 337967"/>
              <a:gd name="connsiteX71" fmla="*/ 236696 w 338136"/>
              <a:gd name="connsiteY71" fmla="*/ 143607 h 337967"/>
              <a:gd name="connsiteX72" fmla="*/ 245149 w 338136"/>
              <a:gd name="connsiteY72" fmla="*/ 152060 h 337967"/>
              <a:gd name="connsiteX73" fmla="*/ 253603 w 338136"/>
              <a:gd name="connsiteY73" fmla="*/ 143607 h 337967"/>
              <a:gd name="connsiteX74" fmla="*/ 245149 w 338136"/>
              <a:gd name="connsiteY74" fmla="*/ 135153 h 337967"/>
              <a:gd name="connsiteX75" fmla="*/ 236696 w 338136"/>
              <a:gd name="connsiteY75" fmla="*/ 143607 h 337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338136" h="337967">
                <a:moveTo>
                  <a:pt x="137622" y="0"/>
                </a:moveTo>
                <a:cubicBezTo>
                  <a:pt x="149575" y="0"/>
                  <a:pt x="156388" y="11902"/>
                  <a:pt x="156388" y="23856"/>
                </a:cubicBezTo>
                <a:lnTo>
                  <a:pt x="156388" y="97113"/>
                </a:lnTo>
                <a:lnTo>
                  <a:pt x="141257" y="97113"/>
                </a:lnTo>
                <a:cubicBezTo>
                  <a:pt x="134254" y="79801"/>
                  <a:pt x="114542" y="71444"/>
                  <a:pt x="97230" y="78447"/>
                </a:cubicBezTo>
                <a:cubicBezTo>
                  <a:pt x="79918" y="85450"/>
                  <a:pt x="71561" y="105161"/>
                  <a:pt x="78564" y="122473"/>
                </a:cubicBezTo>
                <a:cubicBezTo>
                  <a:pt x="85567" y="139786"/>
                  <a:pt x="105279" y="148143"/>
                  <a:pt x="122591" y="141138"/>
                </a:cubicBezTo>
                <a:cubicBezTo>
                  <a:pt x="131085" y="137703"/>
                  <a:pt x="137821" y="130967"/>
                  <a:pt x="141257" y="122473"/>
                </a:cubicBezTo>
                <a:lnTo>
                  <a:pt x="156388" y="122473"/>
                </a:lnTo>
                <a:lnTo>
                  <a:pt x="156388" y="306724"/>
                </a:lnTo>
                <a:cubicBezTo>
                  <a:pt x="156388" y="316800"/>
                  <a:pt x="152128" y="326826"/>
                  <a:pt x="143150" y="331408"/>
                </a:cubicBezTo>
                <a:cubicBezTo>
                  <a:pt x="135010" y="335672"/>
                  <a:pt x="125965" y="337922"/>
                  <a:pt x="116775" y="337968"/>
                </a:cubicBezTo>
                <a:cubicBezTo>
                  <a:pt x="91246" y="337968"/>
                  <a:pt x="72260" y="325051"/>
                  <a:pt x="60036" y="309767"/>
                </a:cubicBezTo>
                <a:cubicBezTo>
                  <a:pt x="51571" y="299221"/>
                  <a:pt x="45668" y="286852"/>
                  <a:pt x="42791" y="273637"/>
                </a:cubicBezTo>
                <a:cubicBezTo>
                  <a:pt x="34896" y="271307"/>
                  <a:pt x="27584" y="267331"/>
                  <a:pt x="21336" y="261971"/>
                </a:cubicBezTo>
                <a:cubicBezTo>
                  <a:pt x="9333" y="251641"/>
                  <a:pt x="0" y="235073"/>
                  <a:pt x="0" y="210659"/>
                </a:cubicBezTo>
                <a:cubicBezTo>
                  <a:pt x="0" y="197894"/>
                  <a:pt x="913" y="186770"/>
                  <a:pt x="3212" y="177420"/>
                </a:cubicBezTo>
                <a:lnTo>
                  <a:pt x="74390" y="177420"/>
                </a:lnTo>
                <a:cubicBezTo>
                  <a:pt x="85853" y="177420"/>
                  <a:pt x="95355" y="185874"/>
                  <a:pt x="96961" y="196880"/>
                </a:cubicBezTo>
                <a:cubicBezTo>
                  <a:pt x="79704" y="204020"/>
                  <a:pt x="71503" y="223796"/>
                  <a:pt x="78642" y="241053"/>
                </a:cubicBezTo>
                <a:cubicBezTo>
                  <a:pt x="85781" y="258308"/>
                  <a:pt x="105557" y="266509"/>
                  <a:pt x="122813" y="259371"/>
                </a:cubicBezTo>
                <a:cubicBezTo>
                  <a:pt x="140070" y="252231"/>
                  <a:pt x="148271" y="232455"/>
                  <a:pt x="141133" y="215199"/>
                </a:cubicBezTo>
                <a:cubicBezTo>
                  <a:pt x="137647" y="206774"/>
                  <a:pt x="130906" y="200113"/>
                  <a:pt x="122439" y="196728"/>
                </a:cubicBezTo>
                <a:cubicBezTo>
                  <a:pt x="120597" y="171550"/>
                  <a:pt x="99635" y="152063"/>
                  <a:pt x="74390" y="152060"/>
                </a:cubicBezTo>
                <a:lnTo>
                  <a:pt x="17583" y="152060"/>
                </a:lnTo>
                <a:cubicBezTo>
                  <a:pt x="20115" y="149967"/>
                  <a:pt x="22933" y="148248"/>
                  <a:pt x="25952" y="146954"/>
                </a:cubicBezTo>
                <a:cubicBezTo>
                  <a:pt x="24209" y="140743"/>
                  <a:pt x="23199" y="134347"/>
                  <a:pt x="22943" y="127900"/>
                </a:cubicBezTo>
                <a:cubicBezTo>
                  <a:pt x="22385" y="115474"/>
                  <a:pt x="24244" y="102540"/>
                  <a:pt x="27930" y="91026"/>
                </a:cubicBezTo>
                <a:cubicBezTo>
                  <a:pt x="31582" y="79699"/>
                  <a:pt x="37364" y="68659"/>
                  <a:pt x="45479" y="61034"/>
                </a:cubicBezTo>
                <a:cubicBezTo>
                  <a:pt x="50570" y="56073"/>
                  <a:pt x="57019" y="52737"/>
                  <a:pt x="64009" y="51447"/>
                </a:cubicBezTo>
                <a:cubicBezTo>
                  <a:pt x="67374" y="37246"/>
                  <a:pt x="75946" y="25512"/>
                  <a:pt x="86884" y="17008"/>
                </a:cubicBezTo>
                <a:cubicBezTo>
                  <a:pt x="100934" y="6053"/>
                  <a:pt x="119345" y="0"/>
                  <a:pt x="137605" y="0"/>
                </a:cubicBezTo>
                <a:close/>
                <a:moveTo>
                  <a:pt x="181748" y="253501"/>
                </a:moveTo>
                <a:lnTo>
                  <a:pt x="209645" y="253501"/>
                </a:lnTo>
                <a:cubicBezTo>
                  <a:pt x="236256" y="253501"/>
                  <a:pt x="257829" y="231928"/>
                  <a:pt x="257829" y="205317"/>
                </a:cubicBezTo>
                <a:lnTo>
                  <a:pt x="257829" y="174969"/>
                </a:lnTo>
                <a:cubicBezTo>
                  <a:pt x="275142" y="167966"/>
                  <a:pt x="283499" y="148254"/>
                  <a:pt x="276494" y="130943"/>
                </a:cubicBezTo>
                <a:cubicBezTo>
                  <a:pt x="269492" y="113631"/>
                  <a:pt x="249782" y="105274"/>
                  <a:pt x="232469" y="112277"/>
                </a:cubicBezTo>
                <a:cubicBezTo>
                  <a:pt x="215156" y="119280"/>
                  <a:pt x="206799" y="138991"/>
                  <a:pt x="213804" y="156302"/>
                </a:cubicBezTo>
                <a:cubicBezTo>
                  <a:pt x="217239" y="164798"/>
                  <a:pt x="223975" y="171533"/>
                  <a:pt x="232469" y="174969"/>
                </a:cubicBezTo>
                <a:lnTo>
                  <a:pt x="232469" y="205317"/>
                </a:lnTo>
                <a:cubicBezTo>
                  <a:pt x="232469" y="217922"/>
                  <a:pt x="222250" y="228141"/>
                  <a:pt x="209645" y="228141"/>
                </a:cubicBezTo>
                <a:lnTo>
                  <a:pt x="181748" y="228141"/>
                </a:lnTo>
                <a:lnTo>
                  <a:pt x="181748" y="23856"/>
                </a:lnTo>
                <a:cubicBezTo>
                  <a:pt x="181748" y="11902"/>
                  <a:pt x="188562" y="0"/>
                  <a:pt x="200515" y="0"/>
                </a:cubicBezTo>
                <a:cubicBezTo>
                  <a:pt x="218808" y="0"/>
                  <a:pt x="237203" y="6053"/>
                  <a:pt x="251252" y="17008"/>
                </a:cubicBezTo>
                <a:cubicBezTo>
                  <a:pt x="262191" y="25512"/>
                  <a:pt x="270763" y="37263"/>
                  <a:pt x="274127" y="51447"/>
                </a:cubicBezTo>
                <a:cubicBezTo>
                  <a:pt x="281228" y="52631"/>
                  <a:pt x="287551" y="56249"/>
                  <a:pt x="292657" y="61034"/>
                </a:cubicBezTo>
                <a:cubicBezTo>
                  <a:pt x="300773" y="68659"/>
                  <a:pt x="306555" y="79682"/>
                  <a:pt x="310207" y="91026"/>
                </a:cubicBezTo>
                <a:cubicBezTo>
                  <a:pt x="313892" y="102540"/>
                  <a:pt x="315752" y="115474"/>
                  <a:pt x="315194" y="127900"/>
                </a:cubicBezTo>
                <a:cubicBezTo>
                  <a:pt x="314907" y="134257"/>
                  <a:pt x="313977" y="140749"/>
                  <a:pt x="312185" y="146954"/>
                </a:cubicBezTo>
                <a:lnTo>
                  <a:pt x="313301" y="147461"/>
                </a:lnTo>
                <a:cubicBezTo>
                  <a:pt x="319556" y="150403"/>
                  <a:pt x="324628" y="155019"/>
                  <a:pt x="328415" y="161156"/>
                </a:cubicBezTo>
                <a:cubicBezTo>
                  <a:pt x="335601" y="172737"/>
                  <a:pt x="338137" y="189407"/>
                  <a:pt x="338137" y="210659"/>
                </a:cubicBezTo>
                <a:cubicBezTo>
                  <a:pt x="338137" y="235090"/>
                  <a:pt x="328804" y="251675"/>
                  <a:pt x="316800" y="261971"/>
                </a:cubicBezTo>
                <a:cubicBezTo>
                  <a:pt x="310548" y="267334"/>
                  <a:pt x="303229" y="271309"/>
                  <a:pt x="295329" y="273637"/>
                </a:cubicBezTo>
                <a:cubicBezTo>
                  <a:pt x="292456" y="286850"/>
                  <a:pt x="286559" y="299217"/>
                  <a:pt x="278101" y="309767"/>
                </a:cubicBezTo>
                <a:cubicBezTo>
                  <a:pt x="265877" y="325051"/>
                  <a:pt x="246891" y="337968"/>
                  <a:pt x="221344" y="337968"/>
                </a:cubicBezTo>
                <a:cubicBezTo>
                  <a:pt x="212155" y="337927"/>
                  <a:pt x="203112" y="335684"/>
                  <a:pt x="194970" y="331425"/>
                </a:cubicBezTo>
                <a:cubicBezTo>
                  <a:pt x="186009" y="326826"/>
                  <a:pt x="181748" y="316800"/>
                  <a:pt x="181748" y="306724"/>
                </a:cubicBezTo>
                <a:lnTo>
                  <a:pt x="181748" y="253501"/>
                </a:lnTo>
                <a:close/>
                <a:moveTo>
                  <a:pt x="101441" y="109793"/>
                </a:moveTo>
                <a:cubicBezTo>
                  <a:pt x="101441" y="105124"/>
                  <a:pt x="105226" y="101340"/>
                  <a:pt x="109894" y="101340"/>
                </a:cubicBezTo>
                <a:cubicBezTo>
                  <a:pt x="114563" y="101340"/>
                  <a:pt x="118348" y="105124"/>
                  <a:pt x="118348" y="109793"/>
                </a:cubicBezTo>
                <a:cubicBezTo>
                  <a:pt x="118348" y="114462"/>
                  <a:pt x="114563" y="118246"/>
                  <a:pt x="109894" y="118246"/>
                </a:cubicBezTo>
                <a:cubicBezTo>
                  <a:pt x="105226" y="118246"/>
                  <a:pt x="101441" y="114462"/>
                  <a:pt x="101441" y="109793"/>
                </a:cubicBezTo>
                <a:close/>
                <a:moveTo>
                  <a:pt x="109894" y="219687"/>
                </a:moveTo>
                <a:cubicBezTo>
                  <a:pt x="105226" y="219687"/>
                  <a:pt x="101441" y="223473"/>
                  <a:pt x="101441" y="228141"/>
                </a:cubicBezTo>
                <a:cubicBezTo>
                  <a:pt x="101441" y="232809"/>
                  <a:pt x="105226" y="236594"/>
                  <a:pt x="109894" y="236594"/>
                </a:cubicBezTo>
                <a:cubicBezTo>
                  <a:pt x="114563" y="236594"/>
                  <a:pt x="118348" y="232809"/>
                  <a:pt x="118348" y="228141"/>
                </a:cubicBezTo>
                <a:cubicBezTo>
                  <a:pt x="118348" y="223473"/>
                  <a:pt x="114563" y="219687"/>
                  <a:pt x="109894" y="219687"/>
                </a:cubicBezTo>
                <a:close/>
                <a:moveTo>
                  <a:pt x="236696" y="143607"/>
                </a:moveTo>
                <a:cubicBezTo>
                  <a:pt x="236696" y="148275"/>
                  <a:pt x="240481" y="152060"/>
                  <a:pt x="245149" y="152060"/>
                </a:cubicBezTo>
                <a:cubicBezTo>
                  <a:pt x="249817" y="152060"/>
                  <a:pt x="253603" y="148275"/>
                  <a:pt x="253603" y="143607"/>
                </a:cubicBezTo>
                <a:cubicBezTo>
                  <a:pt x="253603" y="138939"/>
                  <a:pt x="249817" y="135153"/>
                  <a:pt x="245149" y="135153"/>
                </a:cubicBezTo>
                <a:cubicBezTo>
                  <a:pt x="240481" y="135153"/>
                  <a:pt x="236696" y="138939"/>
                  <a:pt x="236696" y="143607"/>
                </a:cubicBezTo>
                <a:close/>
              </a:path>
            </a:pathLst>
          </a:custGeom>
          <a:gradFill flip="none" rotWithShape="1">
            <a:gsLst>
              <a:gs pos="0">
                <a:srgbClr val="93D1AB"/>
              </a:gs>
              <a:gs pos="32000">
                <a:srgbClr val="57B9C5"/>
              </a:gs>
              <a:gs pos="94000">
                <a:srgbClr val="0F656B"/>
              </a:gs>
            </a:gsLst>
            <a:path path="circle">
              <a:fillToRect r="100000" b="100000"/>
            </a:path>
            <a:tileRect l="-100000" t="-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6" name="Graphic 67">
            <a:extLst>
              <a:ext uri="{FF2B5EF4-FFF2-40B4-BE49-F238E27FC236}">
                <a16:creationId xmlns:a16="http://schemas.microsoft.com/office/drawing/2014/main" id="{F796B86A-D06D-9B86-E405-86C7E47A0A54}"/>
              </a:ext>
              <a:ext uri="{C183D7F6-B498-43B3-948B-1728B52AA6E4}">
                <adec:decorative xmlns:adec="http://schemas.microsoft.com/office/drawing/2017/decorative" val="1"/>
              </a:ext>
            </a:extLst>
          </p:cNvPr>
          <p:cNvSpPr/>
          <p:nvPr/>
        </p:nvSpPr>
        <p:spPr>
          <a:xfrm>
            <a:off x="6152023" y="1621749"/>
            <a:ext cx="421644" cy="421644"/>
          </a:xfrm>
          <a:custGeom>
            <a:avLst/>
            <a:gdLst>
              <a:gd name="connsiteX0" fmla="*/ 143708 w 346590"/>
              <a:gd name="connsiteY0" fmla="*/ 42267 h 346590"/>
              <a:gd name="connsiteX1" fmla="*/ 156388 w 346590"/>
              <a:gd name="connsiteY1" fmla="*/ 54947 h 346590"/>
              <a:gd name="connsiteX2" fmla="*/ 156388 w 346590"/>
              <a:gd name="connsiteY2" fmla="*/ 190202 h 346590"/>
              <a:gd name="connsiteX3" fmla="*/ 291643 w 346590"/>
              <a:gd name="connsiteY3" fmla="*/ 190202 h 346590"/>
              <a:gd name="connsiteX4" fmla="*/ 304205 w 346590"/>
              <a:gd name="connsiteY4" fmla="*/ 201158 h 346590"/>
              <a:gd name="connsiteX5" fmla="*/ 304323 w 346590"/>
              <a:gd name="connsiteY5" fmla="*/ 202882 h 346590"/>
              <a:gd name="connsiteX6" fmla="*/ 152162 w 346590"/>
              <a:gd name="connsiteY6" fmla="*/ 346590 h 346590"/>
              <a:gd name="connsiteX7" fmla="*/ 0 w 346590"/>
              <a:gd name="connsiteY7" fmla="*/ 194429 h 346590"/>
              <a:gd name="connsiteX8" fmla="*/ 143708 w 346590"/>
              <a:gd name="connsiteY8" fmla="*/ 42267 h 346590"/>
              <a:gd name="connsiteX9" fmla="*/ 194429 w 346590"/>
              <a:gd name="connsiteY9" fmla="*/ 0 h 346590"/>
              <a:gd name="connsiteX10" fmla="*/ 346590 w 346590"/>
              <a:gd name="connsiteY10" fmla="*/ 152162 h 346590"/>
              <a:gd name="connsiteX11" fmla="*/ 333910 w 346590"/>
              <a:gd name="connsiteY11" fmla="*/ 164842 h 346590"/>
              <a:gd name="connsiteX12" fmla="*/ 194429 w 346590"/>
              <a:gd name="connsiteY12" fmla="*/ 164842 h 346590"/>
              <a:gd name="connsiteX13" fmla="*/ 181748 w 346590"/>
              <a:gd name="connsiteY13" fmla="*/ 152162 h 346590"/>
              <a:gd name="connsiteX14" fmla="*/ 181748 w 346590"/>
              <a:gd name="connsiteY14" fmla="*/ 12680 h 346590"/>
              <a:gd name="connsiteX15" fmla="*/ 194429 w 346590"/>
              <a:gd name="connsiteY15" fmla="*/ 0 h 346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590" h="346590">
                <a:moveTo>
                  <a:pt x="143708" y="42267"/>
                </a:moveTo>
                <a:cubicBezTo>
                  <a:pt x="150711" y="42267"/>
                  <a:pt x="156388" y="47944"/>
                  <a:pt x="156388" y="54947"/>
                </a:cubicBezTo>
                <a:lnTo>
                  <a:pt x="156388" y="190202"/>
                </a:lnTo>
                <a:lnTo>
                  <a:pt x="291643" y="190202"/>
                </a:lnTo>
                <a:cubicBezTo>
                  <a:pt x="297980" y="190202"/>
                  <a:pt x="303342" y="194880"/>
                  <a:pt x="304205" y="201158"/>
                </a:cubicBezTo>
                <a:lnTo>
                  <a:pt x="304323" y="202882"/>
                </a:lnTo>
                <a:cubicBezTo>
                  <a:pt x="304323" y="286909"/>
                  <a:pt x="236188" y="346590"/>
                  <a:pt x="152162" y="346590"/>
                </a:cubicBezTo>
                <a:cubicBezTo>
                  <a:pt x="68125" y="346590"/>
                  <a:pt x="0" y="278466"/>
                  <a:pt x="0" y="194429"/>
                </a:cubicBezTo>
                <a:cubicBezTo>
                  <a:pt x="0" y="110402"/>
                  <a:pt x="59681" y="42267"/>
                  <a:pt x="143708" y="42267"/>
                </a:cubicBezTo>
                <a:close/>
                <a:moveTo>
                  <a:pt x="194429" y="0"/>
                </a:moveTo>
                <a:cubicBezTo>
                  <a:pt x="278466" y="0"/>
                  <a:pt x="346590" y="68125"/>
                  <a:pt x="346590" y="152162"/>
                </a:cubicBezTo>
                <a:cubicBezTo>
                  <a:pt x="346590" y="159164"/>
                  <a:pt x="340913" y="164842"/>
                  <a:pt x="333910" y="164842"/>
                </a:cubicBezTo>
                <a:lnTo>
                  <a:pt x="194429" y="164842"/>
                </a:lnTo>
                <a:cubicBezTo>
                  <a:pt x="187426" y="164842"/>
                  <a:pt x="181748" y="159164"/>
                  <a:pt x="181748" y="152162"/>
                </a:cubicBezTo>
                <a:lnTo>
                  <a:pt x="181748" y="12680"/>
                </a:lnTo>
                <a:cubicBezTo>
                  <a:pt x="181748" y="5677"/>
                  <a:pt x="187426" y="0"/>
                  <a:pt x="194429" y="0"/>
                </a:cubicBezTo>
                <a:close/>
              </a:path>
            </a:pathLst>
          </a:custGeom>
          <a:gradFill flip="none" rotWithShape="1">
            <a:gsLst>
              <a:gs pos="0">
                <a:srgbClr val="93D1AB"/>
              </a:gs>
              <a:gs pos="32000">
                <a:srgbClr val="57B9C5"/>
              </a:gs>
              <a:gs pos="94000">
                <a:srgbClr val="0F656B"/>
              </a:gs>
            </a:gsLst>
            <a:path path="circle">
              <a:fillToRect r="100000" b="100000"/>
            </a:path>
            <a:tileRect l="-100000" t="-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77" name="Graphic 69">
            <a:extLst>
              <a:ext uri="{FF2B5EF4-FFF2-40B4-BE49-F238E27FC236}">
                <a16:creationId xmlns:a16="http://schemas.microsoft.com/office/drawing/2014/main" id="{A048CF5A-4D3A-D6F9-9EBE-5C64CE3A8DAD}"/>
              </a:ext>
              <a:ext uri="{C183D7F6-B498-43B3-948B-1728B52AA6E4}">
                <adec:decorative xmlns:adec="http://schemas.microsoft.com/office/drawing/2017/decorative" val="1"/>
              </a:ext>
            </a:extLst>
          </p:cNvPr>
          <p:cNvSpPr/>
          <p:nvPr/>
        </p:nvSpPr>
        <p:spPr>
          <a:xfrm>
            <a:off x="8896965" y="1626891"/>
            <a:ext cx="411360" cy="411360"/>
          </a:xfrm>
          <a:custGeom>
            <a:avLst/>
            <a:gdLst>
              <a:gd name="connsiteX0" fmla="*/ 169068 w 338136"/>
              <a:gd name="connsiteY0" fmla="*/ 0 h 338136"/>
              <a:gd name="connsiteX1" fmla="*/ 338137 w 338136"/>
              <a:gd name="connsiteY1" fmla="*/ 169068 h 338136"/>
              <a:gd name="connsiteX2" fmla="*/ 169068 w 338136"/>
              <a:gd name="connsiteY2" fmla="*/ 338137 h 338136"/>
              <a:gd name="connsiteX3" fmla="*/ 0 w 338136"/>
              <a:gd name="connsiteY3" fmla="*/ 169068 h 338136"/>
              <a:gd name="connsiteX4" fmla="*/ 169068 w 338136"/>
              <a:gd name="connsiteY4" fmla="*/ 0 h 338136"/>
              <a:gd name="connsiteX5" fmla="*/ 223508 w 338136"/>
              <a:gd name="connsiteY5" fmla="*/ 117841 h 338136"/>
              <a:gd name="connsiteX6" fmla="*/ 147935 w 338136"/>
              <a:gd name="connsiteY6" fmla="*/ 193414 h 338136"/>
              <a:gd name="connsiteX7" fmla="*/ 114628 w 338136"/>
              <a:gd name="connsiteY7" fmla="*/ 160108 h 338136"/>
              <a:gd name="connsiteX8" fmla="*/ 96707 w 338136"/>
              <a:gd name="connsiteY8" fmla="*/ 160740 h 338136"/>
              <a:gd name="connsiteX9" fmla="*/ 96707 w 338136"/>
              <a:gd name="connsiteY9" fmla="*/ 178029 h 338136"/>
              <a:gd name="connsiteX10" fmla="*/ 138974 w 338136"/>
              <a:gd name="connsiteY10" fmla="*/ 220296 h 338136"/>
              <a:gd name="connsiteX11" fmla="*/ 156895 w 338136"/>
              <a:gd name="connsiteY11" fmla="*/ 220296 h 338136"/>
              <a:gd name="connsiteX12" fmla="*/ 241430 w 338136"/>
              <a:gd name="connsiteY12" fmla="*/ 135762 h 338136"/>
              <a:gd name="connsiteX13" fmla="*/ 242062 w 338136"/>
              <a:gd name="connsiteY13" fmla="*/ 117841 h 338136"/>
              <a:gd name="connsiteX14" fmla="*/ 224141 w 338136"/>
              <a:gd name="connsiteY14" fmla="*/ 117208 h 338136"/>
              <a:gd name="connsiteX15" fmla="*/ 223508 w 338136"/>
              <a:gd name="connsiteY15" fmla="*/ 117841 h 33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8136" h="338136">
                <a:moveTo>
                  <a:pt x="169068" y="0"/>
                </a:moveTo>
                <a:cubicBezTo>
                  <a:pt x="262445" y="0"/>
                  <a:pt x="338137" y="75692"/>
                  <a:pt x="338137" y="169068"/>
                </a:cubicBezTo>
                <a:cubicBezTo>
                  <a:pt x="338137" y="262445"/>
                  <a:pt x="262445" y="338137"/>
                  <a:pt x="169068" y="338137"/>
                </a:cubicBezTo>
                <a:cubicBezTo>
                  <a:pt x="75692" y="338137"/>
                  <a:pt x="0" y="262445"/>
                  <a:pt x="0" y="169068"/>
                </a:cubicBezTo>
                <a:cubicBezTo>
                  <a:pt x="0" y="75692"/>
                  <a:pt x="75692" y="0"/>
                  <a:pt x="169068" y="0"/>
                </a:cubicBezTo>
                <a:close/>
                <a:moveTo>
                  <a:pt x="223508" y="117841"/>
                </a:moveTo>
                <a:lnTo>
                  <a:pt x="147935" y="193414"/>
                </a:lnTo>
                <a:lnTo>
                  <a:pt x="114628" y="160108"/>
                </a:lnTo>
                <a:cubicBezTo>
                  <a:pt x="109505" y="155333"/>
                  <a:pt x="101481" y="155617"/>
                  <a:pt x="96707" y="160740"/>
                </a:cubicBezTo>
                <a:cubicBezTo>
                  <a:pt x="92169" y="165609"/>
                  <a:pt x="92169" y="173160"/>
                  <a:pt x="96707" y="178029"/>
                </a:cubicBezTo>
                <a:lnTo>
                  <a:pt x="138974" y="220296"/>
                </a:lnTo>
                <a:cubicBezTo>
                  <a:pt x="143925" y="225241"/>
                  <a:pt x="151945" y="225241"/>
                  <a:pt x="156895" y="220296"/>
                </a:cubicBezTo>
                <a:lnTo>
                  <a:pt x="241430" y="135762"/>
                </a:lnTo>
                <a:cubicBezTo>
                  <a:pt x="246552" y="130988"/>
                  <a:pt x="246836" y="122964"/>
                  <a:pt x="242062" y="117841"/>
                </a:cubicBezTo>
                <a:cubicBezTo>
                  <a:pt x="237287" y="112717"/>
                  <a:pt x="229265" y="112434"/>
                  <a:pt x="224141" y="117208"/>
                </a:cubicBezTo>
                <a:cubicBezTo>
                  <a:pt x="223923" y="117411"/>
                  <a:pt x="223711" y="117622"/>
                  <a:pt x="223508" y="117841"/>
                </a:cubicBezTo>
                <a:close/>
              </a:path>
            </a:pathLst>
          </a:custGeom>
          <a:gradFill flip="none" rotWithShape="1">
            <a:gsLst>
              <a:gs pos="0">
                <a:srgbClr val="93D1AB"/>
              </a:gs>
              <a:gs pos="32000">
                <a:srgbClr val="57B9C5"/>
              </a:gs>
              <a:gs pos="94000">
                <a:srgbClr val="0F656B"/>
              </a:gs>
            </a:gsLst>
            <a:path path="circle">
              <a:fillToRect r="100000" b="100000"/>
            </a:path>
            <a:tileRect l="-100000" t="-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5" name="Rectangle: Rounded Corners 84">
            <a:extLst>
              <a:ext uri="{FF2B5EF4-FFF2-40B4-BE49-F238E27FC236}">
                <a16:creationId xmlns:a16="http://schemas.microsoft.com/office/drawing/2014/main" id="{A4C54B19-8CC8-B636-789B-F3777537B480}"/>
              </a:ext>
              <a:ext uri="{C183D7F6-B498-43B3-948B-1728B52AA6E4}">
                <adec:decorative xmlns:adec="http://schemas.microsoft.com/office/drawing/2017/decorative" val="1"/>
              </a:ext>
            </a:extLst>
          </p:cNvPr>
          <p:cNvSpPr/>
          <p:nvPr/>
        </p:nvSpPr>
        <p:spPr bwMode="auto">
          <a:xfrm>
            <a:off x="515143" y="4851400"/>
            <a:ext cx="11164888" cy="1417638"/>
          </a:xfrm>
          <a:prstGeom prst="roundRect">
            <a:avLst>
              <a:gd name="adj" fmla="val 8067"/>
            </a:avLst>
          </a:prstGeom>
          <a:gradFill flip="none" rotWithShape="1">
            <a:gsLst>
              <a:gs pos="0">
                <a:srgbClr val="8DC8E8">
                  <a:alpha val="60000"/>
                </a:srgbClr>
              </a:gs>
              <a:gs pos="22465">
                <a:srgbClr val="8DC8E8">
                  <a:alpha val="37112"/>
                </a:srgbClr>
              </a:gs>
              <a:gs pos="41583">
                <a:srgbClr val="D4EC8E">
                  <a:alpha val="0"/>
                </a:srgbClr>
              </a:gs>
              <a:gs pos="48805">
                <a:srgbClr val="D4EC8E">
                  <a:alpha val="0"/>
                </a:srgbClr>
              </a:gs>
              <a:gs pos="55970">
                <a:srgbClr val="D4EC8E">
                  <a:alpha val="0"/>
                </a:srgbClr>
              </a:gs>
              <a:gs pos="100000">
                <a:srgbClr val="D4EC8E">
                  <a:alpha val="32000"/>
                </a:srgbClr>
              </a:gs>
            </a:gsLst>
            <a:lin ang="18900000" scaled="1"/>
            <a:tileRect/>
          </a:gradFill>
          <a:ln w="28575">
            <a:solidFill>
              <a:schemeClr val="bg1"/>
            </a:solidFill>
            <a:miter lim="400000"/>
          </a:ln>
          <a:effectLst>
            <a:outerShdw blurRad="377557" sx="102000" sy="102000" algn="ctr" rotWithShape="0">
              <a:schemeClr val="bg1">
                <a:lumMod val="85000"/>
                <a:alpha val="40000"/>
              </a:schemeClr>
            </a:outerShdw>
          </a:effectLst>
        </p:spPr>
        <p:txBody>
          <a:bodyPr lIns="146304" tIns="146304" rIns="146304" bIns="146304"/>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err="1">
              <a:ln>
                <a:noFill/>
              </a:ln>
              <a:solidFill>
                <a:srgbClr val="091F2C"/>
              </a:solidFill>
              <a:effectLst/>
              <a:uLnTx/>
              <a:uFillTx/>
              <a:latin typeface="Segoe Sans Text"/>
              <a:ea typeface="+mn-ea"/>
              <a:cs typeface="+mn-cs"/>
            </a:endParaRPr>
          </a:p>
        </p:txBody>
      </p:sp>
      <p:sp>
        <p:nvSpPr>
          <p:cNvPr id="100" name="Oval 99">
            <a:extLst>
              <a:ext uri="{FF2B5EF4-FFF2-40B4-BE49-F238E27FC236}">
                <a16:creationId xmlns:a16="http://schemas.microsoft.com/office/drawing/2014/main" id="{37336D29-7C31-CE61-71EB-779A3CB7C63D}"/>
              </a:ext>
              <a:ext uri="{C183D7F6-B498-43B3-948B-1728B52AA6E4}">
                <adec:decorative xmlns:adec="http://schemas.microsoft.com/office/drawing/2017/decorative" val="1"/>
              </a:ext>
            </a:extLst>
          </p:cNvPr>
          <p:cNvSpPr/>
          <p:nvPr/>
        </p:nvSpPr>
        <p:spPr bwMode="auto">
          <a:xfrm>
            <a:off x="697546" y="5332022"/>
            <a:ext cx="751278" cy="751278"/>
          </a:xfrm>
          <a:prstGeom prst="ellipse">
            <a:avLst/>
          </a:prstGeom>
          <a:solidFill>
            <a:srgbClr val="F4F3F5"/>
          </a:solidFill>
          <a:ln w="9525">
            <a:noFill/>
            <a:headEnd type="none" w="med" len="med"/>
            <a:tailEnd type="none" w="med" len="med"/>
          </a:ln>
          <a:effectLst>
            <a:innerShdw blurRad="139700" dist="50800" dir="13500000">
              <a:schemeClr val="bg1">
                <a:lumMod val="65000"/>
                <a:alpha val="40000"/>
              </a:scheme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Sans Text"/>
              <a:ea typeface="+mn-ea"/>
              <a:cs typeface="Segoe UI" pitchFamily="34" charset="0"/>
            </a:endParaRPr>
          </a:p>
        </p:txBody>
      </p:sp>
      <p:graphicFrame>
        <p:nvGraphicFramePr>
          <p:cNvPr id="94" name="Table 93">
            <a:extLst>
              <a:ext uri="{FF2B5EF4-FFF2-40B4-BE49-F238E27FC236}">
                <a16:creationId xmlns:a16="http://schemas.microsoft.com/office/drawing/2014/main" id="{23DA9EEB-F858-6361-ED8E-E340CB23F0D1}"/>
              </a:ext>
            </a:extLst>
          </p:cNvPr>
          <p:cNvGraphicFramePr>
            <a:graphicFrameLocks noGrp="1"/>
          </p:cNvGraphicFramePr>
          <p:nvPr>
            <p:extLst>
              <p:ext uri="{D42A27DB-BD31-4B8C-83A1-F6EECF244321}">
                <p14:modId xmlns:p14="http://schemas.microsoft.com/office/powerpoint/2010/main" val="534485862"/>
              </p:ext>
            </p:extLst>
          </p:nvPr>
        </p:nvGraphicFramePr>
        <p:xfrm>
          <a:off x="702627" y="2228458"/>
          <a:ext cx="10789920" cy="2590800"/>
        </p:xfrm>
        <a:graphic>
          <a:graphicData uri="http://schemas.openxmlformats.org/drawingml/2006/table">
            <a:tbl>
              <a:tblPr firstRow="1" bandRow="1">
                <a:tableStyleId>{2D5ABB26-0587-4C30-8999-92F81FD0307C}</a:tableStyleId>
              </a:tblPr>
              <a:tblGrid>
                <a:gridCol w="2697480">
                  <a:extLst>
                    <a:ext uri="{9D8B030D-6E8A-4147-A177-3AD203B41FA5}">
                      <a16:colId xmlns:a16="http://schemas.microsoft.com/office/drawing/2014/main" val="2178040402"/>
                    </a:ext>
                  </a:extLst>
                </a:gridCol>
                <a:gridCol w="2697480">
                  <a:extLst>
                    <a:ext uri="{9D8B030D-6E8A-4147-A177-3AD203B41FA5}">
                      <a16:colId xmlns:a16="http://schemas.microsoft.com/office/drawing/2014/main" val="4212573709"/>
                    </a:ext>
                  </a:extLst>
                </a:gridCol>
                <a:gridCol w="2697480">
                  <a:extLst>
                    <a:ext uri="{9D8B030D-6E8A-4147-A177-3AD203B41FA5}">
                      <a16:colId xmlns:a16="http://schemas.microsoft.com/office/drawing/2014/main" val="1108253993"/>
                    </a:ext>
                  </a:extLst>
                </a:gridCol>
                <a:gridCol w="2697480">
                  <a:extLst>
                    <a:ext uri="{9D8B030D-6E8A-4147-A177-3AD203B41FA5}">
                      <a16:colId xmlns:a16="http://schemas.microsoft.com/office/drawing/2014/main" val="1683191484"/>
                    </a:ext>
                  </a:extLst>
                </a:gridCol>
              </a:tblGrid>
              <a:tr h="1005840">
                <a:tc>
                  <a:txBody>
                    <a:bodyPr/>
                    <a:lstStyle/>
                    <a:p>
                      <a:pPr algn="l"/>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Unify provider</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data into one data</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estate for analytics</a:t>
                      </a:r>
                    </a:p>
                  </a:txBody>
                  <a:tcPr anchor="ctr">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l"/>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Build fit-for-purpose industry analytics</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and AI mode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l"/>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Scale</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transformative</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analytics applic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noFill/>
                  </a:tcPr>
                </a:tc>
                <a:tc>
                  <a:txBody>
                    <a:bodyPr/>
                    <a:lstStyle/>
                    <a:p>
                      <a:pPr algn="l"/>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Democratize</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analytics responsibly</a:t>
                      </a:r>
                      <a:b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br>
                      <a:r>
                        <a:rPr kumimoji="0" lang="en-US" sz="1600" b="1" i="0" u="none" strike="noStrike" kern="1200" cap="none" spc="0" normalizeH="0" baseline="0" dirty="0">
                          <a:ln>
                            <a:noFill/>
                          </a:ln>
                          <a:solidFill>
                            <a:schemeClr val="tx1"/>
                          </a:solidFill>
                          <a:effectLst/>
                          <a:uLnTx/>
                          <a:uFillTx/>
                          <a:latin typeface="+mj-lt"/>
                          <a:ea typeface="+mn-ea"/>
                          <a:cs typeface="Segoe UI" panose="020B0502040204020203" pitchFamily="34" charset="0"/>
                        </a:rPr>
                        <a:t>to build trust</a:t>
                      </a:r>
                    </a:p>
                  </a:txBody>
                  <a:tcPr anchor="ctr">
                    <a:lnL w="12700" cap="flat" cmpd="sng" algn="ctr">
                      <a:solidFill>
                        <a:schemeClr val="bg1"/>
                      </a:solidFill>
                      <a:prstDash val="solid"/>
                      <a:round/>
                      <a:headEnd type="none" w="med" len="med"/>
                      <a:tailEnd type="none" w="med" len="med"/>
                    </a:lnL>
                    <a:lnB w="12700" cap="flat" cmpd="sng" algn="ctr">
                      <a:noFill/>
                      <a:prstDash val="solid"/>
                      <a:round/>
                      <a:headEnd type="none" w="med" len="med"/>
                      <a:tailEnd type="none" w="med" len="med"/>
                    </a:lnB>
                    <a:noFill/>
                  </a:tcPr>
                </a:tc>
                <a:extLst>
                  <a:ext uri="{0D108BD9-81ED-4DB2-BD59-A6C34878D82A}">
                    <a16:rowId xmlns:a16="http://schemas.microsoft.com/office/drawing/2014/main" val="1301362482"/>
                  </a:ext>
                </a:extLst>
              </a:tr>
              <a:tr h="370840">
                <a:tc>
                  <a:txBody>
                    <a:bodyPr/>
                    <a:lstStyle/>
                    <a:p>
                      <a:pPr algn="l"/>
                      <a:r>
                        <a:rPr lang="en-US" sz="1400" dirty="0">
                          <a:solidFill>
                            <a:schemeClr val="accent2"/>
                          </a:solidFill>
                        </a:rPr>
                        <a:t>Centralize and curate all your data in an open and governed hub that can virtualize data from Azure or other platform providers and enable the same copy of data to be used </a:t>
                      </a:r>
                      <a:br>
                        <a:rPr lang="en-US" sz="1400" dirty="0">
                          <a:solidFill>
                            <a:schemeClr val="accent2"/>
                          </a:solidFill>
                        </a:rPr>
                      </a:br>
                      <a:r>
                        <a:rPr lang="en-US" sz="1400" dirty="0">
                          <a:solidFill>
                            <a:schemeClr val="accent2"/>
                          </a:solidFill>
                        </a:rPr>
                        <a:t>across workloads.</a:t>
                      </a:r>
                    </a:p>
                  </a:txBody>
                  <a:tcPr>
                    <a:lnR w="635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tcPr>
                </a:tc>
                <a:tc>
                  <a:txBody>
                    <a:bodyPr/>
                    <a:lstStyle/>
                    <a:p>
                      <a:pPr algn="l"/>
                      <a:r>
                        <a:rPr lang="en-US" sz="1400" dirty="0">
                          <a:solidFill>
                            <a:schemeClr val="accent2"/>
                          </a:solidFill>
                        </a:rPr>
                        <a:t>Give everyone the ability to fuel their own, tailor-made AI experiences in Azure AI Studio with curated data flowing from </a:t>
                      </a:r>
                      <a:br>
                        <a:rPr lang="en-US" sz="1400" dirty="0">
                          <a:solidFill>
                            <a:schemeClr val="accent2"/>
                          </a:solidFill>
                        </a:rPr>
                      </a:br>
                      <a:r>
                        <a:rPr lang="en-US" sz="1400" dirty="0">
                          <a:solidFill>
                            <a:schemeClr val="accent2"/>
                          </a:solidFill>
                        </a:rPr>
                        <a:t>Microsoft Fabric.</a:t>
                      </a:r>
                    </a:p>
                  </a:txBody>
                  <a:tcP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tcPr>
                </a:tc>
                <a:tc>
                  <a:txBody>
                    <a:bodyPr/>
                    <a:lstStyle/>
                    <a:p>
                      <a:pPr algn="l"/>
                      <a:r>
                        <a:rPr lang="en-US" sz="1400" dirty="0">
                          <a:solidFill>
                            <a:schemeClr val="accent2"/>
                          </a:solidFill>
                        </a:rPr>
                        <a:t>Gain visibility and uncover insights with responsible, self-service access to power analytics tools—accelerated by Copilot and integrated into the apps you know and trust.</a:t>
                      </a:r>
                    </a:p>
                  </a:txBody>
                  <a:tcPr>
                    <a:lnL w="6350" cap="flat" cmpd="sng" algn="ctr">
                      <a:solidFill>
                        <a:schemeClr val="bg1">
                          <a:lumMod val="85000"/>
                        </a:schemeClr>
                      </a:solidFill>
                      <a:prstDash val="dash"/>
                      <a:round/>
                      <a:headEnd type="none" w="med" len="med"/>
                      <a:tailEnd type="none" w="med" len="med"/>
                    </a:lnL>
                    <a:lnR w="6350" cap="flat" cmpd="sng" algn="ctr">
                      <a:solidFill>
                        <a:schemeClr val="bg1">
                          <a:lumMod val="85000"/>
                        </a:schemeClr>
                      </a:solidFill>
                      <a:prstDash val="dash"/>
                      <a:round/>
                      <a:headEnd type="none" w="med" len="med"/>
                      <a:tailEnd type="none" w="med" len="med"/>
                    </a:lnR>
                    <a:lnT w="12700" cap="flat" cmpd="sng" algn="ctr">
                      <a:noFill/>
                      <a:prstDash val="solid"/>
                      <a:round/>
                      <a:headEnd type="none" w="med" len="med"/>
                      <a:tailEnd type="none" w="med" len="med"/>
                    </a:lnT>
                  </a:tcPr>
                </a:tc>
                <a:tc>
                  <a:txBody>
                    <a:bodyPr/>
                    <a:lstStyle/>
                    <a:p>
                      <a:pPr algn="l"/>
                      <a:r>
                        <a:rPr lang="en-US" sz="1400" dirty="0">
                          <a:solidFill>
                            <a:schemeClr val="accent2"/>
                          </a:solidFill>
                        </a:rPr>
                        <a:t>Give everyone the ability to unlock insights in a unified platform that has industry-leading governance and compliance to help you </a:t>
                      </a:r>
                      <a:br>
                        <a:rPr lang="en-US" sz="1400" dirty="0">
                          <a:solidFill>
                            <a:schemeClr val="accent2"/>
                          </a:solidFill>
                        </a:rPr>
                      </a:br>
                      <a:r>
                        <a:rPr lang="en-US" sz="1400" dirty="0">
                          <a:solidFill>
                            <a:schemeClr val="accent2"/>
                          </a:solidFill>
                        </a:rPr>
                        <a:t>stay in control.</a:t>
                      </a:r>
                    </a:p>
                  </a:txBody>
                  <a:tcPr>
                    <a:lnL w="6350" cap="flat" cmpd="sng" algn="ctr">
                      <a:solidFill>
                        <a:schemeClr val="bg1">
                          <a:lumMod val="85000"/>
                        </a:schemeClr>
                      </a:solidFill>
                      <a:prstDash val="dash"/>
                      <a:round/>
                      <a:headEnd type="none" w="med" len="med"/>
                      <a:tailEnd type="none" w="med" len="med"/>
                    </a:lnL>
                    <a:lnT w="12700" cap="flat" cmpd="sng" algn="ctr">
                      <a:noFill/>
                      <a:prstDash val="solid"/>
                      <a:round/>
                      <a:headEnd type="none" w="med" len="med"/>
                      <a:tailEnd type="none" w="med" len="med"/>
                    </a:lnT>
                  </a:tcPr>
                </a:tc>
                <a:extLst>
                  <a:ext uri="{0D108BD9-81ED-4DB2-BD59-A6C34878D82A}">
                    <a16:rowId xmlns:a16="http://schemas.microsoft.com/office/drawing/2014/main" val="3904309026"/>
                  </a:ext>
                </a:extLst>
              </a:tr>
            </a:tbl>
          </a:graphicData>
        </a:graphic>
      </p:graphicFrame>
      <p:pic>
        <p:nvPicPr>
          <p:cNvPr id="106" name="Picture 105" descr="Microsoft Fabric logo">
            <a:extLst>
              <a:ext uri="{FF2B5EF4-FFF2-40B4-BE49-F238E27FC236}">
                <a16:creationId xmlns:a16="http://schemas.microsoft.com/office/drawing/2014/main" id="{88C06A2C-A5E2-7BD2-1F7A-AAF35B32D179}"/>
              </a:ext>
              <a:ext uri="{C183D7F6-B498-43B3-948B-1728B52AA6E4}">
                <adec:decorative xmlns:adec="http://schemas.microsoft.com/office/drawing/2017/decorative" val="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9345" y="5483822"/>
            <a:ext cx="447680" cy="447678"/>
          </a:xfrm>
          <a:prstGeom prst="rect">
            <a:avLst/>
          </a:prstGeom>
          <a:ln w="4396" cap="flat">
            <a:noFill/>
            <a:prstDash val="solid"/>
            <a:miter/>
          </a:ln>
        </p:spPr>
      </p:pic>
      <p:sp>
        <p:nvSpPr>
          <p:cNvPr id="111" name="Plus Sign 110" descr="Plus">
            <a:extLst>
              <a:ext uri="{FF2B5EF4-FFF2-40B4-BE49-F238E27FC236}">
                <a16:creationId xmlns:a16="http://schemas.microsoft.com/office/drawing/2014/main" id="{8AE7CFD4-95C8-8A0F-8097-A01635A2DF82}"/>
              </a:ext>
            </a:extLst>
          </p:cNvPr>
          <p:cNvSpPr/>
          <p:nvPr/>
        </p:nvSpPr>
        <p:spPr bwMode="auto">
          <a:xfrm>
            <a:off x="1765400" y="5479061"/>
            <a:ext cx="457200" cy="457200"/>
          </a:xfrm>
          <a:prstGeom prst="mathPlus">
            <a:avLst>
              <a:gd name="adj1" fmla="val 11117"/>
            </a:avLst>
          </a:prstGeom>
          <a:solidFill>
            <a:schemeClr val="accent6">
              <a:lumMod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D2D2D2">
                  <a:lumMod val="10000"/>
                </a:srgbClr>
              </a:solidFill>
              <a:effectLst/>
              <a:uLnTx/>
              <a:uFillTx/>
              <a:latin typeface="Segoe Sans Text"/>
              <a:ea typeface="Segoe UI" pitchFamily="34" charset="0"/>
              <a:cs typeface="Segoe UI" pitchFamily="34" charset="0"/>
            </a:endParaRPr>
          </a:p>
        </p:txBody>
      </p:sp>
      <p:sp>
        <p:nvSpPr>
          <p:cNvPr id="115" name="TextBox 114">
            <a:extLst>
              <a:ext uri="{FF2B5EF4-FFF2-40B4-BE49-F238E27FC236}">
                <a16:creationId xmlns:a16="http://schemas.microsoft.com/office/drawing/2014/main" id="{AEE7C7CC-7950-C7BB-5CB0-DB968D4C1B9A}"/>
              </a:ext>
            </a:extLst>
          </p:cNvPr>
          <p:cNvSpPr txBox="1"/>
          <p:nvPr/>
        </p:nvSpPr>
        <p:spPr>
          <a:xfrm>
            <a:off x="2539176" y="5461439"/>
            <a:ext cx="4742997" cy="492443"/>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2D2D2">
                    <a:lumMod val="10000"/>
                  </a:srgbClr>
                </a:solidFill>
                <a:effectLst/>
                <a:uLnTx/>
                <a:uFillTx/>
                <a:latin typeface="Segoe Sans Text"/>
                <a:ea typeface="+mn-ea"/>
                <a:cs typeface="+mn-cs"/>
              </a:rPr>
              <a:t>Financial services data incorporated within Fabric from major market data providers such as:</a:t>
            </a:r>
          </a:p>
        </p:txBody>
      </p:sp>
      <p:pic>
        <p:nvPicPr>
          <p:cNvPr id="118" name="Picture 117" descr="LSEG logo">
            <a:extLst>
              <a:ext uri="{FF2B5EF4-FFF2-40B4-BE49-F238E27FC236}">
                <a16:creationId xmlns:a16="http://schemas.microsoft.com/office/drawing/2014/main" id="{6115FC21-D60E-26BC-5089-60F896C88D21}"/>
              </a:ext>
            </a:extLst>
          </p:cNvPr>
          <p:cNvPicPr>
            <a:picLocks noChangeAspect="1"/>
          </p:cNvPicPr>
          <p:nvPr/>
        </p:nvPicPr>
        <p:blipFill>
          <a:blip r:embed="rId5">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868524" y="5516575"/>
            <a:ext cx="1439439" cy="382171"/>
          </a:xfrm>
          <a:prstGeom prst="rect">
            <a:avLst/>
          </a:prstGeom>
        </p:spPr>
      </p:pic>
      <p:pic>
        <p:nvPicPr>
          <p:cNvPr id="120" name="Picture 119" descr="Moody's logo">
            <a:extLst>
              <a:ext uri="{FF2B5EF4-FFF2-40B4-BE49-F238E27FC236}">
                <a16:creationId xmlns:a16="http://schemas.microsoft.com/office/drawing/2014/main" id="{A892FA57-B71D-6225-2369-3813B5F6BCDC}"/>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07444" y="5570604"/>
            <a:ext cx="1290083" cy="274113"/>
          </a:xfrm>
          <a:prstGeom prst="rect">
            <a:avLst/>
          </a:prstGeom>
        </p:spPr>
      </p:pic>
    </p:spTree>
    <p:extLst>
      <p:ext uri="{BB962C8B-B14F-4D97-AF65-F5344CB8AC3E}">
        <p14:creationId xmlns:p14="http://schemas.microsoft.com/office/powerpoint/2010/main" val="230105709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B5115-91C9-EEE8-4B99-ED5D76EA496D}"/>
              </a:ext>
            </a:extLst>
          </p:cNvPr>
          <p:cNvSpPr>
            <a:spLocks noGrp="1"/>
          </p:cNvSpPr>
          <p:nvPr>
            <p:ph type="title"/>
          </p:nvPr>
        </p:nvSpPr>
        <p:spPr>
          <a:xfrm>
            <a:off x="666703" y="2754653"/>
            <a:ext cx="4127692" cy="1107996"/>
          </a:xfrm>
        </p:spPr>
        <p:txBody>
          <a:bodyPr wrap="square">
            <a:noAutofit/>
          </a:bodyPr>
          <a:lstStyle/>
          <a:p>
            <a:r>
              <a:rPr lang="en-GB" sz="4000" noProof="0" dirty="0">
                <a:solidFill>
                  <a:schemeClr val="tx1"/>
                </a:solidFill>
              </a:rPr>
              <a:t>Top Use </a:t>
            </a:r>
            <a:r>
              <a:rPr lang="en-GB" sz="4000" dirty="0"/>
              <a:t>C</a:t>
            </a:r>
            <a:r>
              <a:rPr lang="en-GB" sz="4000" noProof="0" dirty="0" err="1">
                <a:solidFill>
                  <a:schemeClr val="tx1"/>
                </a:solidFill>
              </a:rPr>
              <a:t>ases</a:t>
            </a:r>
            <a:r>
              <a:rPr lang="en-GB" sz="4000" noProof="0" dirty="0">
                <a:solidFill>
                  <a:schemeClr val="tx1"/>
                </a:solidFill>
              </a:rPr>
              <a:t> for</a:t>
            </a:r>
            <a:br>
              <a:rPr lang="en-GB" sz="4000" noProof="0" dirty="0">
                <a:solidFill>
                  <a:schemeClr val="tx1"/>
                </a:solidFill>
              </a:rPr>
            </a:br>
            <a:r>
              <a:rPr lang="en-GB" sz="4000" b="0" spc="-50" dirty="0">
                <a:ln w="3175">
                  <a:noFill/>
                </a:ln>
                <a:gradFill>
                  <a:gsLst>
                    <a:gs pos="25000">
                      <a:srgbClr val="8DC8E8"/>
                    </a:gs>
                    <a:gs pos="75000">
                      <a:srgbClr val="CD98CF"/>
                    </a:gs>
                  </a:gsLst>
                  <a:lin ang="2700000" scaled="0"/>
                </a:gradFill>
                <a:ea typeface="+mj-lt"/>
                <a:cs typeface="Segoe UI Semibold" panose="020B0702040204020203" pitchFamily="34" charset="0"/>
              </a:rPr>
              <a:t>Generative AI</a:t>
            </a:r>
            <a:endParaRPr lang="en-US" sz="4000" dirty="0">
              <a:solidFill>
                <a:schemeClr val="tx1"/>
              </a:solidFill>
            </a:endParaRPr>
          </a:p>
        </p:txBody>
      </p:sp>
      <p:sp>
        <p:nvSpPr>
          <p:cNvPr id="20" name="Rectangle: Rounded Corners 19">
            <a:extLst>
              <a:ext uri="{FF2B5EF4-FFF2-40B4-BE49-F238E27FC236}">
                <a16:creationId xmlns:a16="http://schemas.microsoft.com/office/drawing/2014/main" id="{FC4D6397-884B-1F56-C53D-BFCD6F060C78}"/>
              </a:ext>
            </a:extLst>
          </p:cNvPr>
          <p:cNvSpPr>
            <a:spLocks/>
          </p:cNvSpPr>
          <p:nvPr/>
        </p:nvSpPr>
        <p:spPr bwMode="auto">
          <a:xfrm>
            <a:off x="5664200" y="798286"/>
            <a:ext cx="5702300" cy="5232400"/>
          </a:xfrm>
          <a:prstGeom prst="roundRect">
            <a:avLst>
              <a:gd name="adj" fmla="val 4535"/>
            </a:avLst>
          </a:prstGeom>
          <a:noFill/>
          <a:ln w="38100" cap="rnd">
            <a:gradFill flip="none" rotWithShape="1">
              <a:gsLst>
                <a:gs pos="40000">
                  <a:srgbClr val="8DC8E8"/>
                </a:gs>
                <a:gs pos="10000">
                  <a:srgbClr val="D59ED7"/>
                </a:gs>
              </a:gsLst>
              <a:path path="circle">
                <a:fillToRect l="100000" t="100000"/>
              </a:path>
              <a:tileRect r="-100000" b="-100000"/>
            </a:gradFill>
            <a:headEnd type="none" w="med" len="med"/>
            <a:tailEnd type="none" w="med" len="med"/>
          </a:ln>
          <a:effectLst>
            <a:outerShdw blurRad="127000" dist="254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30480" rIns="0" bIns="0" numCol="1" spcCol="0" rtlCol="0" fromWordArt="0" anchor="ctr" anchorCtr="0" forceAA="0" compatLnSpc="1">
            <a:prstTxWarp prst="textNoShape">
              <a:avLst/>
            </a:prstTxWarp>
            <a:noAutofit/>
          </a:bodyPr>
          <a:lstStyle/>
          <a:p>
            <a:pPr algn="ctr" defTabSz="1740603">
              <a:spcBef>
                <a:spcPts val="373"/>
              </a:spcBef>
            </a:pPr>
            <a:endParaRPr lang="en-US" sz="2200">
              <a:gradFill>
                <a:gsLst>
                  <a:gs pos="37063">
                    <a:srgbClr val="FFFFFF"/>
                  </a:gs>
                  <a:gs pos="20280">
                    <a:srgbClr val="FFFFFF"/>
                  </a:gs>
                </a:gsLst>
                <a:lin ang="0" scaled="0"/>
              </a:gradFill>
              <a:latin typeface="+mj-lt"/>
            </a:endParaRPr>
          </a:p>
        </p:txBody>
      </p:sp>
      <p:sp>
        <p:nvSpPr>
          <p:cNvPr id="29" name="TextBox 28">
            <a:hlinkClick r:id="" action="ppaction://noaction"/>
            <a:extLst>
              <a:ext uri="{FF2B5EF4-FFF2-40B4-BE49-F238E27FC236}">
                <a16:creationId xmlns:a16="http://schemas.microsoft.com/office/drawing/2014/main" id="{8088F288-DA3F-328E-B670-B5B130507CEF}"/>
              </a:ext>
            </a:extLst>
          </p:cNvPr>
          <p:cNvSpPr txBox="1">
            <a:spLocks/>
          </p:cNvSpPr>
          <p:nvPr/>
        </p:nvSpPr>
        <p:spPr>
          <a:xfrm>
            <a:off x="6878400" y="1082183"/>
            <a:ext cx="389120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Segoe UI"/>
              </a:rPr>
              <a:t>Enterprise ChatGP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effectLst/>
                <a:uLnTx/>
                <a:uFillTx/>
                <a:ea typeface="+mn-ea"/>
                <a:cs typeface="Segoe UI"/>
              </a:rPr>
              <a:t>Better knowledge mining</a:t>
            </a:r>
          </a:p>
        </p:txBody>
      </p:sp>
      <p:sp>
        <p:nvSpPr>
          <p:cNvPr id="30" name="TextBox 29">
            <a:hlinkClick r:id="" action="ppaction://noaction"/>
            <a:extLst>
              <a:ext uri="{FF2B5EF4-FFF2-40B4-BE49-F238E27FC236}">
                <a16:creationId xmlns:a16="http://schemas.microsoft.com/office/drawing/2014/main" id="{F51CB9E8-080F-60B2-D256-732D1A9A7824}"/>
              </a:ext>
            </a:extLst>
          </p:cNvPr>
          <p:cNvSpPr txBox="1">
            <a:spLocks/>
          </p:cNvSpPr>
          <p:nvPr/>
        </p:nvSpPr>
        <p:spPr>
          <a:xfrm>
            <a:off x="6878400" y="2094446"/>
            <a:ext cx="389120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fontAlgn="auto">
              <a:lnSpc>
                <a:spcPct val="100000"/>
              </a:lnSpc>
              <a:spcBef>
                <a:spcPts val="0"/>
              </a:spcBef>
              <a:buClrTx/>
              <a:buSzTx/>
              <a:buFontTx/>
              <a:buNone/>
              <a:tabLst/>
              <a:defRPr kumimoji="0" sz="2200" b="1" i="0" u="none" strike="noStrike" cap="none" spc="0" normalizeH="0" baseline="0">
                <a:ln>
                  <a:noFill/>
                </a:ln>
                <a:solidFill>
                  <a:srgbClr val="FFFFFF"/>
                </a:solidFill>
                <a:effectLst/>
                <a:uLnTx/>
                <a:uFillTx/>
                <a:latin typeface="Segoe UI Semibold"/>
                <a:cs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mj-lt"/>
                <a:ea typeface="+mn-ea"/>
                <a:cs typeface="Segoe UI"/>
              </a:rPr>
              <a:t>Intelligent Call Centers</a:t>
            </a:r>
          </a:p>
          <a:p>
            <a:pPr>
              <a:defRPr/>
            </a:pPr>
            <a:r>
              <a:rPr lang="en-US" sz="2000" b="0">
                <a:solidFill>
                  <a:schemeClr val="tx1"/>
                </a:solidFill>
                <a:latin typeface="+mn-lt"/>
              </a:rPr>
              <a:t>Better analytics and service</a:t>
            </a:r>
          </a:p>
        </p:txBody>
      </p:sp>
      <p:sp>
        <p:nvSpPr>
          <p:cNvPr id="31" name="TextBox 30">
            <a:extLst>
              <a:ext uri="{FF2B5EF4-FFF2-40B4-BE49-F238E27FC236}">
                <a16:creationId xmlns:a16="http://schemas.microsoft.com/office/drawing/2014/main" id="{42340D57-8B70-1CB8-26D0-5BCE92B87961}"/>
              </a:ext>
            </a:extLst>
          </p:cNvPr>
          <p:cNvSpPr txBox="1"/>
          <p:nvPr/>
        </p:nvSpPr>
        <p:spPr>
          <a:xfrm>
            <a:off x="6878400" y="3106709"/>
            <a:ext cx="389120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fontAlgn="auto">
              <a:lnSpc>
                <a:spcPct val="100000"/>
              </a:lnSpc>
              <a:spcBef>
                <a:spcPts val="0"/>
              </a:spcBef>
              <a:buClrTx/>
              <a:buSzTx/>
              <a:buFontTx/>
              <a:buNone/>
              <a:tabLst/>
              <a:defRPr kumimoji="0" sz="2200" b="1" i="0" u="none" strike="noStrike" cap="none" spc="0" normalizeH="0" baseline="0">
                <a:ln>
                  <a:noFill/>
                </a:ln>
                <a:solidFill>
                  <a:srgbClr val="FFFFFF"/>
                </a:solidFill>
                <a:effectLst/>
                <a:uLnTx/>
                <a:uFillTx/>
                <a:latin typeface="Segoe UI Semibold"/>
                <a:cs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spc="-50">
                <a:ln w="3175">
                  <a:noFill/>
                </a:ln>
                <a:gradFill>
                  <a:gsLst>
                    <a:gs pos="25000">
                      <a:srgbClr val="8DC8E8"/>
                    </a:gs>
                    <a:gs pos="75000">
                      <a:srgbClr val="CD98CF"/>
                    </a:gs>
                  </a:gsLst>
                  <a:lin ang="2700000" scaled="0"/>
                </a:gradFill>
                <a:latin typeface="+mj-lt"/>
                <a:ea typeface="+mj-lt"/>
                <a:cs typeface="Segoe UI Semibold" panose="020B0702040204020203" pitchFamily="34" charset="0"/>
              </a:rPr>
              <a:t>Build your own copilot</a:t>
            </a:r>
          </a:p>
          <a:p>
            <a:pPr>
              <a:defRPr/>
            </a:pPr>
            <a:r>
              <a:rPr lang="en-US" sz="2000" b="0" spc="-50">
                <a:ln w="3175">
                  <a:noFill/>
                </a:ln>
                <a:gradFill>
                  <a:gsLst>
                    <a:gs pos="25000">
                      <a:srgbClr val="8DC8E8"/>
                    </a:gs>
                    <a:gs pos="75000">
                      <a:srgbClr val="CD98CF"/>
                    </a:gs>
                  </a:gsLst>
                  <a:lin ang="2700000" scaled="0"/>
                </a:gradFill>
                <a:latin typeface="+mj-lt"/>
                <a:ea typeface="+mj-lt"/>
                <a:cs typeface="Segoe UI Semibold" panose="020B0702040204020203" pitchFamily="34" charset="0"/>
              </a:rPr>
              <a:t>Your data. Your apps. Your people</a:t>
            </a:r>
          </a:p>
        </p:txBody>
      </p:sp>
      <p:sp>
        <p:nvSpPr>
          <p:cNvPr id="32" name="TextBox 31">
            <a:hlinkClick r:id="" action="ppaction://noaction"/>
            <a:extLst>
              <a:ext uri="{FF2B5EF4-FFF2-40B4-BE49-F238E27FC236}">
                <a16:creationId xmlns:a16="http://schemas.microsoft.com/office/drawing/2014/main" id="{7D92CC9A-2C0E-5680-ADBA-97681849F6F4}"/>
              </a:ext>
            </a:extLst>
          </p:cNvPr>
          <p:cNvSpPr txBox="1"/>
          <p:nvPr/>
        </p:nvSpPr>
        <p:spPr>
          <a:xfrm>
            <a:off x="6878400" y="4118972"/>
            <a:ext cx="389120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fontAlgn="auto">
              <a:lnSpc>
                <a:spcPct val="100000"/>
              </a:lnSpc>
              <a:spcBef>
                <a:spcPts val="0"/>
              </a:spcBef>
              <a:buClrTx/>
              <a:buSzTx/>
              <a:buFontTx/>
              <a:buNone/>
              <a:tabLst/>
              <a:defRPr kumimoji="0" sz="2200" b="1" i="0" u="none" strike="noStrike" cap="none" spc="0" normalizeH="0" baseline="0">
                <a:ln>
                  <a:noFill/>
                </a:ln>
                <a:solidFill>
                  <a:srgbClr val="FFFFFF"/>
                </a:solidFill>
                <a:effectLst/>
                <a:uLnTx/>
                <a:uFillTx/>
                <a:latin typeface="Segoe UI Semibold"/>
                <a:cs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mj-lt"/>
                <a:ea typeface="+mn-ea"/>
                <a:cs typeface="Segoe UI"/>
              </a:rPr>
              <a:t>Content Generation</a:t>
            </a:r>
          </a:p>
          <a:p>
            <a:pPr>
              <a:defRPr/>
            </a:pPr>
            <a:r>
              <a:rPr lang="en-US" sz="2000" b="0">
                <a:solidFill>
                  <a:schemeClr val="tx1"/>
                </a:solidFill>
                <a:latin typeface="+mn-lt"/>
              </a:rPr>
              <a:t>New products and services</a:t>
            </a:r>
          </a:p>
        </p:txBody>
      </p:sp>
      <p:sp>
        <p:nvSpPr>
          <p:cNvPr id="33" name="TextBox 32">
            <a:hlinkClick r:id="" action="ppaction://noaction"/>
            <a:extLst>
              <a:ext uri="{FF2B5EF4-FFF2-40B4-BE49-F238E27FC236}">
                <a16:creationId xmlns:a16="http://schemas.microsoft.com/office/drawing/2014/main" id="{F63544AF-2D49-AD0A-5D1A-4246B0626716}"/>
              </a:ext>
            </a:extLst>
          </p:cNvPr>
          <p:cNvSpPr txBox="1"/>
          <p:nvPr/>
        </p:nvSpPr>
        <p:spPr>
          <a:xfrm>
            <a:off x="6878400" y="5131237"/>
            <a:ext cx="3891200" cy="615553"/>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marR="0" lvl="0" indent="0" fontAlgn="auto">
              <a:lnSpc>
                <a:spcPct val="100000"/>
              </a:lnSpc>
              <a:spcBef>
                <a:spcPts val="0"/>
              </a:spcBef>
              <a:buClrTx/>
              <a:buSzTx/>
              <a:buFontTx/>
              <a:buNone/>
              <a:tabLst/>
              <a:defRPr kumimoji="0" sz="2200" b="1" i="0" u="none" strike="noStrike" cap="none" spc="0" normalizeH="0" baseline="0">
                <a:ln>
                  <a:noFill/>
                </a:ln>
                <a:solidFill>
                  <a:srgbClr val="FFFFFF"/>
                </a:solidFill>
                <a:effectLst/>
                <a:uLnTx/>
                <a:uFillTx/>
                <a:latin typeface="Segoe UI Semibold"/>
                <a:cs typeface="Segoe UI"/>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mj-lt"/>
                <a:ea typeface="+mn-ea"/>
                <a:cs typeface="Segoe UI"/>
              </a:rPr>
              <a:t>Hyper-personalization</a:t>
            </a:r>
          </a:p>
          <a:p>
            <a:pPr>
              <a:defRPr/>
            </a:pPr>
            <a:r>
              <a:rPr lang="en-US" sz="2000" b="0">
                <a:solidFill>
                  <a:schemeClr val="tx1"/>
                </a:solidFill>
                <a:latin typeface="+mn-lt"/>
              </a:rPr>
              <a:t>Better sales and marketing</a:t>
            </a:r>
          </a:p>
        </p:txBody>
      </p:sp>
      <p:cxnSp>
        <p:nvCxnSpPr>
          <p:cNvPr id="34" name="Straight Connector 33">
            <a:extLst>
              <a:ext uri="{FF2B5EF4-FFF2-40B4-BE49-F238E27FC236}">
                <a16:creationId xmlns:a16="http://schemas.microsoft.com/office/drawing/2014/main" id="{6537404C-B6FC-FD94-F5A3-FBAA0C15243A}"/>
              </a:ext>
            </a:extLst>
          </p:cNvPr>
          <p:cNvCxnSpPr>
            <a:cxnSpLocks/>
          </p:cNvCxnSpPr>
          <p:nvPr/>
        </p:nvCxnSpPr>
        <p:spPr>
          <a:xfrm flipH="1">
            <a:off x="6878400" y="1896091"/>
            <a:ext cx="3035621" cy="0"/>
          </a:xfrm>
          <a:prstGeom prst="line">
            <a:avLst/>
          </a:prstGeom>
          <a:noFill/>
          <a:ln w="3175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6" name="Straight Connector 45">
            <a:extLst>
              <a:ext uri="{FF2B5EF4-FFF2-40B4-BE49-F238E27FC236}">
                <a16:creationId xmlns:a16="http://schemas.microsoft.com/office/drawing/2014/main" id="{EF9D70F1-0F9A-8437-E1FB-DAFB27A66ECB}"/>
              </a:ext>
            </a:extLst>
          </p:cNvPr>
          <p:cNvCxnSpPr>
            <a:cxnSpLocks/>
          </p:cNvCxnSpPr>
          <p:nvPr/>
        </p:nvCxnSpPr>
        <p:spPr>
          <a:xfrm flipH="1">
            <a:off x="6878400" y="2908354"/>
            <a:ext cx="2968244" cy="0"/>
          </a:xfrm>
          <a:prstGeom prst="line">
            <a:avLst/>
          </a:prstGeom>
          <a:noFill/>
          <a:ln w="3175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7" name="Straight Connector 46">
            <a:extLst>
              <a:ext uri="{FF2B5EF4-FFF2-40B4-BE49-F238E27FC236}">
                <a16:creationId xmlns:a16="http://schemas.microsoft.com/office/drawing/2014/main" id="{8B9EC4E1-228D-93EA-D26E-C5F453CFD40F}"/>
              </a:ext>
            </a:extLst>
          </p:cNvPr>
          <p:cNvCxnSpPr>
            <a:cxnSpLocks/>
          </p:cNvCxnSpPr>
          <p:nvPr/>
        </p:nvCxnSpPr>
        <p:spPr>
          <a:xfrm flipH="1">
            <a:off x="6878400" y="3920617"/>
            <a:ext cx="3035621" cy="0"/>
          </a:xfrm>
          <a:prstGeom prst="line">
            <a:avLst/>
          </a:prstGeom>
          <a:noFill/>
          <a:ln w="3175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48" name="Straight Connector 47">
            <a:extLst>
              <a:ext uri="{FF2B5EF4-FFF2-40B4-BE49-F238E27FC236}">
                <a16:creationId xmlns:a16="http://schemas.microsoft.com/office/drawing/2014/main" id="{7A54FD1A-C683-CAC0-9BA3-9A1FC147A2FF}"/>
              </a:ext>
            </a:extLst>
          </p:cNvPr>
          <p:cNvCxnSpPr>
            <a:cxnSpLocks/>
          </p:cNvCxnSpPr>
          <p:nvPr/>
        </p:nvCxnSpPr>
        <p:spPr>
          <a:xfrm flipH="1">
            <a:off x="6878400" y="4932880"/>
            <a:ext cx="2968244" cy="0"/>
          </a:xfrm>
          <a:prstGeom prst="line">
            <a:avLst/>
          </a:prstGeom>
          <a:noFill/>
          <a:ln w="31750" cap="rnd">
            <a:solidFill>
              <a:srgbClr val="2E404B"/>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69" name="Group 68">
            <a:extLst>
              <a:ext uri="{FF2B5EF4-FFF2-40B4-BE49-F238E27FC236}">
                <a16:creationId xmlns:a16="http://schemas.microsoft.com/office/drawing/2014/main" id="{07FCE576-225A-FCF6-A68E-F5BD8FF65465}"/>
              </a:ext>
            </a:extLst>
          </p:cNvPr>
          <p:cNvGrpSpPr/>
          <p:nvPr/>
        </p:nvGrpSpPr>
        <p:grpSpPr>
          <a:xfrm>
            <a:off x="5896638" y="1037528"/>
            <a:ext cx="704862" cy="704862"/>
            <a:chOff x="5896638" y="1052042"/>
            <a:chExt cx="704862" cy="704862"/>
          </a:xfrm>
        </p:grpSpPr>
        <p:sp>
          <p:nvSpPr>
            <p:cNvPr id="61" name="Oval 60">
              <a:extLst>
                <a:ext uri="{FF2B5EF4-FFF2-40B4-BE49-F238E27FC236}">
                  <a16:creationId xmlns:a16="http://schemas.microsoft.com/office/drawing/2014/main" id="{5ECEC286-A282-AACB-BFAD-8B05CC6AE35E}"/>
                </a:ext>
              </a:extLst>
            </p:cNvPr>
            <p:cNvSpPr/>
            <p:nvPr/>
          </p:nvSpPr>
          <p:spPr bwMode="auto">
            <a:xfrm>
              <a:off x="5896638" y="1052042"/>
              <a:ext cx="704862" cy="704862"/>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68" name="Graphic 66">
              <a:extLst>
                <a:ext uri="{FF2B5EF4-FFF2-40B4-BE49-F238E27FC236}">
                  <a16:creationId xmlns:a16="http://schemas.microsoft.com/office/drawing/2014/main" id="{AD414FAC-A55A-6157-51D9-9D786B1F8507}"/>
                </a:ext>
              </a:extLst>
            </p:cNvPr>
            <p:cNvSpPr/>
            <p:nvPr/>
          </p:nvSpPr>
          <p:spPr>
            <a:xfrm>
              <a:off x="6083050" y="1196949"/>
              <a:ext cx="332038" cy="415048"/>
            </a:xfrm>
            <a:custGeom>
              <a:avLst/>
              <a:gdLst>
                <a:gd name="connsiteX0" fmla="*/ 130969 w 152400"/>
                <a:gd name="connsiteY0" fmla="*/ 114300 h 190500"/>
                <a:gd name="connsiteX1" fmla="*/ 152400 w 152400"/>
                <a:gd name="connsiteY1" fmla="*/ 135731 h 190500"/>
                <a:gd name="connsiteX2" fmla="*/ 152400 w 152400"/>
                <a:gd name="connsiteY2" fmla="*/ 144351 h 190500"/>
                <a:gd name="connsiteX3" fmla="*/ 139951 w 152400"/>
                <a:gd name="connsiteY3" fmla="*/ 171460 h 190500"/>
                <a:gd name="connsiteX4" fmla="*/ 76171 w 152400"/>
                <a:gd name="connsiteY4" fmla="*/ 190500 h 190500"/>
                <a:gd name="connsiteX5" fmla="*/ 12440 w 152400"/>
                <a:gd name="connsiteY5" fmla="*/ 171450 h 190500"/>
                <a:gd name="connsiteX6" fmla="*/ 0 w 152400"/>
                <a:gd name="connsiteY6" fmla="*/ 144370 h 190500"/>
                <a:gd name="connsiteX7" fmla="*/ 0 w 152400"/>
                <a:gd name="connsiteY7" fmla="*/ 135722 h 190500"/>
                <a:gd name="connsiteX8" fmla="*/ 21431 w 152400"/>
                <a:gd name="connsiteY8" fmla="*/ 114300 h 190500"/>
                <a:gd name="connsiteX9" fmla="*/ 130969 w 152400"/>
                <a:gd name="connsiteY9" fmla="*/ 114300 h 190500"/>
                <a:gd name="connsiteX10" fmla="*/ 75200 w 152400"/>
                <a:gd name="connsiteY10" fmla="*/ 76 h 190500"/>
                <a:gd name="connsiteX11" fmla="*/ 76171 w 152400"/>
                <a:gd name="connsiteY11" fmla="*/ 0 h 190500"/>
                <a:gd name="connsiteX12" fmla="*/ 83249 w 152400"/>
                <a:gd name="connsiteY12" fmla="*/ 6172 h 190500"/>
                <a:gd name="connsiteX13" fmla="*/ 83315 w 152400"/>
                <a:gd name="connsiteY13" fmla="*/ 7144 h 190500"/>
                <a:gd name="connsiteX14" fmla="*/ 83315 w 152400"/>
                <a:gd name="connsiteY14" fmla="*/ 14288 h 190500"/>
                <a:gd name="connsiteX15" fmla="*/ 116653 w 152400"/>
                <a:gd name="connsiteY15" fmla="*/ 14288 h 190500"/>
                <a:gd name="connsiteX16" fmla="*/ 138084 w 152400"/>
                <a:gd name="connsiteY16" fmla="*/ 35719 h 190500"/>
                <a:gd name="connsiteX17" fmla="*/ 138084 w 152400"/>
                <a:gd name="connsiteY17" fmla="*/ 78629 h 190500"/>
                <a:gd name="connsiteX18" fmla="*/ 116653 w 152400"/>
                <a:gd name="connsiteY18" fmla="*/ 100060 h 190500"/>
                <a:gd name="connsiteX19" fmla="*/ 35690 w 152400"/>
                <a:gd name="connsiteY19" fmla="*/ 100060 h 190500"/>
                <a:gd name="connsiteX20" fmla="*/ 14259 w 152400"/>
                <a:gd name="connsiteY20" fmla="*/ 78629 h 190500"/>
                <a:gd name="connsiteX21" fmla="*/ 14259 w 152400"/>
                <a:gd name="connsiteY21" fmla="*/ 35719 h 190500"/>
                <a:gd name="connsiteX22" fmla="*/ 35690 w 152400"/>
                <a:gd name="connsiteY22" fmla="*/ 14288 h 190500"/>
                <a:gd name="connsiteX23" fmla="*/ 69028 w 152400"/>
                <a:gd name="connsiteY23" fmla="*/ 14288 h 190500"/>
                <a:gd name="connsiteX24" fmla="*/ 69028 w 152400"/>
                <a:gd name="connsiteY24" fmla="*/ 7153 h 190500"/>
                <a:gd name="connsiteX25" fmla="*/ 75200 w 152400"/>
                <a:gd name="connsiteY25" fmla="*/ 76 h 190500"/>
                <a:gd name="connsiteX26" fmla="*/ 76171 w 152400"/>
                <a:gd name="connsiteY26" fmla="*/ 0 h 190500"/>
                <a:gd name="connsiteX27" fmla="*/ 75200 w 152400"/>
                <a:gd name="connsiteY27" fmla="*/ 67 h 190500"/>
                <a:gd name="connsiteX28" fmla="*/ 54740 w 152400"/>
                <a:gd name="connsiteY28" fmla="*/ 42863 h 190500"/>
                <a:gd name="connsiteX29" fmla="*/ 42834 w 152400"/>
                <a:gd name="connsiteY29" fmla="*/ 54769 h 190500"/>
                <a:gd name="connsiteX30" fmla="*/ 54740 w 152400"/>
                <a:gd name="connsiteY30" fmla="*/ 66675 h 190500"/>
                <a:gd name="connsiteX31" fmla="*/ 66646 w 152400"/>
                <a:gd name="connsiteY31" fmla="*/ 54769 h 190500"/>
                <a:gd name="connsiteX32" fmla="*/ 54740 w 152400"/>
                <a:gd name="connsiteY32" fmla="*/ 42863 h 190500"/>
                <a:gd name="connsiteX33" fmla="*/ 97536 w 152400"/>
                <a:gd name="connsiteY33" fmla="*/ 42863 h 190500"/>
                <a:gd name="connsiteX34" fmla="*/ 85297 w 152400"/>
                <a:gd name="connsiteY34" fmla="*/ 54427 h 190500"/>
                <a:gd name="connsiteX35" fmla="*/ 96863 w 152400"/>
                <a:gd name="connsiteY35" fmla="*/ 66665 h 190500"/>
                <a:gd name="connsiteX36" fmla="*/ 97536 w 152400"/>
                <a:gd name="connsiteY36" fmla="*/ 66665 h 190500"/>
                <a:gd name="connsiteX37" fmla="*/ 109100 w 152400"/>
                <a:gd name="connsiteY37" fmla="*/ 54427 h 190500"/>
                <a:gd name="connsiteX38" fmla="*/ 97536 w 152400"/>
                <a:gd name="connsiteY38" fmla="*/ 428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2400" h="190500">
                  <a:moveTo>
                    <a:pt x="130969" y="114300"/>
                  </a:moveTo>
                  <a:cubicBezTo>
                    <a:pt x="142805" y="114300"/>
                    <a:pt x="152400" y="123895"/>
                    <a:pt x="152400" y="135731"/>
                  </a:cubicBezTo>
                  <a:lnTo>
                    <a:pt x="152400" y="144351"/>
                  </a:lnTo>
                  <a:cubicBezTo>
                    <a:pt x="152403" y="154771"/>
                    <a:pt x="147856" y="164672"/>
                    <a:pt x="139951" y="171460"/>
                  </a:cubicBezTo>
                  <a:cubicBezTo>
                    <a:pt x="125035" y="184261"/>
                    <a:pt x="103699" y="190500"/>
                    <a:pt x="76171" y="190500"/>
                  </a:cubicBezTo>
                  <a:cubicBezTo>
                    <a:pt x="48644" y="190500"/>
                    <a:pt x="27327" y="184252"/>
                    <a:pt x="12440" y="171450"/>
                  </a:cubicBezTo>
                  <a:cubicBezTo>
                    <a:pt x="4546" y="164667"/>
                    <a:pt x="3" y="154778"/>
                    <a:pt x="0" y="144370"/>
                  </a:cubicBezTo>
                  <a:lnTo>
                    <a:pt x="0" y="135722"/>
                  </a:lnTo>
                  <a:cubicBezTo>
                    <a:pt x="5" y="123890"/>
                    <a:pt x="9599" y="114300"/>
                    <a:pt x="21431" y="114300"/>
                  </a:cubicBezTo>
                  <a:lnTo>
                    <a:pt x="130969" y="114300"/>
                  </a:lnTo>
                  <a:close/>
                  <a:moveTo>
                    <a:pt x="75200" y="76"/>
                  </a:moveTo>
                  <a:lnTo>
                    <a:pt x="76171" y="0"/>
                  </a:lnTo>
                  <a:cubicBezTo>
                    <a:pt x="79741" y="0"/>
                    <a:pt x="82763" y="2636"/>
                    <a:pt x="83249" y="6172"/>
                  </a:cubicBezTo>
                  <a:lnTo>
                    <a:pt x="83315" y="7144"/>
                  </a:lnTo>
                  <a:lnTo>
                    <a:pt x="83315" y="14288"/>
                  </a:lnTo>
                  <a:lnTo>
                    <a:pt x="116653" y="14288"/>
                  </a:lnTo>
                  <a:cubicBezTo>
                    <a:pt x="128488" y="14288"/>
                    <a:pt x="138084" y="23883"/>
                    <a:pt x="138084" y="35719"/>
                  </a:cubicBezTo>
                  <a:lnTo>
                    <a:pt x="138084" y="78629"/>
                  </a:lnTo>
                  <a:cubicBezTo>
                    <a:pt x="138084" y="90465"/>
                    <a:pt x="128488" y="100060"/>
                    <a:pt x="116653" y="100060"/>
                  </a:cubicBezTo>
                  <a:lnTo>
                    <a:pt x="35690" y="100060"/>
                  </a:lnTo>
                  <a:cubicBezTo>
                    <a:pt x="23854" y="100060"/>
                    <a:pt x="14259" y="90465"/>
                    <a:pt x="14259" y="78629"/>
                  </a:cubicBezTo>
                  <a:lnTo>
                    <a:pt x="14259" y="35719"/>
                  </a:lnTo>
                  <a:cubicBezTo>
                    <a:pt x="14259" y="23883"/>
                    <a:pt x="23854" y="14288"/>
                    <a:pt x="35690" y="14288"/>
                  </a:cubicBezTo>
                  <a:lnTo>
                    <a:pt x="69028" y="14288"/>
                  </a:lnTo>
                  <a:lnTo>
                    <a:pt x="69028" y="7153"/>
                  </a:lnTo>
                  <a:cubicBezTo>
                    <a:pt x="69028" y="3583"/>
                    <a:pt x="71663" y="562"/>
                    <a:pt x="75200" y="76"/>
                  </a:cubicBezTo>
                  <a:lnTo>
                    <a:pt x="76171" y="0"/>
                  </a:lnTo>
                  <a:lnTo>
                    <a:pt x="75200" y="67"/>
                  </a:lnTo>
                  <a:close/>
                  <a:moveTo>
                    <a:pt x="54740" y="42863"/>
                  </a:moveTo>
                  <a:cubicBezTo>
                    <a:pt x="48164" y="42863"/>
                    <a:pt x="42834" y="48193"/>
                    <a:pt x="42834" y="54769"/>
                  </a:cubicBezTo>
                  <a:cubicBezTo>
                    <a:pt x="42834" y="61344"/>
                    <a:pt x="48164" y="66675"/>
                    <a:pt x="54740" y="66675"/>
                  </a:cubicBezTo>
                  <a:cubicBezTo>
                    <a:pt x="61316" y="66675"/>
                    <a:pt x="66646" y="61344"/>
                    <a:pt x="66646" y="54769"/>
                  </a:cubicBezTo>
                  <a:cubicBezTo>
                    <a:pt x="66646" y="48193"/>
                    <a:pt x="61316" y="42863"/>
                    <a:pt x="54740" y="42863"/>
                  </a:cubicBezTo>
                  <a:close/>
                  <a:moveTo>
                    <a:pt x="97536" y="42863"/>
                  </a:moveTo>
                  <a:cubicBezTo>
                    <a:pt x="90963" y="42677"/>
                    <a:pt x="85484" y="47854"/>
                    <a:pt x="85297" y="54427"/>
                  </a:cubicBezTo>
                  <a:cubicBezTo>
                    <a:pt x="85112" y="61000"/>
                    <a:pt x="90289" y="66480"/>
                    <a:pt x="96863" y="66665"/>
                  </a:cubicBezTo>
                  <a:cubicBezTo>
                    <a:pt x="97087" y="66672"/>
                    <a:pt x="97311" y="66672"/>
                    <a:pt x="97536" y="66665"/>
                  </a:cubicBezTo>
                  <a:cubicBezTo>
                    <a:pt x="104109" y="66480"/>
                    <a:pt x="109287" y="61000"/>
                    <a:pt x="109100" y="54427"/>
                  </a:cubicBezTo>
                  <a:cubicBezTo>
                    <a:pt x="108922" y="48116"/>
                    <a:pt x="103847" y="43041"/>
                    <a:pt x="97536" y="42863"/>
                  </a:cubicBezTo>
                  <a:close/>
                </a:path>
              </a:pathLst>
            </a:custGeom>
            <a:solidFill>
              <a:schemeClr val="tx1"/>
            </a:solidFill>
            <a:ln w="9525" cap="flat">
              <a:noFill/>
              <a:prstDash val="solid"/>
              <a:miter/>
            </a:ln>
          </p:spPr>
          <p:txBody>
            <a:bodyPr rtlCol="0" anchor="ctr"/>
            <a:lstStyle/>
            <a:p>
              <a:endParaRPr lang="en-US"/>
            </a:p>
          </p:txBody>
        </p:sp>
      </p:grpSp>
      <p:grpSp>
        <p:nvGrpSpPr>
          <p:cNvPr id="73" name="Group 72">
            <a:extLst>
              <a:ext uri="{FF2B5EF4-FFF2-40B4-BE49-F238E27FC236}">
                <a16:creationId xmlns:a16="http://schemas.microsoft.com/office/drawing/2014/main" id="{7EBA835B-D722-D79B-C16B-D3A9ECDFB348}"/>
              </a:ext>
            </a:extLst>
          </p:cNvPr>
          <p:cNvGrpSpPr/>
          <p:nvPr/>
        </p:nvGrpSpPr>
        <p:grpSpPr>
          <a:xfrm>
            <a:off x="5896638" y="2049791"/>
            <a:ext cx="704862" cy="704862"/>
            <a:chOff x="5896638" y="2064305"/>
            <a:chExt cx="704862" cy="704862"/>
          </a:xfrm>
        </p:grpSpPr>
        <p:sp>
          <p:nvSpPr>
            <p:cNvPr id="62" name="Oval 61">
              <a:extLst>
                <a:ext uri="{FF2B5EF4-FFF2-40B4-BE49-F238E27FC236}">
                  <a16:creationId xmlns:a16="http://schemas.microsoft.com/office/drawing/2014/main" id="{E35E65A6-D7B3-E27D-5C22-235ECB4D7C53}"/>
                </a:ext>
              </a:extLst>
            </p:cNvPr>
            <p:cNvSpPr/>
            <p:nvPr/>
          </p:nvSpPr>
          <p:spPr bwMode="auto">
            <a:xfrm>
              <a:off x="5896638" y="2064305"/>
              <a:ext cx="704862" cy="704862"/>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72" name="Graphic 70">
              <a:extLst>
                <a:ext uri="{FF2B5EF4-FFF2-40B4-BE49-F238E27FC236}">
                  <a16:creationId xmlns:a16="http://schemas.microsoft.com/office/drawing/2014/main" id="{E12D23A5-5810-F92D-40EB-C68854C996AE}"/>
                </a:ext>
              </a:extLst>
            </p:cNvPr>
            <p:cNvSpPr/>
            <p:nvPr/>
          </p:nvSpPr>
          <p:spPr>
            <a:xfrm>
              <a:off x="6087813" y="2215203"/>
              <a:ext cx="322512" cy="403068"/>
            </a:xfrm>
            <a:custGeom>
              <a:avLst/>
              <a:gdLst>
                <a:gd name="connsiteX0" fmla="*/ 152400 w 152400"/>
                <a:gd name="connsiteY0" fmla="*/ 135680 h 190467"/>
                <a:gd name="connsiteX1" fmla="*/ 130978 w 152400"/>
                <a:gd name="connsiteY1" fmla="*/ 114258 h 190467"/>
                <a:gd name="connsiteX2" fmla="*/ 130969 w 152400"/>
                <a:gd name="connsiteY2" fmla="*/ 114258 h 190467"/>
                <a:gd name="connsiteX3" fmla="*/ 21431 w 152400"/>
                <a:gd name="connsiteY3" fmla="*/ 114258 h 190467"/>
                <a:gd name="connsiteX4" fmla="*/ 0 w 152400"/>
                <a:gd name="connsiteY4" fmla="*/ 135671 h 190467"/>
                <a:gd name="connsiteX5" fmla="*/ 0 w 152400"/>
                <a:gd name="connsiteY5" fmla="*/ 135690 h 190467"/>
                <a:gd name="connsiteX6" fmla="*/ 0 w 152400"/>
                <a:gd name="connsiteY6" fmla="*/ 144453 h 190467"/>
                <a:gd name="connsiteX7" fmla="*/ 4858 w 152400"/>
                <a:gd name="connsiteY7" fmla="*/ 159645 h 190467"/>
                <a:gd name="connsiteX8" fmla="*/ 76162 w 152400"/>
                <a:gd name="connsiteY8" fmla="*/ 190468 h 190467"/>
                <a:gd name="connsiteX9" fmla="*/ 147504 w 152400"/>
                <a:gd name="connsiteY9" fmla="*/ 159655 h 190467"/>
                <a:gd name="connsiteX10" fmla="*/ 152400 w 152400"/>
                <a:gd name="connsiteY10" fmla="*/ 144443 h 190467"/>
                <a:gd name="connsiteX11" fmla="*/ 152400 w 152400"/>
                <a:gd name="connsiteY11" fmla="*/ 135690 h 190467"/>
                <a:gd name="connsiteX12" fmla="*/ 123796 w 152400"/>
                <a:gd name="connsiteY12" fmla="*/ 47631 h 190467"/>
                <a:gd name="connsiteX13" fmla="*/ 76177 w 152400"/>
                <a:gd name="connsiteY13" fmla="*/ 0 h 190467"/>
                <a:gd name="connsiteX14" fmla="*/ 37833 w 152400"/>
                <a:gd name="connsiteY14" fmla="*/ 19370 h 190467"/>
                <a:gd name="connsiteX15" fmla="*/ 35700 w 152400"/>
                <a:gd name="connsiteY15" fmla="*/ 19037 h 190467"/>
                <a:gd name="connsiteX16" fmla="*/ 11906 w 152400"/>
                <a:gd name="connsiteY16" fmla="*/ 19037 h 190467"/>
                <a:gd name="connsiteX17" fmla="*/ 4763 w 152400"/>
                <a:gd name="connsiteY17" fmla="*/ 26181 h 190467"/>
                <a:gd name="connsiteX18" fmla="*/ 4763 w 152400"/>
                <a:gd name="connsiteY18" fmla="*/ 78549 h 190467"/>
                <a:gd name="connsiteX19" fmla="*/ 30937 w 152400"/>
                <a:gd name="connsiteY19" fmla="*/ 104762 h 190467"/>
                <a:gd name="connsiteX20" fmla="*/ 30956 w 152400"/>
                <a:gd name="connsiteY20" fmla="*/ 104762 h 190467"/>
                <a:gd name="connsiteX21" fmla="*/ 33338 w 152400"/>
                <a:gd name="connsiteY21" fmla="*/ 104762 h 190467"/>
                <a:gd name="connsiteX22" fmla="*/ 33338 w 152400"/>
                <a:gd name="connsiteY22" fmla="*/ 104724 h 190467"/>
                <a:gd name="connsiteX23" fmla="*/ 33433 w 152400"/>
                <a:gd name="connsiteY23" fmla="*/ 104724 h 190467"/>
                <a:gd name="connsiteX24" fmla="*/ 42953 w 152400"/>
                <a:gd name="connsiteY24" fmla="*/ 95233 h 190467"/>
                <a:gd name="connsiteX25" fmla="*/ 33462 w 152400"/>
                <a:gd name="connsiteY25" fmla="*/ 85712 h 190467"/>
                <a:gd name="connsiteX26" fmla="*/ 25946 w 152400"/>
                <a:gd name="connsiteY26" fmla="*/ 89379 h 190467"/>
                <a:gd name="connsiteX27" fmla="*/ 19050 w 152400"/>
                <a:gd name="connsiteY27" fmla="*/ 78559 h 190467"/>
                <a:gd name="connsiteX28" fmla="*/ 19050 w 152400"/>
                <a:gd name="connsiteY28" fmla="*/ 76187 h 190467"/>
                <a:gd name="connsiteX29" fmla="*/ 26175 w 152400"/>
                <a:gd name="connsiteY29" fmla="*/ 76187 h 190467"/>
                <a:gd name="connsiteX30" fmla="*/ 35890 w 152400"/>
                <a:gd name="connsiteY30" fmla="*/ 73063 h 190467"/>
                <a:gd name="connsiteX31" fmla="*/ 101579 w 152400"/>
                <a:gd name="connsiteY31" fmla="*/ 87936 h 190467"/>
                <a:gd name="connsiteX32" fmla="*/ 123796 w 152400"/>
                <a:gd name="connsiteY32" fmla="*/ 47631 h 190467"/>
                <a:gd name="connsiteX33" fmla="*/ 28546 w 152400"/>
                <a:gd name="connsiteY33" fmla="*/ 46621 h 190467"/>
                <a:gd name="connsiteX34" fmla="*/ 28546 w 152400"/>
                <a:gd name="connsiteY34" fmla="*/ 48641 h 190467"/>
                <a:gd name="connsiteX35" fmla="*/ 28546 w 152400"/>
                <a:gd name="connsiteY35" fmla="*/ 59509 h 190467"/>
                <a:gd name="connsiteX36" fmla="*/ 26165 w 152400"/>
                <a:gd name="connsiteY36" fmla="*/ 61890 h 190467"/>
                <a:gd name="connsiteX37" fmla="*/ 19050 w 152400"/>
                <a:gd name="connsiteY37" fmla="*/ 61890 h 190467"/>
                <a:gd name="connsiteX38" fmla="*/ 19050 w 152400"/>
                <a:gd name="connsiteY38" fmla="*/ 33334 h 190467"/>
                <a:gd name="connsiteX39" fmla="*/ 28556 w 152400"/>
                <a:gd name="connsiteY39" fmla="*/ 33334 h 190467"/>
                <a:gd name="connsiteX40" fmla="*/ 28556 w 152400"/>
                <a:gd name="connsiteY40" fmla="*/ 46621 h 19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2400" h="190467">
                  <a:moveTo>
                    <a:pt x="152400" y="135680"/>
                  </a:moveTo>
                  <a:cubicBezTo>
                    <a:pt x="152400" y="123849"/>
                    <a:pt x="142809" y="114258"/>
                    <a:pt x="130978" y="114258"/>
                  </a:cubicBezTo>
                  <a:cubicBezTo>
                    <a:pt x="130975" y="114258"/>
                    <a:pt x="130972" y="114258"/>
                    <a:pt x="130969" y="114258"/>
                  </a:cubicBezTo>
                  <a:lnTo>
                    <a:pt x="21431" y="114258"/>
                  </a:lnTo>
                  <a:cubicBezTo>
                    <a:pt x="9600" y="114253"/>
                    <a:pt x="5" y="123840"/>
                    <a:pt x="0" y="135671"/>
                  </a:cubicBezTo>
                  <a:cubicBezTo>
                    <a:pt x="0" y="135677"/>
                    <a:pt x="0" y="135683"/>
                    <a:pt x="0" y="135690"/>
                  </a:cubicBezTo>
                  <a:lnTo>
                    <a:pt x="0" y="144453"/>
                  </a:lnTo>
                  <a:cubicBezTo>
                    <a:pt x="0" y="149891"/>
                    <a:pt x="1695" y="155206"/>
                    <a:pt x="4858" y="159645"/>
                  </a:cubicBezTo>
                  <a:cubicBezTo>
                    <a:pt x="19555" y="180257"/>
                    <a:pt x="43577" y="190468"/>
                    <a:pt x="76162" y="190468"/>
                  </a:cubicBezTo>
                  <a:cubicBezTo>
                    <a:pt x="108737" y="190468"/>
                    <a:pt x="132788" y="180267"/>
                    <a:pt x="147504" y="159655"/>
                  </a:cubicBezTo>
                  <a:cubicBezTo>
                    <a:pt x="150681" y="155218"/>
                    <a:pt x="152392" y="149900"/>
                    <a:pt x="152400" y="144443"/>
                  </a:cubicBezTo>
                  <a:lnTo>
                    <a:pt x="152400" y="135690"/>
                  </a:lnTo>
                  <a:close/>
                  <a:moveTo>
                    <a:pt x="123796" y="47631"/>
                  </a:moveTo>
                  <a:cubicBezTo>
                    <a:pt x="123799" y="21328"/>
                    <a:pt x="102479" y="3"/>
                    <a:pt x="76177" y="0"/>
                  </a:cubicBezTo>
                  <a:cubicBezTo>
                    <a:pt x="61045" y="-2"/>
                    <a:pt x="46811" y="7188"/>
                    <a:pt x="37833" y="19370"/>
                  </a:cubicBezTo>
                  <a:cubicBezTo>
                    <a:pt x="37143" y="19152"/>
                    <a:pt x="36424" y="19039"/>
                    <a:pt x="35700" y="19037"/>
                  </a:cubicBezTo>
                  <a:lnTo>
                    <a:pt x="11906" y="19037"/>
                  </a:lnTo>
                  <a:cubicBezTo>
                    <a:pt x="7961" y="19037"/>
                    <a:pt x="4763" y="22235"/>
                    <a:pt x="4763" y="26181"/>
                  </a:cubicBezTo>
                  <a:lnTo>
                    <a:pt x="4763" y="78549"/>
                  </a:lnTo>
                  <a:cubicBezTo>
                    <a:pt x="4752" y="93016"/>
                    <a:pt x="16471" y="104751"/>
                    <a:pt x="30937" y="104762"/>
                  </a:cubicBezTo>
                  <a:cubicBezTo>
                    <a:pt x="30944" y="104762"/>
                    <a:pt x="30950" y="104762"/>
                    <a:pt x="30956" y="104762"/>
                  </a:cubicBezTo>
                  <a:lnTo>
                    <a:pt x="33338" y="104762"/>
                  </a:lnTo>
                  <a:lnTo>
                    <a:pt x="33338" y="104724"/>
                  </a:lnTo>
                  <a:lnTo>
                    <a:pt x="33433" y="104724"/>
                  </a:lnTo>
                  <a:cubicBezTo>
                    <a:pt x="38683" y="104732"/>
                    <a:pt x="42945" y="100482"/>
                    <a:pt x="42953" y="95233"/>
                  </a:cubicBezTo>
                  <a:cubicBezTo>
                    <a:pt x="42962" y="89983"/>
                    <a:pt x="38712" y="85721"/>
                    <a:pt x="33462" y="85712"/>
                  </a:cubicBezTo>
                  <a:cubicBezTo>
                    <a:pt x="30525" y="85707"/>
                    <a:pt x="27750" y="87061"/>
                    <a:pt x="25946" y="89379"/>
                  </a:cubicBezTo>
                  <a:cubicBezTo>
                    <a:pt x="21734" y="87426"/>
                    <a:pt x="19042" y="83201"/>
                    <a:pt x="19050" y="78559"/>
                  </a:cubicBezTo>
                  <a:lnTo>
                    <a:pt x="19050" y="76187"/>
                  </a:lnTo>
                  <a:lnTo>
                    <a:pt x="26175" y="76187"/>
                  </a:lnTo>
                  <a:cubicBezTo>
                    <a:pt x="29794" y="76187"/>
                    <a:pt x="33157" y="75025"/>
                    <a:pt x="35890" y="73063"/>
                  </a:cubicBezTo>
                  <a:cubicBezTo>
                    <a:pt x="49923" y="95309"/>
                    <a:pt x="79333" y="101968"/>
                    <a:pt x="101579" y="87936"/>
                  </a:cubicBezTo>
                  <a:cubicBezTo>
                    <a:pt x="115416" y="79208"/>
                    <a:pt x="123805" y="63990"/>
                    <a:pt x="123796" y="47631"/>
                  </a:cubicBezTo>
                  <a:close/>
                  <a:moveTo>
                    <a:pt x="28546" y="46621"/>
                  </a:moveTo>
                  <a:cubicBezTo>
                    <a:pt x="28533" y="47294"/>
                    <a:pt x="28533" y="47968"/>
                    <a:pt x="28546" y="48641"/>
                  </a:cubicBezTo>
                  <a:lnTo>
                    <a:pt x="28546" y="59509"/>
                  </a:lnTo>
                  <a:cubicBezTo>
                    <a:pt x="28546" y="60824"/>
                    <a:pt x="27480" y="61890"/>
                    <a:pt x="26165" y="61890"/>
                  </a:cubicBezTo>
                  <a:lnTo>
                    <a:pt x="19050" y="61890"/>
                  </a:lnTo>
                  <a:lnTo>
                    <a:pt x="19050" y="33334"/>
                  </a:lnTo>
                  <a:lnTo>
                    <a:pt x="28556" y="33334"/>
                  </a:lnTo>
                  <a:lnTo>
                    <a:pt x="28556" y="46621"/>
                  </a:lnTo>
                  <a:close/>
                </a:path>
              </a:pathLst>
            </a:custGeom>
            <a:solidFill>
              <a:schemeClr val="tx1"/>
            </a:solidFill>
            <a:ln w="9525" cap="flat">
              <a:noFill/>
              <a:prstDash val="solid"/>
              <a:miter/>
            </a:ln>
          </p:spPr>
          <p:txBody>
            <a:bodyPr rtlCol="0" anchor="ctr"/>
            <a:lstStyle/>
            <a:p>
              <a:endParaRPr lang="en-US"/>
            </a:p>
          </p:txBody>
        </p:sp>
      </p:grpSp>
      <p:grpSp>
        <p:nvGrpSpPr>
          <p:cNvPr id="77" name="Group 76">
            <a:extLst>
              <a:ext uri="{FF2B5EF4-FFF2-40B4-BE49-F238E27FC236}">
                <a16:creationId xmlns:a16="http://schemas.microsoft.com/office/drawing/2014/main" id="{A7759137-2E60-E50C-B0C0-F69B702BD536}"/>
              </a:ext>
            </a:extLst>
          </p:cNvPr>
          <p:cNvGrpSpPr/>
          <p:nvPr/>
        </p:nvGrpSpPr>
        <p:grpSpPr>
          <a:xfrm>
            <a:off x="5896638" y="3062054"/>
            <a:ext cx="704862" cy="704862"/>
            <a:chOff x="5896638" y="3076568"/>
            <a:chExt cx="704862" cy="704862"/>
          </a:xfrm>
        </p:grpSpPr>
        <p:sp>
          <p:nvSpPr>
            <p:cNvPr id="63" name="Oval 62">
              <a:extLst>
                <a:ext uri="{FF2B5EF4-FFF2-40B4-BE49-F238E27FC236}">
                  <a16:creationId xmlns:a16="http://schemas.microsoft.com/office/drawing/2014/main" id="{636D2995-067B-808C-72CD-0565153FDDAD}"/>
                </a:ext>
              </a:extLst>
            </p:cNvPr>
            <p:cNvSpPr/>
            <p:nvPr/>
          </p:nvSpPr>
          <p:spPr bwMode="auto">
            <a:xfrm>
              <a:off x="5896638" y="3076568"/>
              <a:ext cx="704862" cy="704862"/>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76" name="Graphic 74">
              <a:extLst>
                <a:ext uri="{FF2B5EF4-FFF2-40B4-BE49-F238E27FC236}">
                  <a16:creationId xmlns:a16="http://schemas.microsoft.com/office/drawing/2014/main" id="{B828AD72-F442-057E-625D-FA8B646DAC59}"/>
                </a:ext>
              </a:extLst>
            </p:cNvPr>
            <p:cNvSpPr/>
            <p:nvPr/>
          </p:nvSpPr>
          <p:spPr>
            <a:xfrm>
              <a:off x="6059238" y="3296118"/>
              <a:ext cx="379662" cy="265762"/>
            </a:xfrm>
            <a:custGeom>
              <a:avLst/>
              <a:gdLst>
                <a:gd name="connsiteX0" fmla="*/ 114299 w 190470"/>
                <a:gd name="connsiteY0" fmla="*/ 0 h 133328"/>
                <a:gd name="connsiteX1" fmla="*/ 180946 w 190470"/>
                <a:gd name="connsiteY1" fmla="*/ 0 h 133328"/>
                <a:gd name="connsiteX2" fmla="*/ 190404 w 190470"/>
                <a:gd name="connsiteY2" fmla="*/ 8411 h 133328"/>
                <a:gd name="connsiteX3" fmla="*/ 190471 w 190470"/>
                <a:gd name="connsiteY3" fmla="*/ 9525 h 133328"/>
                <a:gd name="connsiteX4" fmla="*/ 190471 w 190470"/>
                <a:gd name="connsiteY4" fmla="*/ 76200 h 133328"/>
                <a:gd name="connsiteX5" fmla="*/ 181021 w 190470"/>
                <a:gd name="connsiteY5" fmla="*/ 85800 h 133328"/>
                <a:gd name="connsiteX6" fmla="*/ 171478 w 190470"/>
                <a:gd name="connsiteY6" fmla="*/ 77314 h 133328"/>
                <a:gd name="connsiteX7" fmla="*/ 171421 w 190470"/>
                <a:gd name="connsiteY7" fmla="*/ 76200 h 133328"/>
                <a:gd name="connsiteX8" fmla="*/ 171411 w 190470"/>
                <a:gd name="connsiteY8" fmla="*/ 32518 h 133328"/>
                <a:gd name="connsiteX9" fmla="*/ 101955 w 190470"/>
                <a:gd name="connsiteY9" fmla="*/ 101984 h 133328"/>
                <a:gd name="connsiteX10" fmla="*/ 89382 w 190470"/>
                <a:gd name="connsiteY10" fmla="*/ 102784 h 133328"/>
                <a:gd name="connsiteX11" fmla="*/ 88486 w 190470"/>
                <a:gd name="connsiteY11" fmla="*/ 101994 h 133328"/>
                <a:gd name="connsiteX12" fmla="*/ 66617 w 190470"/>
                <a:gd name="connsiteY12" fmla="*/ 80162 h 133328"/>
                <a:gd name="connsiteX13" fmla="*/ 16249 w 190470"/>
                <a:gd name="connsiteY13" fmla="*/ 130550 h 133328"/>
                <a:gd name="connsiteX14" fmla="*/ 2778 w 190470"/>
                <a:gd name="connsiteY14" fmla="*/ 130527 h 133328"/>
                <a:gd name="connsiteX15" fmla="*/ 1990 w 190470"/>
                <a:gd name="connsiteY15" fmla="*/ 117977 h 133328"/>
                <a:gd name="connsiteX16" fmla="*/ 2780 w 190470"/>
                <a:gd name="connsiteY16" fmla="*/ 117072 h 133328"/>
                <a:gd name="connsiteX17" fmla="*/ 59873 w 190470"/>
                <a:gd name="connsiteY17" fmla="*/ 59960 h 133328"/>
                <a:gd name="connsiteX18" fmla="*/ 72446 w 190470"/>
                <a:gd name="connsiteY18" fmla="*/ 59160 h 133328"/>
                <a:gd name="connsiteX19" fmla="*/ 73342 w 190470"/>
                <a:gd name="connsiteY19" fmla="*/ 59950 h 133328"/>
                <a:gd name="connsiteX20" fmla="*/ 95211 w 190470"/>
                <a:gd name="connsiteY20" fmla="*/ 81782 h 133328"/>
                <a:gd name="connsiteX21" fmla="*/ 157933 w 190470"/>
                <a:gd name="connsiteY21" fmla="*/ 19050 h 133328"/>
                <a:gd name="connsiteX22" fmla="*/ 114299 w 190470"/>
                <a:gd name="connsiteY22" fmla="*/ 19050 h 133328"/>
                <a:gd name="connsiteX23" fmla="*/ 104841 w 190470"/>
                <a:gd name="connsiteY23" fmla="*/ 10639 h 133328"/>
                <a:gd name="connsiteX24" fmla="*/ 104774 w 190470"/>
                <a:gd name="connsiteY24" fmla="*/ 9525 h 133328"/>
                <a:gd name="connsiteX25" fmla="*/ 113185 w 190470"/>
                <a:gd name="connsiteY25" fmla="*/ 67 h 133328"/>
                <a:gd name="connsiteX26" fmla="*/ 114299 w 190470"/>
                <a:gd name="connsiteY26" fmla="*/ 0 h 133328"/>
                <a:gd name="connsiteX27" fmla="*/ 180946 w 190470"/>
                <a:gd name="connsiteY27" fmla="*/ 0 h 133328"/>
                <a:gd name="connsiteX28" fmla="*/ 114299 w 190470"/>
                <a:gd name="connsiteY28" fmla="*/ 0 h 13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0470" h="133328">
                  <a:moveTo>
                    <a:pt x="114299" y="0"/>
                  </a:moveTo>
                  <a:lnTo>
                    <a:pt x="180946" y="0"/>
                  </a:lnTo>
                  <a:cubicBezTo>
                    <a:pt x="185775" y="1"/>
                    <a:pt x="189839" y="3615"/>
                    <a:pt x="190404" y="8411"/>
                  </a:cubicBezTo>
                  <a:lnTo>
                    <a:pt x="190471" y="9525"/>
                  </a:lnTo>
                  <a:lnTo>
                    <a:pt x="190471" y="76200"/>
                  </a:lnTo>
                  <a:cubicBezTo>
                    <a:pt x="190513" y="81461"/>
                    <a:pt x="186282" y="85758"/>
                    <a:pt x="181021" y="85800"/>
                  </a:cubicBezTo>
                  <a:cubicBezTo>
                    <a:pt x="176135" y="85838"/>
                    <a:pt x="172011" y="82172"/>
                    <a:pt x="171478" y="77314"/>
                  </a:cubicBezTo>
                  <a:lnTo>
                    <a:pt x="171421" y="76200"/>
                  </a:lnTo>
                  <a:lnTo>
                    <a:pt x="171411" y="32518"/>
                  </a:lnTo>
                  <a:lnTo>
                    <a:pt x="101955" y="101984"/>
                  </a:lnTo>
                  <a:cubicBezTo>
                    <a:pt x="98564" y="105380"/>
                    <a:pt x="93176" y="105723"/>
                    <a:pt x="89382" y="102784"/>
                  </a:cubicBezTo>
                  <a:lnTo>
                    <a:pt x="88486" y="101994"/>
                  </a:lnTo>
                  <a:lnTo>
                    <a:pt x="66617" y="80162"/>
                  </a:lnTo>
                  <a:lnTo>
                    <a:pt x="16249" y="130550"/>
                  </a:lnTo>
                  <a:cubicBezTo>
                    <a:pt x="12523" y="134263"/>
                    <a:pt x="6492" y="134253"/>
                    <a:pt x="2778" y="130527"/>
                  </a:cubicBezTo>
                  <a:cubicBezTo>
                    <a:pt x="-601" y="127136"/>
                    <a:pt x="-938" y="121764"/>
                    <a:pt x="1990" y="117977"/>
                  </a:cubicBezTo>
                  <a:lnTo>
                    <a:pt x="2780" y="117072"/>
                  </a:lnTo>
                  <a:lnTo>
                    <a:pt x="59873" y="59960"/>
                  </a:lnTo>
                  <a:cubicBezTo>
                    <a:pt x="63264" y="56564"/>
                    <a:pt x="68652" y="56221"/>
                    <a:pt x="72446" y="59160"/>
                  </a:cubicBezTo>
                  <a:lnTo>
                    <a:pt x="73342" y="59950"/>
                  </a:lnTo>
                  <a:lnTo>
                    <a:pt x="95211" y="81782"/>
                  </a:lnTo>
                  <a:lnTo>
                    <a:pt x="157933" y="19050"/>
                  </a:lnTo>
                  <a:lnTo>
                    <a:pt x="114299" y="19050"/>
                  </a:lnTo>
                  <a:cubicBezTo>
                    <a:pt x="109470" y="19049"/>
                    <a:pt x="105406" y="15435"/>
                    <a:pt x="104841" y="10639"/>
                  </a:cubicBezTo>
                  <a:lnTo>
                    <a:pt x="104774" y="9525"/>
                  </a:lnTo>
                  <a:cubicBezTo>
                    <a:pt x="104775" y="4696"/>
                    <a:pt x="108389" y="632"/>
                    <a:pt x="113185" y="67"/>
                  </a:cubicBezTo>
                  <a:lnTo>
                    <a:pt x="114299" y="0"/>
                  </a:lnTo>
                  <a:lnTo>
                    <a:pt x="180946" y="0"/>
                  </a:lnTo>
                  <a:lnTo>
                    <a:pt x="114299" y="0"/>
                  </a:lnTo>
                  <a:close/>
                </a:path>
              </a:pathLst>
            </a:custGeom>
            <a:solidFill>
              <a:schemeClr val="tx1"/>
            </a:solidFill>
            <a:ln w="9525" cap="flat">
              <a:noFill/>
              <a:prstDash val="solid"/>
              <a:miter/>
            </a:ln>
          </p:spPr>
          <p:txBody>
            <a:bodyPr rtlCol="0" anchor="ctr"/>
            <a:lstStyle/>
            <a:p>
              <a:endParaRPr lang="en-US"/>
            </a:p>
          </p:txBody>
        </p:sp>
      </p:grpSp>
      <p:grpSp>
        <p:nvGrpSpPr>
          <p:cNvPr id="85" name="Group 84">
            <a:extLst>
              <a:ext uri="{FF2B5EF4-FFF2-40B4-BE49-F238E27FC236}">
                <a16:creationId xmlns:a16="http://schemas.microsoft.com/office/drawing/2014/main" id="{9B3BE1D1-6127-AF30-E882-E8BF415F0872}"/>
              </a:ext>
            </a:extLst>
          </p:cNvPr>
          <p:cNvGrpSpPr/>
          <p:nvPr/>
        </p:nvGrpSpPr>
        <p:grpSpPr>
          <a:xfrm>
            <a:off x="5896638" y="4074317"/>
            <a:ext cx="704862" cy="704862"/>
            <a:chOff x="5896638" y="4088831"/>
            <a:chExt cx="704862" cy="704862"/>
          </a:xfrm>
        </p:grpSpPr>
        <p:sp>
          <p:nvSpPr>
            <p:cNvPr id="64" name="Oval 63">
              <a:extLst>
                <a:ext uri="{FF2B5EF4-FFF2-40B4-BE49-F238E27FC236}">
                  <a16:creationId xmlns:a16="http://schemas.microsoft.com/office/drawing/2014/main" id="{61DFAE81-4FF4-FB14-34A1-F44E77162034}"/>
                </a:ext>
              </a:extLst>
            </p:cNvPr>
            <p:cNvSpPr/>
            <p:nvPr/>
          </p:nvSpPr>
          <p:spPr bwMode="auto">
            <a:xfrm>
              <a:off x="5896638" y="4088831"/>
              <a:ext cx="704862" cy="704862"/>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80" name="Graphic 78">
              <a:extLst>
                <a:ext uri="{FF2B5EF4-FFF2-40B4-BE49-F238E27FC236}">
                  <a16:creationId xmlns:a16="http://schemas.microsoft.com/office/drawing/2014/main" id="{202D2086-970F-4D1A-6BB3-B4B77ADD2EB1}"/>
                </a:ext>
              </a:extLst>
            </p:cNvPr>
            <p:cNvSpPr/>
            <p:nvPr/>
          </p:nvSpPr>
          <p:spPr>
            <a:xfrm>
              <a:off x="6085474" y="4270876"/>
              <a:ext cx="327218" cy="340766"/>
            </a:xfrm>
            <a:custGeom>
              <a:avLst/>
              <a:gdLst>
                <a:gd name="connsiteX0" fmla="*/ 89274 w 178348"/>
                <a:gd name="connsiteY0" fmla="*/ 0 h 185732"/>
                <a:gd name="connsiteX1" fmla="*/ 110058 w 178348"/>
                <a:gd name="connsiteY1" fmla="*/ 2410 h 185732"/>
                <a:gd name="connsiteX2" fmla="*/ 115601 w 178348"/>
                <a:gd name="connsiteY2" fmla="*/ 8592 h 185732"/>
                <a:gd name="connsiteX3" fmla="*/ 117220 w 178348"/>
                <a:gd name="connsiteY3" fmla="*/ 23136 h 185732"/>
                <a:gd name="connsiteX4" fmla="*/ 131782 w 178348"/>
                <a:gd name="connsiteY4" fmla="*/ 34777 h 185732"/>
                <a:gd name="connsiteX5" fmla="*/ 135575 w 178348"/>
                <a:gd name="connsiteY5" fmla="*/ 33766 h 185732"/>
                <a:gd name="connsiteX6" fmla="*/ 148920 w 178348"/>
                <a:gd name="connsiteY6" fmla="*/ 27908 h 185732"/>
                <a:gd name="connsiteX7" fmla="*/ 157016 w 178348"/>
                <a:gd name="connsiteY7" fmla="*/ 29566 h 185732"/>
                <a:gd name="connsiteX8" fmla="*/ 178009 w 178348"/>
                <a:gd name="connsiteY8" fmla="*/ 65684 h 185732"/>
                <a:gd name="connsiteX9" fmla="*/ 175428 w 178348"/>
                <a:gd name="connsiteY9" fmla="*/ 73543 h 185732"/>
                <a:gd name="connsiteX10" fmla="*/ 163598 w 178348"/>
                <a:gd name="connsiteY10" fmla="*/ 82267 h 185732"/>
                <a:gd name="connsiteX11" fmla="*/ 160784 w 178348"/>
                <a:gd name="connsiteY11" fmla="*/ 100656 h 185732"/>
                <a:gd name="connsiteX12" fmla="*/ 163598 w 178348"/>
                <a:gd name="connsiteY12" fmla="*/ 103470 h 185732"/>
                <a:gd name="connsiteX13" fmla="*/ 175437 w 178348"/>
                <a:gd name="connsiteY13" fmla="*/ 112185 h 185732"/>
                <a:gd name="connsiteX14" fmla="*/ 178028 w 178348"/>
                <a:gd name="connsiteY14" fmla="*/ 120053 h 185732"/>
                <a:gd name="connsiteX15" fmla="*/ 157035 w 178348"/>
                <a:gd name="connsiteY15" fmla="*/ 156172 h 185732"/>
                <a:gd name="connsiteX16" fmla="*/ 148958 w 178348"/>
                <a:gd name="connsiteY16" fmla="*/ 157839 h 185732"/>
                <a:gd name="connsiteX17" fmla="*/ 135556 w 178348"/>
                <a:gd name="connsiteY17" fmla="*/ 151962 h 185732"/>
                <a:gd name="connsiteX18" fmla="*/ 118240 w 178348"/>
                <a:gd name="connsiteY18" fmla="*/ 158722 h 185732"/>
                <a:gd name="connsiteX19" fmla="*/ 117211 w 178348"/>
                <a:gd name="connsiteY19" fmla="*/ 162573 h 185732"/>
                <a:gd name="connsiteX20" fmla="*/ 115601 w 178348"/>
                <a:gd name="connsiteY20" fmla="*/ 177108 h 185732"/>
                <a:gd name="connsiteX21" fmla="*/ 110153 w 178348"/>
                <a:gd name="connsiteY21" fmla="*/ 183271 h 185732"/>
                <a:gd name="connsiteX22" fmla="*/ 68186 w 178348"/>
                <a:gd name="connsiteY22" fmla="*/ 183271 h 185732"/>
                <a:gd name="connsiteX23" fmla="*/ 62737 w 178348"/>
                <a:gd name="connsiteY23" fmla="*/ 177108 h 185732"/>
                <a:gd name="connsiteX24" fmla="*/ 61137 w 178348"/>
                <a:gd name="connsiteY24" fmla="*/ 162592 h 185732"/>
                <a:gd name="connsiteX25" fmla="*/ 46567 w 178348"/>
                <a:gd name="connsiteY25" fmla="*/ 151005 h 185732"/>
                <a:gd name="connsiteX26" fmla="*/ 42792 w 178348"/>
                <a:gd name="connsiteY26" fmla="*/ 152019 h 185732"/>
                <a:gd name="connsiteX27" fmla="*/ 29400 w 178348"/>
                <a:gd name="connsiteY27" fmla="*/ 157886 h 185732"/>
                <a:gd name="connsiteX28" fmla="*/ 21313 w 178348"/>
                <a:gd name="connsiteY28" fmla="*/ 156220 h 185732"/>
                <a:gd name="connsiteX29" fmla="*/ 320 w 178348"/>
                <a:gd name="connsiteY29" fmla="*/ 120063 h 185732"/>
                <a:gd name="connsiteX30" fmla="*/ 2911 w 178348"/>
                <a:gd name="connsiteY30" fmla="*/ 112195 h 185732"/>
                <a:gd name="connsiteX31" fmla="*/ 14751 w 178348"/>
                <a:gd name="connsiteY31" fmla="*/ 103470 h 185732"/>
                <a:gd name="connsiteX32" fmla="*/ 17581 w 178348"/>
                <a:gd name="connsiteY32" fmla="*/ 85097 h 185732"/>
                <a:gd name="connsiteX33" fmla="*/ 14751 w 178348"/>
                <a:gd name="connsiteY33" fmla="*/ 82267 h 185732"/>
                <a:gd name="connsiteX34" fmla="*/ 2911 w 178348"/>
                <a:gd name="connsiteY34" fmla="*/ 73562 h 185732"/>
                <a:gd name="connsiteX35" fmla="*/ 330 w 178348"/>
                <a:gd name="connsiteY35" fmla="*/ 65694 h 185732"/>
                <a:gd name="connsiteX36" fmla="*/ 21323 w 178348"/>
                <a:gd name="connsiteY36" fmla="*/ 29575 h 185732"/>
                <a:gd name="connsiteX37" fmla="*/ 29419 w 178348"/>
                <a:gd name="connsiteY37" fmla="*/ 27918 h 185732"/>
                <a:gd name="connsiteX38" fmla="*/ 42754 w 178348"/>
                <a:gd name="connsiteY38" fmla="*/ 33776 h 185732"/>
                <a:gd name="connsiteX39" fmla="*/ 60130 w 178348"/>
                <a:gd name="connsiteY39" fmla="*/ 26909 h 185732"/>
                <a:gd name="connsiteX40" fmla="*/ 61137 w 178348"/>
                <a:gd name="connsiteY40" fmla="*/ 23127 h 185732"/>
                <a:gd name="connsiteX41" fmla="*/ 62757 w 178348"/>
                <a:gd name="connsiteY41" fmla="*/ 8592 h 185732"/>
                <a:gd name="connsiteX42" fmla="*/ 68310 w 178348"/>
                <a:gd name="connsiteY42" fmla="*/ 2400 h 185732"/>
                <a:gd name="connsiteX43" fmla="*/ 89274 w 178348"/>
                <a:gd name="connsiteY43" fmla="*/ 0 h 185732"/>
                <a:gd name="connsiteX44" fmla="*/ 89160 w 178348"/>
                <a:gd name="connsiteY44" fmla="*/ 64294 h 185732"/>
                <a:gd name="connsiteX45" fmla="*/ 60585 w 178348"/>
                <a:gd name="connsiteY45" fmla="*/ 92869 h 185732"/>
                <a:gd name="connsiteX46" fmla="*/ 89160 w 178348"/>
                <a:gd name="connsiteY46" fmla="*/ 121444 h 185732"/>
                <a:gd name="connsiteX47" fmla="*/ 117735 w 178348"/>
                <a:gd name="connsiteY47" fmla="*/ 92869 h 185732"/>
                <a:gd name="connsiteX48" fmla="*/ 89160 w 178348"/>
                <a:gd name="connsiteY48" fmla="*/ 64294 h 18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8348" h="185732">
                  <a:moveTo>
                    <a:pt x="89274" y="0"/>
                  </a:moveTo>
                  <a:cubicBezTo>
                    <a:pt x="96265" y="76"/>
                    <a:pt x="103228" y="886"/>
                    <a:pt x="110058" y="2410"/>
                  </a:cubicBezTo>
                  <a:cubicBezTo>
                    <a:pt x="113036" y="3075"/>
                    <a:pt x="115263" y="5558"/>
                    <a:pt x="115601" y="8592"/>
                  </a:cubicBezTo>
                  <a:lnTo>
                    <a:pt x="117220" y="23136"/>
                  </a:lnTo>
                  <a:cubicBezTo>
                    <a:pt x="118027" y="30372"/>
                    <a:pt x="124547" y="35584"/>
                    <a:pt x="131782" y="34777"/>
                  </a:cubicBezTo>
                  <a:cubicBezTo>
                    <a:pt x="133090" y="34631"/>
                    <a:pt x="134368" y="34290"/>
                    <a:pt x="135575" y="33766"/>
                  </a:cubicBezTo>
                  <a:lnTo>
                    <a:pt x="148920" y="27908"/>
                  </a:lnTo>
                  <a:cubicBezTo>
                    <a:pt x="151696" y="26685"/>
                    <a:pt x="154943" y="27350"/>
                    <a:pt x="157016" y="29566"/>
                  </a:cubicBezTo>
                  <a:cubicBezTo>
                    <a:pt x="166654" y="39863"/>
                    <a:pt x="173832" y="52212"/>
                    <a:pt x="178009" y="65684"/>
                  </a:cubicBezTo>
                  <a:cubicBezTo>
                    <a:pt x="178906" y="68586"/>
                    <a:pt x="177871" y="71738"/>
                    <a:pt x="175428" y="73543"/>
                  </a:cubicBezTo>
                  <a:lnTo>
                    <a:pt x="163598" y="82267"/>
                  </a:lnTo>
                  <a:cubicBezTo>
                    <a:pt x="157743" y="86568"/>
                    <a:pt x="156483" y="94801"/>
                    <a:pt x="160784" y="100656"/>
                  </a:cubicBezTo>
                  <a:cubicBezTo>
                    <a:pt x="161574" y="101731"/>
                    <a:pt x="162522" y="102680"/>
                    <a:pt x="163598" y="103470"/>
                  </a:cubicBezTo>
                  <a:lnTo>
                    <a:pt x="175437" y="112185"/>
                  </a:lnTo>
                  <a:cubicBezTo>
                    <a:pt x="177888" y="113989"/>
                    <a:pt x="178928" y="117146"/>
                    <a:pt x="178028" y="120053"/>
                  </a:cubicBezTo>
                  <a:cubicBezTo>
                    <a:pt x="173849" y="133524"/>
                    <a:pt x="166672" y="145873"/>
                    <a:pt x="157035" y="156172"/>
                  </a:cubicBezTo>
                  <a:cubicBezTo>
                    <a:pt x="154967" y="158383"/>
                    <a:pt x="151731" y="159050"/>
                    <a:pt x="148958" y="157839"/>
                  </a:cubicBezTo>
                  <a:lnTo>
                    <a:pt x="135556" y="151962"/>
                  </a:lnTo>
                  <a:cubicBezTo>
                    <a:pt x="128908" y="149046"/>
                    <a:pt x="121154" y="152073"/>
                    <a:pt x="118240" y="158722"/>
                  </a:cubicBezTo>
                  <a:cubicBezTo>
                    <a:pt x="117703" y="159946"/>
                    <a:pt x="117356" y="161244"/>
                    <a:pt x="117211" y="162573"/>
                  </a:cubicBezTo>
                  <a:lnTo>
                    <a:pt x="115601" y="177108"/>
                  </a:lnTo>
                  <a:cubicBezTo>
                    <a:pt x="115269" y="180106"/>
                    <a:pt x="113089" y="182573"/>
                    <a:pt x="110153" y="183271"/>
                  </a:cubicBezTo>
                  <a:cubicBezTo>
                    <a:pt x="96356" y="186553"/>
                    <a:pt x="81983" y="186553"/>
                    <a:pt x="68186" y="183271"/>
                  </a:cubicBezTo>
                  <a:cubicBezTo>
                    <a:pt x="65251" y="182573"/>
                    <a:pt x="63070" y="180106"/>
                    <a:pt x="62737" y="177108"/>
                  </a:cubicBezTo>
                  <a:lnTo>
                    <a:pt x="61137" y="162592"/>
                  </a:lnTo>
                  <a:cubicBezTo>
                    <a:pt x="60314" y="155369"/>
                    <a:pt x="53790" y="150181"/>
                    <a:pt x="46567" y="151005"/>
                  </a:cubicBezTo>
                  <a:cubicBezTo>
                    <a:pt x="45265" y="151153"/>
                    <a:pt x="43993" y="151495"/>
                    <a:pt x="42792" y="152019"/>
                  </a:cubicBezTo>
                  <a:lnTo>
                    <a:pt x="29400" y="157886"/>
                  </a:lnTo>
                  <a:cubicBezTo>
                    <a:pt x="26624" y="159103"/>
                    <a:pt x="23382" y="158434"/>
                    <a:pt x="21313" y="156220"/>
                  </a:cubicBezTo>
                  <a:cubicBezTo>
                    <a:pt x="11671" y="145910"/>
                    <a:pt x="4493" y="133547"/>
                    <a:pt x="320" y="120063"/>
                  </a:cubicBezTo>
                  <a:cubicBezTo>
                    <a:pt x="-580" y="117156"/>
                    <a:pt x="460" y="113998"/>
                    <a:pt x="2911" y="112195"/>
                  </a:cubicBezTo>
                  <a:lnTo>
                    <a:pt x="14751" y="103470"/>
                  </a:lnTo>
                  <a:cubicBezTo>
                    <a:pt x="20605" y="99178"/>
                    <a:pt x="21873" y="90952"/>
                    <a:pt x="17581" y="85097"/>
                  </a:cubicBezTo>
                  <a:cubicBezTo>
                    <a:pt x="16787" y="84015"/>
                    <a:pt x="15833" y="83061"/>
                    <a:pt x="14751" y="82267"/>
                  </a:cubicBezTo>
                  <a:lnTo>
                    <a:pt x="2911" y="73562"/>
                  </a:lnTo>
                  <a:cubicBezTo>
                    <a:pt x="463" y="71756"/>
                    <a:pt x="-573" y="68599"/>
                    <a:pt x="330" y="65694"/>
                  </a:cubicBezTo>
                  <a:cubicBezTo>
                    <a:pt x="4507" y="52222"/>
                    <a:pt x="11684" y="39873"/>
                    <a:pt x="21323" y="29575"/>
                  </a:cubicBezTo>
                  <a:cubicBezTo>
                    <a:pt x="23396" y="27359"/>
                    <a:pt x="26642" y="26695"/>
                    <a:pt x="29419" y="27918"/>
                  </a:cubicBezTo>
                  <a:lnTo>
                    <a:pt x="42754" y="33776"/>
                  </a:lnTo>
                  <a:cubicBezTo>
                    <a:pt x="49448" y="36678"/>
                    <a:pt x="57228" y="33603"/>
                    <a:pt x="60130" y="26909"/>
                  </a:cubicBezTo>
                  <a:cubicBezTo>
                    <a:pt x="60652" y="25705"/>
                    <a:pt x="60991" y="24430"/>
                    <a:pt x="61137" y="23127"/>
                  </a:cubicBezTo>
                  <a:lnTo>
                    <a:pt x="62757" y="8592"/>
                  </a:lnTo>
                  <a:cubicBezTo>
                    <a:pt x="63092" y="5552"/>
                    <a:pt x="65324" y="3063"/>
                    <a:pt x="68310" y="2400"/>
                  </a:cubicBezTo>
                  <a:cubicBezTo>
                    <a:pt x="75139" y="886"/>
                    <a:pt x="82121" y="86"/>
                    <a:pt x="89274" y="0"/>
                  </a:cubicBezTo>
                  <a:close/>
                  <a:moveTo>
                    <a:pt x="89160" y="64294"/>
                  </a:moveTo>
                  <a:cubicBezTo>
                    <a:pt x="73378" y="64294"/>
                    <a:pt x="60585" y="77087"/>
                    <a:pt x="60585" y="92869"/>
                  </a:cubicBezTo>
                  <a:cubicBezTo>
                    <a:pt x="60585" y="108651"/>
                    <a:pt x="73378" y="121444"/>
                    <a:pt x="89160" y="121444"/>
                  </a:cubicBezTo>
                  <a:cubicBezTo>
                    <a:pt x="104942" y="121444"/>
                    <a:pt x="117735" y="108651"/>
                    <a:pt x="117735" y="92869"/>
                  </a:cubicBezTo>
                  <a:cubicBezTo>
                    <a:pt x="117735" y="77087"/>
                    <a:pt x="104942" y="64294"/>
                    <a:pt x="89160" y="64294"/>
                  </a:cubicBezTo>
                  <a:close/>
                </a:path>
              </a:pathLst>
            </a:custGeom>
            <a:solidFill>
              <a:schemeClr val="tx1"/>
            </a:solidFill>
            <a:ln w="9525" cap="flat">
              <a:noFill/>
              <a:prstDash val="solid"/>
              <a:miter/>
            </a:ln>
          </p:spPr>
          <p:txBody>
            <a:bodyPr rtlCol="0" anchor="ctr"/>
            <a:lstStyle/>
            <a:p>
              <a:endParaRPr lang="en-US"/>
            </a:p>
          </p:txBody>
        </p:sp>
      </p:grpSp>
      <p:grpSp>
        <p:nvGrpSpPr>
          <p:cNvPr id="84" name="Group 83">
            <a:extLst>
              <a:ext uri="{FF2B5EF4-FFF2-40B4-BE49-F238E27FC236}">
                <a16:creationId xmlns:a16="http://schemas.microsoft.com/office/drawing/2014/main" id="{0A26E2DF-62AA-531B-7342-F2D4F68E0C8D}"/>
              </a:ext>
            </a:extLst>
          </p:cNvPr>
          <p:cNvGrpSpPr/>
          <p:nvPr/>
        </p:nvGrpSpPr>
        <p:grpSpPr>
          <a:xfrm>
            <a:off x="5896638" y="5086582"/>
            <a:ext cx="704862" cy="704862"/>
            <a:chOff x="5896638" y="5101096"/>
            <a:chExt cx="704862" cy="704862"/>
          </a:xfrm>
        </p:grpSpPr>
        <p:sp>
          <p:nvSpPr>
            <p:cNvPr id="65" name="Oval 64">
              <a:extLst>
                <a:ext uri="{FF2B5EF4-FFF2-40B4-BE49-F238E27FC236}">
                  <a16:creationId xmlns:a16="http://schemas.microsoft.com/office/drawing/2014/main" id="{8104DF68-1994-B2E1-A130-C0016ED90E27}"/>
                </a:ext>
              </a:extLst>
            </p:cNvPr>
            <p:cNvSpPr/>
            <p:nvPr/>
          </p:nvSpPr>
          <p:spPr bwMode="auto">
            <a:xfrm>
              <a:off x="5896638" y="5101096"/>
              <a:ext cx="704862" cy="704862"/>
            </a:xfrm>
            <a:prstGeom prst="ellipse">
              <a:avLst/>
            </a:prstGeom>
            <a:solidFill>
              <a:schemeClr val="bg1"/>
            </a:solidFill>
            <a:ln w="9525">
              <a:solidFill>
                <a:schemeClr val="bg1">
                  <a:lumMod val="85000"/>
                </a:schemeClr>
              </a:solidFill>
              <a:headEnd type="none" w="med" len="med"/>
              <a:tailEnd type="none" w="med" len="med"/>
            </a:ln>
            <a:effectLst>
              <a:outerShdw blurRad="736600" algn="ctr" rotWithShape="0">
                <a:schemeClr val="bg1">
                  <a:lumMod val="75000"/>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chemeClr val="bg1"/>
                </a:solidFill>
                <a:cs typeface="Segoe UI" pitchFamily="34" charset="0"/>
              </a:endParaRPr>
            </a:p>
          </p:txBody>
        </p:sp>
        <p:sp>
          <p:nvSpPr>
            <p:cNvPr id="83" name="Graphic 81">
              <a:extLst>
                <a:ext uri="{FF2B5EF4-FFF2-40B4-BE49-F238E27FC236}">
                  <a16:creationId xmlns:a16="http://schemas.microsoft.com/office/drawing/2014/main" id="{2A4C081C-DC2A-4494-4D51-52B876E51E02}"/>
                </a:ext>
              </a:extLst>
            </p:cNvPr>
            <p:cNvSpPr/>
            <p:nvPr/>
          </p:nvSpPr>
          <p:spPr>
            <a:xfrm>
              <a:off x="6087813" y="5278771"/>
              <a:ext cx="332038" cy="349512"/>
            </a:xfrm>
            <a:custGeom>
              <a:avLst/>
              <a:gdLst>
                <a:gd name="connsiteX0" fmla="*/ 133350 w 180975"/>
                <a:gd name="connsiteY0" fmla="*/ 19050 h 190500"/>
                <a:gd name="connsiteX1" fmla="*/ 123825 w 180975"/>
                <a:gd name="connsiteY1" fmla="*/ 9525 h 190500"/>
                <a:gd name="connsiteX2" fmla="*/ 133350 w 180975"/>
                <a:gd name="connsiteY2" fmla="*/ 0 h 190500"/>
                <a:gd name="connsiteX3" fmla="*/ 171450 w 180975"/>
                <a:gd name="connsiteY3" fmla="*/ 0 h 190500"/>
                <a:gd name="connsiteX4" fmla="*/ 180975 w 180975"/>
                <a:gd name="connsiteY4" fmla="*/ 9525 h 190500"/>
                <a:gd name="connsiteX5" fmla="*/ 180975 w 180975"/>
                <a:gd name="connsiteY5" fmla="*/ 47625 h 190500"/>
                <a:gd name="connsiteX6" fmla="*/ 171450 w 180975"/>
                <a:gd name="connsiteY6" fmla="*/ 57150 h 190500"/>
                <a:gd name="connsiteX7" fmla="*/ 161925 w 180975"/>
                <a:gd name="connsiteY7" fmla="*/ 47625 h 190500"/>
                <a:gd name="connsiteX8" fmla="*/ 161925 w 180975"/>
                <a:gd name="connsiteY8" fmla="*/ 32518 h 190500"/>
                <a:gd name="connsiteX9" fmla="*/ 106747 w 180975"/>
                <a:gd name="connsiteY9" fmla="*/ 87697 h 190500"/>
                <a:gd name="connsiteX10" fmla="*/ 93278 w 180975"/>
                <a:gd name="connsiteY10" fmla="*/ 87697 h 190500"/>
                <a:gd name="connsiteX11" fmla="*/ 66675 w 180975"/>
                <a:gd name="connsiteY11" fmla="*/ 61093 h 190500"/>
                <a:gd name="connsiteX12" fmla="*/ 16259 w 180975"/>
                <a:gd name="connsiteY12" fmla="*/ 111509 h 190500"/>
                <a:gd name="connsiteX13" fmla="*/ 2791 w 180975"/>
                <a:gd name="connsiteY13" fmla="*/ 111275 h 190500"/>
                <a:gd name="connsiteX14" fmla="*/ 2791 w 180975"/>
                <a:gd name="connsiteY14" fmla="*/ 98041 h 190500"/>
                <a:gd name="connsiteX15" fmla="*/ 59941 w 180975"/>
                <a:gd name="connsiteY15" fmla="*/ 40891 h 190500"/>
                <a:gd name="connsiteX16" fmla="*/ 73409 w 180975"/>
                <a:gd name="connsiteY16" fmla="*/ 40891 h 190500"/>
                <a:gd name="connsiteX17" fmla="*/ 100013 w 180975"/>
                <a:gd name="connsiteY17" fmla="*/ 67494 h 190500"/>
                <a:gd name="connsiteX18" fmla="*/ 148457 w 180975"/>
                <a:gd name="connsiteY18" fmla="*/ 19050 h 190500"/>
                <a:gd name="connsiteX19" fmla="*/ 133350 w 180975"/>
                <a:gd name="connsiteY19" fmla="*/ 19050 h 190500"/>
                <a:gd name="connsiteX20" fmla="*/ 19050 w 180975"/>
                <a:gd name="connsiteY20" fmla="*/ 152400 h 190500"/>
                <a:gd name="connsiteX21" fmla="*/ 19050 w 180975"/>
                <a:gd name="connsiteY21" fmla="*/ 180975 h 190500"/>
                <a:gd name="connsiteX22" fmla="*/ 9525 w 180975"/>
                <a:gd name="connsiteY22" fmla="*/ 190500 h 190500"/>
                <a:gd name="connsiteX23" fmla="*/ 0 w 180975"/>
                <a:gd name="connsiteY23" fmla="*/ 180975 h 190500"/>
                <a:gd name="connsiteX24" fmla="*/ 0 w 180975"/>
                <a:gd name="connsiteY24" fmla="*/ 152400 h 190500"/>
                <a:gd name="connsiteX25" fmla="*/ 9525 w 180975"/>
                <a:gd name="connsiteY25" fmla="*/ 142875 h 190500"/>
                <a:gd name="connsiteX26" fmla="*/ 19050 w 180975"/>
                <a:gd name="connsiteY26" fmla="*/ 152400 h 190500"/>
                <a:gd name="connsiteX27" fmla="*/ 66675 w 180975"/>
                <a:gd name="connsiteY27" fmla="*/ 114300 h 190500"/>
                <a:gd name="connsiteX28" fmla="*/ 57150 w 180975"/>
                <a:gd name="connsiteY28" fmla="*/ 104775 h 190500"/>
                <a:gd name="connsiteX29" fmla="*/ 47625 w 180975"/>
                <a:gd name="connsiteY29" fmla="*/ 114300 h 190500"/>
                <a:gd name="connsiteX30" fmla="*/ 47625 w 180975"/>
                <a:gd name="connsiteY30" fmla="*/ 180975 h 190500"/>
                <a:gd name="connsiteX31" fmla="*/ 57150 w 180975"/>
                <a:gd name="connsiteY31" fmla="*/ 190500 h 190500"/>
                <a:gd name="connsiteX32" fmla="*/ 66675 w 180975"/>
                <a:gd name="connsiteY32" fmla="*/ 180975 h 190500"/>
                <a:gd name="connsiteX33" fmla="*/ 66675 w 180975"/>
                <a:gd name="connsiteY33" fmla="*/ 114300 h 190500"/>
                <a:gd name="connsiteX34" fmla="*/ 104775 w 180975"/>
                <a:gd name="connsiteY34" fmla="*/ 123825 h 190500"/>
                <a:gd name="connsiteX35" fmla="*/ 114300 w 180975"/>
                <a:gd name="connsiteY35" fmla="*/ 133350 h 190500"/>
                <a:gd name="connsiteX36" fmla="*/ 114300 w 180975"/>
                <a:gd name="connsiteY36" fmla="*/ 180975 h 190500"/>
                <a:gd name="connsiteX37" fmla="*/ 104775 w 180975"/>
                <a:gd name="connsiteY37" fmla="*/ 190500 h 190500"/>
                <a:gd name="connsiteX38" fmla="*/ 95250 w 180975"/>
                <a:gd name="connsiteY38" fmla="*/ 180975 h 190500"/>
                <a:gd name="connsiteX39" fmla="*/ 95250 w 180975"/>
                <a:gd name="connsiteY39" fmla="*/ 133350 h 190500"/>
                <a:gd name="connsiteX40" fmla="*/ 104775 w 180975"/>
                <a:gd name="connsiteY40" fmla="*/ 123825 h 190500"/>
                <a:gd name="connsiteX41" fmla="*/ 161925 w 180975"/>
                <a:gd name="connsiteY41" fmla="*/ 85725 h 190500"/>
                <a:gd name="connsiteX42" fmla="*/ 152400 w 180975"/>
                <a:gd name="connsiteY42" fmla="*/ 76200 h 190500"/>
                <a:gd name="connsiteX43" fmla="*/ 142875 w 180975"/>
                <a:gd name="connsiteY43" fmla="*/ 85725 h 190500"/>
                <a:gd name="connsiteX44" fmla="*/ 142875 w 180975"/>
                <a:gd name="connsiteY44" fmla="*/ 180975 h 190500"/>
                <a:gd name="connsiteX45" fmla="*/ 152400 w 180975"/>
                <a:gd name="connsiteY45" fmla="*/ 190500 h 190500"/>
                <a:gd name="connsiteX46" fmla="*/ 161925 w 180975"/>
                <a:gd name="connsiteY46" fmla="*/ 180975 h 190500"/>
                <a:gd name="connsiteX47" fmla="*/ 161925 w 180975"/>
                <a:gd name="connsiteY47" fmla="*/ 8572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80975" h="190500">
                  <a:moveTo>
                    <a:pt x="133350" y="19050"/>
                  </a:moveTo>
                  <a:cubicBezTo>
                    <a:pt x="128089" y="19050"/>
                    <a:pt x="123825" y="14785"/>
                    <a:pt x="123825" y="9525"/>
                  </a:cubicBezTo>
                  <a:cubicBezTo>
                    <a:pt x="123825" y="4265"/>
                    <a:pt x="128089" y="0"/>
                    <a:pt x="133350" y="0"/>
                  </a:cubicBezTo>
                  <a:lnTo>
                    <a:pt x="171450" y="0"/>
                  </a:lnTo>
                  <a:cubicBezTo>
                    <a:pt x="176711" y="0"/>
                    <a:pt x="180975" y="4265"/>
                    <a:pt x="180975" y="9525"/>
                  </a:cubicBezTo>
                  <a:lnTo>
                    <a:pt x="180975" y="47625"/>
                  </a:lnTo>
                  <a:cubicBezTo>
                    <a:pt x="180975" y="52885"/>
                    <a:pt x="176711" y="57150"/>
                    <a:pt x="171450" y="57150"/>
                  </a:cubicBezTo>
                  <a:cubicBezTo>
                    <a:pt x="166189" y="57150"/>
                    <a:pt x="161925" y="52885"/>
                    <a:pt x="161925" y="47625"/>
                  </a:cubicBezTo>
                  <a:lnTo>
                    <a:pt x="161925" y="32518"/>
                  </a:lnTo>
                  <a:lnTo>
                    <a:pt x="106747" y="87697"/>
                  </a:lnTo>
                  <a:cubicBezTo>
                    <a:pt x="103027" y="91415"/>
                    <a:pt x="96998" y="91415"/>
                    <a:pt x="93278" y="87697"/>
                  </a:cubicBezTo>
                  <a:lnTo>
                    <a:pt x="66675" y="61093"/>
                  </a:lnTo>
                  <a:lnTo>
                    <a:pt x="16259" y="111509"/>
                  </a:lnTo>
                  <a:cubicBezTo>
                    <a:pt x="12475" y="115164"/>
                    <a:pt x="6445" y="115059"/>
                    <a:pt x="2791" y="111275"/>
                  </a:cubicBezTo>
                  <a:cubicBezTo>
                    <a:pt x="-774" y="107584"/>
                    <a:pt x="-774" y="101732"/>
                    <a:pt x="2791" y="98041"/>
                  </a:cubicBezTo>
                  <a:lnTo>
                    <a:pt x="59941" y="40891"/>
                  </a:lnTo>
                  <a:cubicBezTo>
                    <a:pt x="63660" y="37172"/>
                    <a:pt x="69690" y="37172"/>
                    <a:pt x="73409" y="40891"/>
                  </a:cubicBezTo>
                  <a:lnTo>
                    <a:pt x="100013" y="67494"/>
                  </a:lnTo>
                  <a:lnTo>
                    <a:pt x="148457" y="19050"/>
                  </a:lnTo>
                  <a:lnTo>
                    <a:pt x="133350" y="19050"/>
                  </a:lnTo>
                  <a:close/>
                  <a:moveTo>
                    <a:pt x="19050" y="152400"/>
                  </a:moveTo>
                  <a:lnTo>
                    <a:pt x="19050" y="180975"/>
                  </a:lnTo>
                  <a:cubicBezTo>
                    <a:pt x="19050" y="186236"/>
                    <a:pt x="14785" y="190500"/>
                    <a:pt x="9525" y="190500"/>
                  </a:cubicBezTo>
                  <a:cubicBezTo>
                    <a:pt x="4265" y="190500"/>
                    <a:pt x="0" y="186236"/>
                    <a:pt x="0" y="180975"/>
                  </a:cubicBezTo>
                  <a:lnTo>
                    <a:pt x="0" y="152400"/>
                  </a:lnTo>
                  <a:cubicBezTo>
                    <a:pt x="0" y="147139"/>
                    <a:pt x="4265" y="142875"/>
                    <a:pt x="9525" y="142875"/>
                  </a:cubicBezTo>
                  <a:cubicBezTo>
                    <a:pt x="14785" y="142875"/>
                    <a:pt x="19050" y="147139"/>
                    <a:pt x="19050" y="152400"/>
                  </a:cubicBezTo>
                  <a:close/>
                  <a:moveTo>
                    <a:pt x="66675" y="114300"/>
                  </a:moveTo>
                  <a:cubicBezTo>
                    <a:pt x="66675" y="109039"/>
                    <a:pt x="62411" y="104775"/>
                    <a:pt x="57150" y="104775"/>
                  </a:cubicBezTo>
                  <a:cubicBezTo>
                    <a:pt x="51889" y="104775"/>
                    <a:pt x="47625" y="109039"/>
                    <a:pt x="47625" y="114300"/>
                  </a:cubicBezTo>
                  <a:lnTo>
                    <a:pt x="47625" y="180975"/>
                  </a:lnTo>
                  <a:cubicBezTo>
                    <a:pt x="47625" y="186236"/>
                    <a:pt x="51889" y="190500"/>
                    <a:pt x="57150" y="190500"/>
                  </a:cubicBezTo>
                  <a:cubicBezTo>
                    <a:pt x="62411" y="190500"/>
                    <a:pt x="66675" y="186236"/>
                    <a:pt x="66675" y="180975"/>
                  </a:cubicBezTo>
                  <a:lnTo>
                    <a:pt x="66675" y="114300"/>
                  </a:lnTo>
                  <a:close/>
                  <a:moveTo>
                    <a:pt x="104775" y="123825"/>
                  </a:moveTo>
                  <a:cubicBezTo>
                    <a:pt x="110036" y="123825"/>
                    <a:pt x="114300" y="128089"/>
                    <a:pt x="114300" y="133350"/>
                  </a:cubicBezTo>
                  <a:lnTo>
                    <a:pt x="114300" y="180975"/>
                  </a:lnTo>
                  <a:cubicBezTo>
                    <a:pt x="114300" y="186236"/>
                    <a:pt x="110036" y="190500"/>
                    <a:pt x="104775" y="190500"/>
                  </a:cubicBezTo>
                  <a:cubicBezTo>
                    <a:pt x="99514" y="190500"/>
                    <a:pt x="95250" y="186236"/>
                    <a:pt x="95250" y="180975"/>
                  </a:cubicBezTo>
                  <a:lnTo>
                    <a:pt x="95250" y="133350"/>
                  </a:lnTo>
                  <a:cubicBezTo>
                    <a:pt x="95250" y="128089"/>
                    <a:pt x="99514" y="123825"/>
                    <a:pt x="104775" y="123825"/>
                  </a:cubicBezTo>
                  <a:close/>
                  <a:moveTo>
                    <a:pt x="161925" y="85725"/>
                  </a:moveTo>
                  <a:cubicBezTo>
                    <a:pt x="161925" y="80464"/>
                    <a:pt x="157661" y="76200"/>
                    <a:pt x="152400" y="76200"/>
                  </a:cubicBezTo>
                  <a:cubicBezTo>
                    <a:pt x="147139" y="76200"/>
                    <a:pt x="142875" y="80464"/>
                    <a:pt x="142875" y="85725"/>
                  </a:cubicBezTo>
                  <a:lnTo>
                    <a:pt x="142875" y="180975"/>
                  </a:lnTo>
                  <a:cubicBezTo>
                    <a:pt x="142875" y="186236"/>
                    <a:pt x="147139" y="190500"/>
                    <a:pt x="152400" y="190500"/>
                  </a:cubicBezTo>
                  <a:cubicBezTo>
                    <a:pt x="157661" y="190500"/>
                    <a:pt x="161925" y="186236"/>
                    <a:pt x="161925" y="180975"/>
                  </a:cubicBezTo>
                  <a:lnTo>
                    <a:pt x="161925" y="85725"/>
                  </a:lnTo>
                  <a:close/>
                </a:path>
              </a:pathLst>
            </a:custGeom>
            <a:solidFill>
              <a:schemeClr val="tx1"/>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38348557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99" name="Picture 2998">
            <a:extLst>
              <a:ext uri="{FF2B5EF4-FFF2-40B4-BE49-F238E27FC236}">
                <a16:creationId xmlns:a16="http://schemas.microsoft.com/office/drawing/2014/main" id="{33679761-433F-C54C-8493-9919DD0BE44D}"/>
              </a:ext>
              <a:ext uri="{C183D7F6-B498-43B3-948B-1728B52AA6E4}">
                <adec:decorative xmlns:adec="http://schemas.microsoft.com/office/drawing/2017/decorative" val="1"/>
              </a:ext>
            </a:extLst>
          </p:cNvPr>
          <p:cNvPicPr>
            <a:picLocks noChangeAspect="1"/>
          </p:cNvPicPr>
          <p:nvPr/>
        </p:nvPicPr>
        <p:blipFill rotWithShape="1">
          <a:blip r:embed="rId3">
            <a:alphaModFix amt="80000"/>
            <a:extLst>
              <a:ext uri="{28A0092B-C50C-407E-A947-70E740481C1C}">
                <a14:useLocalDpi xmlns:a14="http://schemas.microsoft.com/office/drawing/2010/main" val="0"/>
              </a:ext>
            </a:extLst>
          </a:blip>
          <a:srcRect l="-1" r="28045"/>
          <a:stretch/>
        </p:blipFill>
        <p:spPr>
          <a:xfrm flipV="1">
            <a:off x="5291174" y="2567676"/>
            <a:ext cx="6900826" cy="4290321"/>
          </a:xfrm>
          <a:prstGeom prst="rect">
            <a:avLst/>
          </a:prstGeom>
        </p:spPr>
      </p:pic>
      <p:sp>
        <p:nvSpPr>
          <p:cNvPr id="4" name="Rectangle 3">
            <a:extLst>
              <a:ext uri="{FF2B5EF4-FFF2-40B4-BE49-F238E27FC236}">
                <a16:creationId xmlns:a16="http://schemas.microsoft.com/office/drawing/2014/main" id="{BF686646-025F-07B0-D871-3A08C6961819}"/>
              </a:ext>
              <a:ext uri="{C183D7F6-B498-43B3-948B-1728B52AA6E4}">
                <adec:decorative xmlns:adec="http://schemas.microsoft.com/office/drawing/2017/decorative" val="1"/>
              </a:ext>
            </a:extLst>
          </p:cNvPr>
          <p:cNvSpPr/>
          <p:nvPr/>
        </p:nvSpPr>
        <p:spPr bwMode="auto">
          <a:xfrm rot="10800000">
            <a:off x="0" y="-4"/>
            <a:ext cx="12192000" cy="6858000"/>
          </a:xfrm>
          <a:prstGeom prst="rect">
            <a:avLst/>
          </a:prstGeom>
          <a:gradFill flip="none" rotWithShape="1">
            <a:gsLst>
              <a:gs pos="0">
                <a:srgbClr val="F7F7F8"/>
              </a:gs>
              <a:gs pos="100000">
                <a:srgbClr val="F7F7F8">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rm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2" name="Title 1">
            <a:extLst>
              <a:ext uri="{FF2B5EF4-FFF2-40B4-BE49-F238E27FC236}">
                <a16:creationId xmlns:a16="http://schemas.microsoft.com/office/drawing/2014/main" id="{987EDA10-C46A-4A96-8EDC-AA270148098B}"/>
              </a:ext>
            </a:extLst>
          </p:cNvPr>
          <p:cNvSpPr>
            <a:spLocks noGrp="1"/>
          </p:cNvSpPr>
          <p:nvPr>
            <p:ph type="title"/>
          </p:nvPr>
        </p:nvSpPr>
        <p:spPr>
          <a:xfrm>
            <a:off x="588962" y="457200"/>
            <a:ext cx="11309349" cy="554038"/>
          </a:xfrm>
        </p:spPr>
        <p:txBody>
          <a:bodyPr>
            <a:noAutofit/>
          </a:bodyPr>
          <a:lstStyle/>
          <a:p>
            <a:r>
              <a:rPr lang="en-US" dirty="0"/>
              <a:t>Becoming a Data and AI Driven company – The Journey</a:t>
            </a:r>
          </a:p>
        </p:txBody>
      </p:sp>
      <p:grpSp>
        <p:nvGrpSpPr>
          <p:cNvPr id="2272" name="Group 2271" descr="Icon of a Bank">
            <a:extLst>
              <a:ext uri="{FF2B5EF4-FFF2-40B4-BE49-F238E27FC236}">
                <a16:creationId xmlns:a16="http://schemas.microsoft.com/office/drawing/2014/main" id="{4F97892B-EB6E-9292-2A80-99FB3333A458}"/>
              </a:ext>
            </a:extLst>
          </p:cNvPr>
          <p:cNvGrpSpPr/>
          <p:nvPr/>
        </p:nvGrpSpPr>
        <p:grpSpPr>
          <a:xfrm>
            <a:off x="5462361" y="1300349"/>
            <a:ext cx="1248988" cy="997316"/>
            <a:chOff x="5462361" y="1140690"/>
            <a:chExt cx="1248988" cy="997316"/>
          </a:xfrm>
        </p:grpSpPr>
        <p:grpSp>
          <p:nvGrpSpPr>
            <p:cNvPr id="2273" name="Group 2272">
              <a:extLst>
                <a:ext uri="{FF2B5EF4-FFF2-40B4-BE49-F238E27FC236}">
                  <a16:creationId xmlns:a16="http://schemas.microsoft.com/office/drawing/2014/main" id="{4D2692BE-C647-4F20-A590-82864A17DEF3}"/>
                </a:ext>
              </a:extLst>
            </p:cNvPr>
            <p:cNvGrpSpPr/>
            <p:nvPr/>
          </p:nvGrpSpPr>
          <p:grpSpPr>
            <a:xfrm>
              <a:off x="5462361" y="1280352"/>
              <a:ext cx="1248988" cy="857654"/>
              <a:chOff x="5466605" y="2240612"/>
              <a:chExt cx="1257104" cy="863227"/>
            </a:xfrm>
          </p:grpSpPr>
          <p:sp>
            <p:nvSpPr>
              <p:cNvPr id="2275" name="Oval 2274">
                <a:extLst>
                  <a:ext uri="{FF2B5EF4-FFF2-40B4-BE49-F238E27FC236}">
                    <a16:creationId xmlns:a16="http://schemas.microsoft.com/office/drawing/2014/main" id="{44A0C0D2-1F19-4F4A-8A2B-F0B4A0C3086F}"/>
                  </a:ext>
                </a:extLst>
              </p:cNvPr>
              <p:cNvSpPr/>
              <p:nvPr/>
            </p:nvSpPr>
            <p:spPr bwMode="auto">
              <a:xfrm>
                <a:off x="5466605" y="2460096"/>
                <a:ext cx="1257104" cy="643743"/>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2276" name="Group 2275">
                <a:extLst>
                  <a:ext uri="{FF2B5EF4-FFF2-40B4-BE49-F238E27FC236}">
                    <a16:creationId xmlns:a16="http://schemas.microsoft.com/office/drawing/2014/main" id="{E61A4BD2-3C50-4A66-9EE7-AD0510E5B7E2}"/>
                  </a:ext>
                </a:extLst>
              </p:cNvPr>
              <p:cNvGrpSpPr/>
              <p:nvPr/>
            </p:nvGrpSpPr>
            <p:grpSpPr>
              <a:xfrm>
                <a:off x="5582907" y="2240612"/>
                <a:ext cx="1024498" cy="785424"/>
                <a:chOff x="1274815" y="2421349"/>
                <a:chExt cx="1024498" cy="785424"/>
              </a:xfrm>
              <a:effectLst>
                <a:outerShdw blurRad="50800" dist="38100" dir="2700000" algn="tl" rotWithShape="0">
                  <a:schemeClr val="bg1">
                    <a:lumMod val="75000"/>
                    <a:alpha val="40000"/>
                  </a:schemeClr>
                </a:outerShdw>
              </a:effectLst>
            </p:grpSpPr>
            <p:sp>
              <p:nvSpPr>
                <p:cNvPr id="2277" name="Freeform 5">
                  <a:extLst>
                    <a:ext uri="{FF2B5EF4-FFF2-40B4-BE49-F238E27FC236}">
                      <a16:creationId xmlns:a16="http://schemas.microsoft.com/office/drawing/2014/main" id="{456B2D53-B078-4E1B-8D26-DFF471452D9E}"/>
                    </a:ext>
                  </a:extLst>
                </p:cNvPr>
                <p:cNvSpPr>
                  <a:spLocks/>
                </p:cNvSpPr>
                <p:nvPr/>
              </p:nvSpPr>
              <p:spPr bwMode="auto">
                <a:xfrm>
                  <a:off x="1274815" y="2625243"/>
                  <a:ext cx="1024498" cy="581530"/>
                </a:xfrm>
                <a:custGeom>
                  <a:avLst/>
                  <a:gdLst>
                    <a:gd name="T0" fmla="*/ 482 w 599"/>
                    <a:gd name="T1" fmla="*/ 36 h 339"/>
                    <a:gd name="T2" fmla="*/ 299 w 599"/>
                    <a:gd name="T3" fmla="*/ 0 h 339"/>
                    <a:gd name="T4" fmla="*/ 117 w 599"/>
                    <a:gd name="T5" fmla="*/ 36 h 339"/>
                    <a:gd name="T6" fmla="*/ 0 w 599"/>
                    <a:gd name="T7" fmla="*/ 36 h 339"/>
                    <a:gd name="T8" fmla="*/ 0 w 599"/>
                    <a:gd name="T9" fmla="*/ 177 h 339"/>
                    <a:gd name="T10" fmla="*/ 0 w 599"/>
                    <a:gd name="T11" fmla="*/ 177 h 339"/>
                    <a:gd name="T12" fmla="*/ 299 w 599"/>
                    <a:gd name="T13" fmla="*/ 339 h 339"/>
                    <a:gd name="T14" fmla="*/ 598 w 599"/>
                    <a:gd name="T15" fmla="*/ 177 h 339"/>
                    <a:gd name="T16" fmla="*/ 599 w 599"/>
                    <a:gd name="T17" fmla="*/ 177 h 339"/>
                    <a:gd name="T18" fmla="*/ 599 w 599"/>
                    <a:gd name="T19" fmla="*/ 36 h 339"/>
                    <a:gd name="T20" fmla="*/ 482 w 599"/>
                    <a:gd name="T21" fmla="*/ 36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9" h="339">
                      <a:moveTo>
                        <a:pt x="482" y="36"/>
                      </a:moveTo>
                      <a:cubicBezTo>
                        <a:pt x="431" y="14"/>
                        <a:pt x="368" y="0"/>
                        <a:pt x="299" y="0"/>
                      </a:cubicBezTo>
                      <a:cubicBezTo>
                        <a:pt x="231" y="0"/>
                        <a:pt x="167" y="14"/>
                        <a:pt x="117" y="36"/>
                      </a:cubicBezTo>
                      <a:cubicBezTo>
                        <a:pt x="0" y="36"/>
                        <a:pt x="0" y="36"/>
                        <a:pt x="0" y="36"/>
                      </a:cubicBezTo>
                      <a:cubicBezTo>
                        <a:pt x="0" y="177"/>
                        <a:pt x="0" y="177"/>
                        <a:pt x="0" y="177"/>
                      </a:cubicBezTo>
                      <a:cubicBezTo>
                        <a:pt x="0" y="177"/>
                        <a:pt x="0" y="177"/>
                        <a:pt x="0" y="177"/>
                      </a:cubicBezTo>
                      <a:cubicBezTo>
                        <a:pt x="7" y="267"/>
                        <a:pt x="138" y="339"/>
                        <a:pt x="299" y="339"/>
                      </a:cubicBezTo>
                      <a:cubicBezTo>
                        <a:pt x="461" y="339"/>
                        <a:pt x="592" y="267"/>
                        <a:pt x="598" y="177"/>
                      </a:cubicBezTo>
                      <a:cubicBezTo>
                        <a:pt x="599" y="177"/>
                        <a:pt x="599" y="177"/>
                        <a:pt x="599" y="177"/>
                      </a:cubicBezTo>
                      <a:cubicBezTo>
                        <a:pt x="599" y="36"/>
                        <a:pt x="599" y="36"/>
                        <a:pt x="599" y="36"/>
                      </a:cubicBezTo>
                      <a:lnTo>
                        <a:pt x="482" y="36"/>
                      </a:lnTo>
                      <a:close/>
                    </a:path>
                  </a:pathLst>
                </a:custGeom>
                <a:gradFill flip="none" rotWithShape="1">
                  <a:gsLst>
                    <a:gs pos="0">
                      <a:srgbClr val="FEFEFE"/>
                    </a:gs>
                    <a:gs pos="39800">
                      <a:srgbClr val="FAFAFA"/>
                    </a:gs>
                    <a:gs pos="100000">
                      <a:schemeClr val="bg1">
                        <a:lumMod val="95000"/>
                      </a:schemeClr>
                    </a:gs>
                  </a:gsLst>
                  <a:lin ang="27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278" name="Oval 6">
                  <a:extLst>
                    <a:ext uri="{FF2B5EF4-FFF2-40B4-BE49-F238E27FC236}">
                      <a16:creationId xmlns:a16="http://schemas.microsoft.com/office/drawing/2014/main" id="{8BDC0215-420C-489E-A24F-EBD84FED4128}"/>
                    </a:ext>
                  </a:extLst>
                </p:cNvPr>
                <p:cNvSpPr>
                  <a:spLocks noChangeArrowheads="1"/>
                </p:cNvSpPr>
                <p:nvPr/>
              </p:nvSpPr>
              <p:spPr bwMode="auto">
                <a:xfrm>
                  <a:off x="1274815" y="2421349"/>
                  <a:ext cx="1024498" cy="581530"/>
                </a:xfrm>
                <a:prstGeom prst="ellipse">
                  <a:avLst/>
                </a:prstGeom>
                <a:gradFill flip="none" rotWithShape="1">
                  <a:gsLst>
                    <a:gs pos="0">
                      <a:schemeClr val="bg1"/>
                    </a:gs>
                    <a:gs pos="100000">
                      <a:schemeClr val="bg1">
                        <a:lumMod val="95000"/>
                      </a:schemeClr>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274" name="Graphic 16" descr="Icon of a financial institution">
              <a:extLst>
                <a:ext uri="{FF2B5EF4-FFF2-40B4-BE49-F238E27FC236}">
                  <a16:creationId xmlns:a16="http://schemas.microsoft.com/office/drawing/2014/main" id="{B94203AD-57C5-57AD-7927-BA0E365C1C6A}"/>
                </a:ext>
              </a:extLst>
            </p:cNvPr>
            <p:cNvSpPr>
              <a:spLocks/>
            </p:cNvSpPr>
            <p:nvPr/>
          </p:nvSpPr>
          <p:spPr>
            <a:xfrm>
              <a:off x="5862770" y="1140690"/>
              <a:ext cx="466459" cy="479697"/>
            </a:xfrm>
            <a:custGeom>
              <a:avLst/>
              <a:gdLst>
                <a:gd name="connsiteX0" fmla="*/ 75895 w 171450"/>
                <a:gd name="connsiteY0" fmla="*/ 3207 h 176323"/>
                <a:gd name="connsiteX1" fmla="*/ 95555 w 171450"/>
                <a:gd name="connsiteY1" fmla="*/ 3207 h 176323"/>
                <a:gd name="connsiteX2" fmla="*/ 166240 w 171450"/>
                <a:gd name="connsiteY2" fmla="*/ 54794 h 176323"/>
                <a:gd name="connsiteX3" fmla="*/ 159248 w 171450"/>
                <a:gd name="connsiteY3" fmla="*/ 76321 h 176323"/>
                <a:gd name="connsiteX4" fmla="*/ 12192 w 171450"/>
                <a:gd name="connsiteY4" fmla="*/ 76321 h 176323"/>
                <a:gd name="connsiteX5" fmla="*/ 5201 w 171450"/>
                <a:gd name="connsiteY5" fmla="*/ 54794 h 176323"/>
                <a:gd name="connsiteX6" fmla="*/ 75886 w 171450"/>
                <a:gd name="connsiteY6" fmla="*/ 3207 h 176323"/>
                <a:gd name="connsiteX7" fmla="*/ 95250 w 171450"/>
                <a:gd name="connsiteY7" fmla="*/ 40593 h 176323"/>
                <a:gd name="connsiteX8" fmla="*/ 85725 w 171450"/>
                <a:gd name="connsiteY8" fmla="*/ 31068 h 176323"/>
                <a:gd name="connsiteX9" fmla="*/ 76200 w 171450"/>
                <a:gd name="connsiteY9" fmla="*/ 40593 h 176323"/>
                <a:gd name="connsiteX10" fmla="*/ 85725 w 171450"/>
                <a:gd name="connsiteY10" fmla="*/ 50118 h 176323"/>
                <a:gd name="connsiteX11" fmla="*/ 95250 w 171450"/>
                <a:gd name="connsiteY11" fmla="*/ 40593 h 176323"/>
                <a:gd name="connsiteX12" fmla="*/ 78581 w 171450"/>
                <a:gd name="connsiteY12" fmla="*/ 133461 h 176323"/>
                <a:gd name="connsiteX13" fmla="*/ 59531 w 171450"/>
                <a:gd name="connsiteY13" fmla="*/ 133461 h 176323"/>
                <a:gd name="connsiteX14" fmla="*/ 59531 w 171450"/>
                <a:gd name="connsiteY14" fmla="*/ 85836 h 176323"/>
                <a:gd name="connsiteX15" fmla="*/ 78581 w 171450"/>
                <a:gd name="connsiteY15" fmla="*/ 85836 h 176323"/>
                <a:gd name="connsiteX16" fmla="*/ 78581 w 171450"/>
                <a:gd name="connsiteY16" fmla="*/ 133461 h 176323"/>
                <a:gd name="connsiteX17" fmla="*/ 111919 w 171450"/>
                <a:gd name="connsiteY17" fmla="*/ 133461 h 176323"/>
                <a:gd name="connsiteX18" fmla="*/ 92869 w 171450"/>
                <a:gd name="connsiteY18" fmla="*/ 133461 h 176323"/>
                <a:gd name="connsiteX19" fmla="*/ 92869 w 171450"/>
                <a:gd name="connsiteY19" fmla="*/ 85836 h 176323"/>
                <a:gd name="connsiteX20" fmla="*/ 111919 w 171450"/>
                <a:gd name="connsiteY20" fmla="*/ 85836 h 176323"/>
                <a:gd name="connsiteX21" fmla="*/ 111919 w 171450"/>
                <a:gd name="connsiteY21" fmla="*/ 133461 h 176323"/>
                <a:gd name="connsiteX22" fmla="*/ 147638 w 171450"/>
                <a:gd name="connsiteY22" fmla="*/ 133461 h 176323"/>
                <a:gd name="connsiteX23" fmla="*/ 126206 w 171450"/>
                <a:gd name="connsiteY23" fmla="*/ 133461 h 176323"/>
                <a:gd name="connsiteX24" fmla="*/ 126206 w 171450"/>
                <a:gd name="connsiteY24" fmla="*/ 85836 h 176323"/>
                <a:gd name="connsiteX25" fmla="*/ 147638 w 171450"/>
                <a:gd name="connsiteY25" fmla="*/ 85836 h 176323"/>
                <a:gd name="connsiteX26" fmla="*/ 147638 w 171450"/>
                <a:gd name="connsiteY26" fmla="*/ 133461 h 176323"/>
                <a:gd name="connsiteX27" fmla="*/ 150019 w 171450"/>
                <a:gd name="connsiteY27" fmla="*/ 142986 h 176323"/>
                <a:gd name="connsiteX28" fmla="*/ 21431 w 171450"/>
                <a:gd name="connsiteY28" fmla="*/ 142986 h 176323"/>
                <a:gd name="connsiteX29" fmla="*/ 0 w 171450"/>
                <a:gd name="connsiteY29" fmla="*/ 164418 h 176323"/>
                <a:gd name="connsiteX30" fmla="*/ 0 w 171450"/>
                <a:gd name="connsiteY30" fmla="*/ 169180 h 176323"/>
                <a:gd name="connsiteX31" fmla="*/ 7144 w 171450"/>
                <a:gd name="connsiteY31" fmla="*/ 176324 h 176323"/>
                <a:gd name="connsiteX32" fmla="*/ 164306 w 171450"/>
                <a:gd name="connsiteY32" fmla="*/ 176324 h 176323"/>
                <a:gd name="connsiteX33" fmla="*/ 171450 w 171450"/>
                <a:gd name="connsiteY33" fmla="*/ 169180 h 176323"/>
                <a:gd name="connsiteX34" fmla="*/ 171450 w 171450"/>
                <a:gd name="connsiteY34" fmla="*/ 164418 h 176323"/>
                <a:gd name="connsiteX35" fmla="*/ 150019 w 171450"/>
                <a:gd name="connsiteY35" fmla="*/ 142986 h 176323"/>
                <a:gd name="connsiteX36" fmla="*/ 45244 w 171450"/>
                <a:gd name="connsiteY36" fmla="*/ 133461 h 176323"/>
                <a:gd name="connsiteX37" fmla="*/ 23813 w 171450"/>
                <a:gd name="connsiteY37" fmla="*/ 133461 h 176323"/>
                <a:gd name="connsiteX38" fmla="*/ 23813 w 171450"/>
                <a:gd name="connsiteY38" fmla="*/ 85836 h 176323"/>
                <a:gd name="connsiteX39" fmla="*/ 45244 w 171450"/>
                <a:gd name="connsiteY39" fmla="*/ 85836 h 176323"/>
                <a:gd name="connsiteX40" fmla="*/ 45244 w 171450"/>
                <a:gd name="connsiteY40" fmla="*/ 133461 h 176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450" h="176323">
                  <a:moveTo>
                    <a:pt x="75895" y="3207"/>
                  </a:moveTo>
                  <a:cubicBezTo>
                    <a:pt x="81751" y="-1069"/>
                    <a:pt x="89699" y="-1069"/>
                    <a:pt x="95555" y="3207"/>
                  </a:cubicBezTo>
                  <a:lnTo>
                    <a:pt x="166240" y="54794"/>
                  </a:lnTo>
                  <a:cubicBezTo>
                    <a:pt x="175546" y="61576"/>
                    <a:pt x="170755" y="76292"/>
                    <a:pt x="159248" y="76321"/>
                  </a:cubicBezTo>
                  <a:lnTo>
                    <a:pt x="12192" y="76321"/>
                  </a:lnTo>
                  <a:cubicBezTo>
                    <a:pt x="686" y="76292"/>
                    <a:pt x="-4096" y="61576"/>
                    <a:pt x="5201" y="54794"/>
                  </a:cubicBezTo>
                  <a:lnTo>
                    <a:pt x="75886" y="3207"/>
                  </a:lnTo>
                  <a:close/>
                  <a:moveTo>
                    <a:pt x="95250" y="40593"/>
                  </a:moveTo>
                  <a:cubicBezTo>
                    <a:pt x="95250" y="35332"/>
                    <a:pt x="90986" y="31068"/>
                    <a:pt x="85725" y="31068"/>
                  </a:cubicBezTo>
                  <a:cubicBezTo>
                    <a:pt x="80464" y="31068"/>
                    <a:pt x="76200" y="35332"/>
                    <a:pt x="76200" y="40593"/>
                  </a:cubicBezTo>
                  <a:cubicBezTo>
                    <a:pt x="76200" y="45853"/>
                    <a:pt x="80464" y="50118"/>
                    <a:pt x="85725" y="50118"/>
                  </a:cubicBezTo>
                  <a:cubicBezTo>
                    <a:pt x="90986" y="50118"/>
                    <a:pt x="95250" y="45853"/>
                    <a:pt x="95250" y="40593"/>
                  </a:cubicBezTo>
                  <a:close/>
                  <a:moveTo>
                    <a:pt x="78581" y="133461"/>
                  </a:moveTo>
                  <a:lnTo>
                    <a:pt x="59531" y="133461"/>
                  </a:lnTo>
                  <a:lnTo>
                    <a:pt x="59531" y="85836"/>
                  </a:lnTo>
                  <a:lnTo>
                    <a:pt x="78581" y="85836"/>
                  </a:lnTo>
                  <a:lnTo>
                    <a:pt x="78581" y="133461"/>
                  </a:lnTo>
                  <a:close/>
                  <a:moveTo>
                    <a:pt x="111919" y="133461"/>
                  </a:moveTo>
                  <a:lnTo>
                    <a:pt x="92869" y="133461"/>
                  </a:lnTo>
                  <a:lnTo>
                    <a:pt x="92869" y="85836"/>
                  </a:lnTo>
                  <a:lnTo>
                    <a:pt x="111919" y="85836"/>
                  </a:lnTo>
                  <a:lnTo>
                    <a:pt x="111919" y="133461"/>
                  </a:lnTo>
                  <a:close/>
                  <a:moveTo>
                    <a:pt x="147638" y="133461"/>
                  </a:moveTo>
                  <a:lnTo>
                    <a:pt x="126206" y="133461"/>
                  </a:lnTo>
                  <a:lnTo>
                    <a:pt x="126206" y="85836"/>
                  </a:lnTo>
                  <a:lnTo>
                    <a:pt x="147638" y="85836"/>
                  </a:lnTo>
                  <a:lnTo>
                    <a:pt x="147638" y="133461"/>
                  </a:lnTo>
                  <a:close/>
                  <a:moveTo>
                    <a:pt x="150019" y="142986"/>
                  </a:moveTo>
                  <a:lnTo>
                    <a:pt x="21431" y="142986"/>
                  </a:lnTo>
                  <a:cubicBezTo>
                    <a:pt x="9595" y="142986"/>
                    <a:pt x="0" y="152582"/>
                    <a:pt x="0" y="164418"/>
                  </a:cubicBezTo>
                  <a:lnTo>
                    <a:pt x="0" y="169180"/>
                  </a:lnTo>
                  <a:cubicBezTo>
                    <a:pt x="0" y="173133"/>
                    <a:pt x="3200" y="176324"/>
                    <a:pt x="7144" y="176324"/>
                  </a:cubicBezTo>
                  <a:lnTo>
                    <a:pt x="164306" y="176324"/>
                  </a:lnTo>
                  <a:cubicBezTo>
                    <a:pt x="168252" y="176324"/>
                    <a:pt x="171450" y="173125"/>
                    <a:pt x="171450" y="169180"/>
                  </a:cubicBezTo>
                  <a:lnTo>
                    <a:pt x="171450" y="164418"/>
                  </a:lnTo>
                  <a:cubicBezTo>
                    <a:pt x="171450" y="152582"/>
                    <a:pt x="161855" y="142986"/>
                    <a:pt x="150019" y="142986"/>
                  </a:cubicBezTo>
                  <a:close/>
                  <a:moveTo>
                    <a:pt x="45244" y="133461"/>
                  </a:moveTo>
                  <a:lnTo>
                    <a:pt x="23813" y="133461"/>
                  </a:lnTo>
                  <a:lnTo>
                    <a:pt x="23813" y="85836"/>
                  </a:lnTo>
                  <a:lnTo>
                    <a:pt x="45244" y="85836"/>
                  </a:lnTo>
                  <a:lnTo>
                    <a:pt x="45244" y="133461"/>
                  </a:lnTo>
                  <a:close/>
                </a:path>
              </a:pathLst>
            </a:custGeom>
            <a:gradFill flip="none" rotWithShape="1">
              <a:gsLst>
                <a:gs pos="0">
                  <a:srgbClr val="93D1AB"/>
                </a:gs>
                <a:gs pos="32000">
                  <a:srgbClr val="57B9C5"/>
                </a:gs>
                <a:gs pos="94000">
                  <a:srgbClr val="0F656B"/>
                </a:gs>
              </a:gsLst>
              <a:path path="circle">
                <a:fillToRect r="100000" b="100000"/>
              </a:path>
              <a:tileRect l="-100000" t="-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58" name="Freeform 13">
            <a:extLst>
              <a:ext uri="{FF2B5EF4-FFF2-40B4-BE49-F238E27FC236}">
                <a16:creationId xmlns:a16="http://schemas.microsoft.com/office/drawing/2014/main" id="{F1A197F9-25DB-4D61-BB1B-DB567B8760F1}"/>
              </a:ext>
              <a:ext uri="{C183D7F6-B498-43B3-948B-1728B52AA6E4}">
                <adec:decorative xmlns:adec="http://schemas.microsoft.com/office/drawing/2017/decorative" val="1"/>
              </a:ext>
            </a:extLst>
          </p:cNvPr>
          <p:cNvSpPr>
            <a:spLocks/>
          </p:cNvSpPr>
          <p:nvPr/>
        </p:nvSpPr>
        <p:spPr bwMode="auto">
          <a:xfrm>
            <a:off x="441326" y="1939247"/>
            <a:ext cx="11309350" cy="3302000"/>
          </a:xfrm>
          <a:custGeom>
            <a:avLst/>
            <a:gdLst>
              <a:gd name="T0" fmla="*/ 1976 w 4604"/>
              <a:gd name="T1" fmla="*/ 3 h 1342"/>
              <a:gd name="T2" fmla="*/ 38 w 4604"/>
              <a:gd name="T3" fmla="*/ 3 h 1342"/>
              <a:gd name="T4" fmla="*/ 0 w 4604"/>
              <a:gd name="T5" fmla="*/ 41 h 1342"/>
              <a:gd name="T6" fmla="*/ 0 w 4604"/>
              <a:gd name="T7" fmla="*/ 244 h 1342"/>
              <a:gd name="T8" fmla="*/ 38 w 4604"/>
              <a:gd name="T9" fmla="*/ 282 h 1342"/>
              <a:gd name="T10" fmla="*/ 898 w 4604"/>
              <a:gd name="T11" fmla="*/ 282 h 1342"/>
              <a:gd name="T12" fmla="*/ 935 w 4604"/>
              <a:gd name="T13" fmla="*/ 320 h 1342"/>
              <a:gd name="T14" fmla="*/ 935 w 4604"/>
              <a:gd name="T15" fmla="*/ 1244 h 1342"/>
              <a:gd name="T16" fmla="*/ 1033 w 4604"/>
              <a:gd name="T17" fmla="*/ 1342 h 1342"/>
              <a:gd name="T18" fmla="*/ 1882 w 4604"/>
              <a:gd name="T19" fmla="*/ 1342 h 1342"/>
              <a:gd name="T20" fmla="*/ 1980 w 4604"/>
              <a:gd name="T21" fmla="*/ 1244 h 1342"/>
              <a:gd name="T22" fmla="*/ 1980 w 4604"/>
              <a:gd name="T23" fmla="*/ 1160 h 1342"/>
              <a:gd name="T24" fmla="*/ 2078 w 4604"/>
              <a:gd name="T25" fmla="*/ 1062 h 1342"/>
              <a:gd name="T26" fmla="*/ 2745 w 4604"/>
              <a:gd name="T27" fmla="*/ 1062 h 1342"/>
              <a:gd name="T28" fmla="*/ 2843 w 4604"/>
              <a:gd name="T29" fmla="*/ 964 h 1342"/>
              <a:gd name="T30" fmla="*/ 2843 w 4604"/>
              <a:gd name="T31" fmla="*/ 853 h 1342"/>
              <a:gd name="T32" fmla="*/ 2941 w 4604"/>
              <a:gd name="T33" fmla="*/ 755 h 1342"/>
              <a:gd name="T34" fmla="*/ 3643 w 4604"/>
              <a:gd name="T35" fmla="*/ 755 h 1342"/>
              <a:gd name="T36" fmla="*/ 3740 w 4604"/>
              <a:gd name="T37" fmla="*/ 658 h 1342"/>
              <a:gd name="T38" fmla="*/ 3740 w 4604"/>
              <a:gd name="T39" fmla="*/ 325 h 1342"/>
              <a:gd name="T40" fmla="*/ 3778 w 4604"/>
              <a:gd name="T41" fmla="*/ 287 h 1342"/>
              <a:gd name="T42" fmla="*/ 4566 w 4604"/>
              <a:gd name="T43" fmla="*/ 287 h 1342"/>
              <a:gd name="T44" fmla="*/ 4604 w 4604"/>
              <a:gd name="T45" fmla="*/ 249 h 1342"/>
              <a:gd name="T46" fmla="*/ 4604 w 4604"/>
              <a:gd name="T47" fmla="*/ 37 h 1342"/>
              <a:gd name="T48" fmla="*/ 4566 w 4604"/>
              <a:gd name="T49" fmla="*/ 0 h 1342"/>
              <a:gd name="T50" fmla="*/ 2623 w 4604"/>
              <a:gd name="T51" fmla="*/ 0 h 1342"/>
              <a:gd name="connsiteX0" fmla="*/ 4292 w 10000"/>
              <a:gd name="connsiteY0" fmla="*/ 22 h 10000"/>
              <a:gd name="connsiteX1" fmla="*/ 83 w 10000"/>
              <a:gd name="connsiteY1" fmla="*/ 22 h 10000"/>
              <a:gd name="connsiteX2" fmla="*/ 0 w 10000"/>
              <a:gd name="connsiteY2" fmla="*/ 306 h 10000"/>
              <a:gd name="connsiteX3" fmla="*/ 0 w 10000"/>
              <a:gd name="connsiteY3" fmla="*/ 1818 h 10000"/>
              <a:gd name="connsiteX4" fmla="*/ 83 w 10000"/>
              <a:gd name="connsiteY4" fmla="*/ 2101 h 10000"/>
              <a:gd name="connsiteX5" fmla="*/ 1950 w 10000"/>
              <a:gd name="connsiteY5" fmla="*/ 2101 h 10000"/>
              <a:gd name="connsiteX6" fmla="*/ 2031 w 10000"/>
              <a:gd name="connsiteY6" fmla="*/ 2385 h 10000"/>
              <a:gd name="connsiteX7" fmla="*/ 2031 w 10000"/>
              <a:gd name="connsiteY7" fmla="*/ 9270 h 10000"/>
              <a:gd name="connsiteX8" fmla="*/ 2244 w 10000"/>
              <a:gd name="connsiteY8" fmla="*/ 10000 h 10000"/>
              <a:gd name="connsiteX9" fmla="*/ 4088 w 10000"/>
              <a:gd name="connsiteY9" fmla="*/ 10000 h 10000"/>
              <a:gd name="connsiteX10" fmla="*/ 4301 w 10000"/>
              <a:gd name="connsiteY10" fmla="*/ 9270 h 10000"/>
              <a:gd name="connsiteX11" fmla="*/ 4301 w 10000"/>
              <a:gd name="connsiteY11" fmla="*/ 8644 h 10000"/>
              <a:gd name="connsiteX12" fmla="*/ 4513 w 10000"/>
              <a:gd name="connsiteY12" fmla="*/ 7914 h 10000"/>
              <a:gd name="connsiteX13" fmla="*/ 5962 w 10000"/>
              <a:gd name="connsiteY13" fmla="*/ 7914 h 10000"/>
              <a:gd name="connsiteX14" fmla="*/ 6175 w 10000"/>
              <a:gd name="connsiteY14" fmla="*/ 7183 h 10000"/>
              <a:gd name="connsiteX15" fmla="*/ 6175 w 10000"/>
              <a:gd name="connsiteY15" fmla="*/ 6356 h 10000"/>
              <a:gd name="connsiteX16" fmla="*/ 6388 w 10000"/>
              <a:gd name="connsiteY16" fmla="*/ 5626 h 10000"/>
              <a:gd name="connsiteX17" fmla="*/ 7913 w 10000"/>
              <a:gd name="connsiteY17" fmla="*/ 5626 h 10000"/>
              <a:gd name="connsiteX18" fmla="*/ 8123 w 10000"/>
              <a:gd name="connsiteY18" fmla="*/ 4903 h 10000"/>
              <a:gd name="connsiteX19" fmla="*/ 8123 w 10000"/>
              <a:gd name="connsiteY19" fmla="*/ 2422 h 10000"/>
              <a:gd name="connsiteX20" fmla="*/ 8206 w 10000"/>
              <a:gd name="connsiteY20" fmla="*/ 2139 h 10000"/>
              <a:gd name="connsiteX21" fmla="*/ 9917 w 10000"/>
              <a:gd name="connsiteY21" fmla="*/ 2139 h 10000"/>
              <a:gd name="connsiteX22" fmla="*/ 10000 w 10000"/>
              <a:gd name="connsiteY22" fmla="*/ 1855 h 10000"/>
              <a:gd name="connsiteX23" fmla="*/ 10000 w 10000"/>
              <a:gd name="connsiteY23" fmla="*/ 276 h 10000"/>
              <a:gd name="connsiteX24" fmla="*/ 9917 w 10000"/>
              <a:gd name="connsiteY24" fmla="*/ 0 h 10000"/>
              <a:gd name="connsiteX25" fmla="*/ 5826 w 10000"/>
              <a:gd name="connsiteY2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4292" y="22"/>
                </a:moveTo>
                <a:lnTo>
                  <a:pt x="83" y="22"/>
                </a:lnTo>
                <a:cubicBezTo>
                  <a:pt x="37" y="22"/>
                  <a:pt x="0" y="149"/>
                  <a:pt x="0" y="306"/>
                </a:cubicBezTo>
                <a:lnTo>
                  <a:pt x="0" y="1818"/>
                </a:lnTo>
                <a:cubicBezTo>
                  <a:pt x="0" y="1975"/>
                  <a:pt x="37" y="2101"/>
                  <a:pt x="83" y="2101"/>
                </a:cubicBezTo>
                <a:lnTo>
                  <a:pt x="1950" y="2101"/>
                </a:lnTo>
                <a:cubicBezTo>
                  <a:pt x="1996" y="2101"/>
                  <a:pt x="2031" y="2228"/>
                  <a:pt x="2031" y="2385"/>
                </a:cubicBezTo>
                <a:lnTo>
                  <a:pt x="2031" y="9270"/>
                </a:lnTo>
                <a:cubicBezTo>
                  <a:pt x="2031" y="9672"/>
                  <a:pt x="2126" y="10000"/>
                  <a:pt x="2244" y="10000"/>
                </a:cubicBezTo>
                <a:lnTo>
                  <a:pt x="4088" y="10000"/>
                </a:lnTo>
                <a:cubicBezTo>
                  <a:pt x="4205" y="10000"/>
                  <a:pt x="4301" y="9672"/>
                  <a:pt x="4301" y="9270"/>
                </a:cubicBezTo>
                <a:lnTo>
                  <a:pt x="4301" y="8644"/>
                </a:lnTo>
                <a:cubicBezTo>
                  <a:pt x="4301" y="8241"/>
                  <a:pt x="4396" y="7914"/>
                  <a:pt x="4513" y="7914"/>
                </a:cubicBezTo>
                <a:lnTo>
                  <a:pt x="5962" y="7914"/>
                </a:lnTo>
                <a:cubicBezTo>
                  <a:pt x="6079" y="7914"/>
                  <a:pt x="6175" y="7586"/>
                  <a:pt x="6175" y="7183"/>
                </a:cubicBezTo>
                <a:lnTo>
                  <a:pt x="6175" y="6356"/>
                </a:lnTo>
                <a:cubicBezTo>
                  <a:pt x="6175" y="5954"/>
                  <a:pt x="6271" y="5626"/>
                  <a:pt x="6388" y="5626"/>
                </a:cubicBezTo>
                <a:lnTo>
                  <a:pt x="7913" y="5626"/>
                </a:lnTo>
                <a:cubicBezTo>
                  <a:pt x="8030" y="5626"/>
                  <a:pt x="8123" y="5298"/>
                  <a:pt x="8123" y="4903"/>
                </a:cubicBezTo>
                <a:lnTo>
                  <a:pt x="8123" y="2422"/>
                </a:lnTo>
                <a:cubicBezTo>
                  <a:pt x="8123" y="2265"/>
                  <a:pt x="8160" y="2139"/>
                  <a:pt x="8206" y="2139"/>
                </a:cubicBezTo>
                <a:lnTo>
                  <a:pt x="9917" y="2139"/>
                </a:lnTo>
                <a:cubicBezTo>
                  <a:pt x="9963" y="2139"/>
                  <a:pt x="10000" y="2012"/>
                  <a:pt x="10000" y="1855"/>
                </a:cubicBezTo>
                <a:lnTo>
                  <a:pt x="10000" y="276"/>
                </a:lnTo>
                <a:cubicBezTo>
                  <a:pt x="10000" y="119"/>
                  <a:pt x="9963" y="0"/>
                  <a:pt x="9917" y="0"/>
                </a:cubicBezTo>
                <a:lnTo>
                  <a:pt x="5826" y="0"/>
                </a:lnTo>
              </a:path>
            </a:pathLst>
          </a:custGeom>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438" name="Group 2437" descr="Icon of two people with a bi-directional arrow">
            <a:extLst>
              <a:ext uri="{FF2B5EF4-FFF2-40B4-BE49-F238E27FC236}">
                <a16:creationId xmlns:a16="http://schemas.microsoft.com/office/drawing/2014/main" id="{72484C6E-2176-D2C2-A03B-89562E534BCF}"/>
              </a:ext>
            </a:extLst>
          </p:cNvPr>
          <p:cNvGrpSpPr/>
          <p:nvPr/>
        </p:nvGrpSpPr>
        <p:grpSpPr>
          <a:xfrm>
            <a:off x="674563" y="2088021"/>
            <a:ext cx="722514" cy="772150"/>
            <a:chOff x="1128996" y="1928362"/>
            <a:chExt cx="722514" cy="772150"/>
          </a:xfrm>
        </p:grpSpPr>
        <p:sp>
          <p:nvSpPr>
            <p:cNvPr id="2439" name="Oval 2438">
              <a:extLst>
                <a:ext uri="{FF2B5EF4-FFF2-40B4-BE49-F238E27FC236}">
                  <a16:creationId xmlns:a16="http://schemas.microsoft.com/office/drawing/2014/main" id="{12B1C2A7-1F86-4E0E-AB74-C2336E9BA28A}"/>
                </a:ext>
              </a:extLst>
            </p:cNvPr>
            <p:cNvSpPr/>
            <p:nvPr/>
          </p:nvSpPr>
          <p:spPr bwMode="auto">
            <a:xfrm>
              <a:off x="1128996" y="2280424"/>
              <a:ext cx="722514" cy="420088"/>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440" name="AutoShape 8">
              <a:extLst>
                <a:ext uri="{FF2B5EF4-FFF2-40B4-BE49-F238E27FC236}">
                  <a16:creationId xmlns:a16="http://schemas.microsoft.com/office/drawing/2014/main" id="{4E897FE8-AECC-4AB1-BC25-66F94B14AD00}"/>
                </a:ext>
              </a:extLst>
            </p:cNvPr>
            <p:cNvSpPr>
              <a:spLocks noChangeAspect="1" noChangeArrowheads="1" noTextEdit="1"/>
            </p:cNvSpPr>
            <p:nvPr/>
          </p:nvSpPr>
          <p:spPr bwMode="auto">
            <a:xfrm>
              <a:off x="1194979" y="2069009"/>
              <a:ext cx="593923" cy="576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441" name="Group 2440">
              <a:extLst>
                <a:ext uri="{FF2B5EF4-FFF2-40B4-BE49-F238E27FC236}">
                  <a16:creationId xmlns:a16="http://schemas.microsoft.com/office/drawing/2014/main" id="{C1D0E4FA-7F79-650D-E6EA-DA6BA5F239C0}"/>
                </a:ext>
              </a:extLst>
            </p:cNvPr>
            <p:cNvGrpSpPr/>
            <p:nvPr/>
          </p:nvGrpSpPr>
          <p:grpSpPr>
            <a:xfrm>
              <a:off x="1196666" y="2069009"/>
              <a:ext cx="590548" cy="574519"/>
              <a:chOff x="3097576" y="3944756"/>
              <a:chExt cx="590548" cy="574519"/>
            </a:xfrm>
          </p:grpSpPr>
          <p:grpSp>
            <p:nvGrpSpPr>
              <p:cNvPr id="2443" name="Group 2442">
                <a:extLst>
                  <a:ext uri="{FF2B5EF4-FFF2-40B4-BE49-F238E27FC236}">
                    <a16:creationId xmlns:a16="http://schemas.microsoft.com/office/drawing/2014/main" id="{8C376C0F-E406-A849-AB34-0D2FBDF6FB48}"/>
                  </a:ext>
                </a:extLst>
              </p:cNvPr>
              <p:cNvGrpSpPr/>
              <p:nvPr/>
            </p:nvGrpSpPr>
            <p:grpSpPr>
              <a:xfrm>
                <a:off x="3097576" y="3944756"/>
                <a:ext cx="590548" cy="574519"/>
                <a:chOff x="1196666" y="2070696"/>
                <a:chExt cx="590548" cy="574519"/>
              </a:xfrm>
            </p:grpSpPr>
            <p:sp>
              <p:nvSpPr>
                <p:cNvPr id="2447" name="Freeform 10">
                  <a:extLst>
                    <a:ext uri="{FF2B5EF4-FFF2-40B4-BE49-F238E27FC236}">
                      <a16:creationId xmlns:a16="http://schemas.microsoft.com/office/drawing/2014/main" id="{9ACD79EC-0C88-4DBA-F6CB-6A5F3E822A2B}"/>
                    </a:ext>
                  </a:extLst>
                </p:cNvPr>
                <p:cNvSpPr>
                  <a:spLocks/>
                </p:cNvSpPr>
                <p:nvPr/>
              </p:nvSpPr>
              <p:spPr bwMode="auto">
                <a:xfrm>
                  <a:off x="1196666" y="2241112"/>
                  <a:ext cx="590548" cy="404103"/>
                </a:xfrm>
                <a:custGeom>
                  <a:avLst/>
                  <a:gdLst>
                    <a:gd name="T0" fmla="*/ 0 w 292"/>
                    <a:gd name="T1" fmla="*/ 0 h 200"/>
                    <a:gd name="T2" fmla="*/ 0 w 292"/>
                    <a:gd name="T3" fmla="*/ 122 h 200"/>
                    <a:gd name="T4" fmla="*/ 1 w 292"/>
                    <a:gd name="T5" fmla="*/ 122 h 200"/>
                    <a:gd name="T6" fmla="*/ 146 w 292"/>
                    <a:gd name="T7" fmla="*/ 200 h 200"/>
                    <a:gd name="T8" fmla="*/ 292 w 292"/>
                    <a:gd name="T9" fmla="*/ 122 h 200"/>
                    <a:gd name="T10" fmla="*/ 292 w 292"/>
                    <a:gd name="T11" fmla="*/ 122 h 200"/>
                    <a:gd name="T12" fmla="*/ 292 w 292"/>
                    <a:gd name="T13" fmla="*/ 0 h 200"/>
                    <a:gd name="T14" fmla="*/ 0 w 29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00">
                      <a:moveTo>
                        <a:pt x="0" y="0"/>
                      </a:moveTo>
                      <a:cubicBezTo>
                        <a:pt x="0" y="122"/>
                        <a:pt x="0" y="122"/>
                        <a:pt x="0" y="122"/>
                      </a:cubicBezTo>
                      <a:cubicBezTo>
                        <a:pt x="1" y="122"/>
                        <a:pt x="1" y="122"/>
                        <a:pt x="1" y="122"/>
                      </a:cubicBezTo>
                      <a:cubicBezTo>
                        <a:pt x="6" y="166"/>
                        <a:pt x="69" y="200"/>
                        <a:pt x="146" y="200"/>
                      </a:cubicBezTo>
                      <a:cubicBezTo>
                        <a:pt x="223" y="200"/>
                        <a:pt x="286" y="166"/>
                        <a:pt x="292" y="122"/>
                      </a:cubicBezTo>
                      <a:cubicBezTo>
                        <a:pt x="292" y="122"/>
                        <a:pt x="292" y="122"/>
                        <a:pt x="292" y="122"/>
                      </a:cubicBezTo>
                      <a:cubicBezTo>
                        <a:pt x="292" y="0"/>
                        <a:pt x="292" y="0"/>
                        <a:pt x="292" y="0"/>
                      </a:cubicBezTo>
                      <a:lnTo>
                        <a:pt x="0" y="0"/>
                      </a:lnTo>
                      <a:close/>
                    </a:path>
                  </a:pathLst>
                </a:custGeom>
                <a:solidFill>
                  <a:srgbClr val="008575"/>
                </a:solidFill>
                <a:ln w="31750">
                  <a:noFill/>
                  <a:headEnd type="none" w="med" len="med"/>
                  <a:tailEnd type="none" w="med" len="med"/>
                </a:ln>
                <a:effectLst>
                  <a:outerShdw blurRad="116152" dist="381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sz="2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2448" name="Oval 11">
                  <a:extLst>
                    <a:ext uri="{FF2B5EF4-FFF2-40B4-BE49-F238E27FC236}">
                      <a16:creationId xmlns:a16="http://schemas.microsoft.com/office/drawing/2014/main" id="{28E4F798-59C6-EDA0-B3FE-2D222139A2F5}"/>
                    </a:ext>
                  </a:extLst>
                </p:cNvPr>
                <p:cNvSpPr>
                  <a:spLocks noChangeArrowheads="1"/>
                </p:cNvSpPr>
                <p:nvPr/>
              </p:nvSpPr>
              <p:spPr bwMode="auto">
                <a:xfrm>
                  <a:off x="1196666" y="2070696"/>
                  <a:ext cx="590548" cy="341674"/>
                </a:xfrm>
                <a:prstGeom prst="ellipse">
                  <a:avLst/>
                </a:prstGeom>
                <a:solidFill>
                  <a:srgbClr val="008575"/>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444" name="Group 2443">
                <a:extLst>
                  <a:ext uri="{FF2B5EF4-FFF2-40B4-BE49-F238E27FC236}">
                    <a16:creationId xmlns:a16="http://schemas.microsoft.com/office/drawing/2014/main" id="{938A445D-7C9D-C10A-A839-D7A24832D791}"/>
                  </a:ext>
                </a:extLst>
              </p:cNvPr>
              <p:cNvGrpSpPr/>
              <p:nvPr/>
            </p:nvGrpSpPr>
            <p:grpSpPr>
              <a:xfrm>
                <a:off x="3133904" y="3945299"/>
                <a:ext cx="513552" cy="305036"/>
                <a:chOff x="3506702" y="4348648"/>
                <a:chExt cx="496098" cy="287028"/>
              </a:xfrm>
              <a:effectLst>
                <a:outerShdw blurRad="50800" dist="38100" dir="5400000" algn="t" rotWithShape="0">
                  <a:prstClr val="black">
                    <a:alpha val="40000"/>
                  </a:prstClr>
                </a:outerShdw>
              </a:effectLst>
            </p:grpSpPr>
            <p:sp>
              <p:nvSpPr>
                <p:cNvPr id="2445" name="Oval 11">
                  <a:extLst>
                    <a:ext uri="{FF2B5EF4-FFF2-40B4-BE49-F238E27FC236}">
                      <a16:creationId xmlns:a16="http://schemas.microsoft.com/office/drawing/2014/main" id="{84C32C22-664D-9092-ABF4-9A0A52402DAD}"/>
                    </a:ext>
                  </a:extLst>
                </p:cNvPr>
                <p:cNvSpPr>
                  <a:spLocks noChangeArrowheads="1"/>
                </p:cNvSpPr>
                <p:nvPr/>
              </p:nvSpPr>
              <p:spPr bwMode="auto">
                <a:xfrm>
                  <a:off x="3506702" y="4348648"/>
                  <a:ext cx="496098" cy="287028"/>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446" name="Oval 11">
                  <a:extLst>
                    <a:ext uri="{FF2B5EF4-FFF2-40B4-BE49-F238E27FC236}">
                      <a16:creationId xmlns:a16="http://schemas.microsoft.com/office/drawing/2014/main" id="{9D8D2D21-25D0-7F36-8826-59F936D58D59}"/>
                    </a:ext>
                  </a:extLst>
                </p:cNvPr>
                <p:cNvSpPr>
                  <a:spLocks noChangeArrowheads="1"/>
                </p:cNvSpPr>
                <p:nvPr/>
              </p:nvSpPr>
              <p:spPr bwMode="auto">
                <a:xfrm flipH="1">
                  <a:off x="3535277" y="4365181"/>
                  <a:ext cx="438948" cy="253962"/>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442" name="Freeform: Shape 2441" descr="Icon of two people with a bi-directional arrow">
              <a:extLst>
                <a:ext uri="{FF2B5EF4-FFF2-40B4-BE49-F238E27FC236}">
                  <a16:creationId xmlns:a16="http://schemas.microsoft.com/office/drawing/2014/main" id="{A1E2F8A6-86F5-2913-5E63-C9C2519DB20A}"/>
                </a:ext>
              </a:extLst>
            </p:cNvPr>
            <p:cNvSpPr/>
            <p:nvPr/>
          </p:nvSpPr>
          <p:spPr>
            <a:xfrm>
              <a:off x="1327436" y="1928362"/>
              <a:ext cx="336264" cy="320608"/>
            </a:xfrm>
            <a:custGeom>
              <a:avLst/>
              <a:gdLst>
                <a:gd name="connsiteX0" fmla="*/ 162306 w 266691"/>
                <a:gd name="connsiteY0" fmla="*/ 173806 h 254275"/>
                <a:gd name="connsiteX1" fmla="*/ 162781 w 266691"/>
                <a:gd name="connsiteY1" fmla="*/ 187268 h 254275"/>
                <a:gd name="connsiteX2" fmla="*/ 162306 w 266691"/>
                <a:gd name="connsiteY2" fmla="*/ 187744 h 254275"/>
                <a:gd name="connsiteX3" fmla="*/ 146825 w 266691"/>
                <a:gd name="connsiteY3" fmla="*/ 203238 h 254275"/>
                <a:gd name="connsiteX4" fmla="*/ 234175 w 266691"/>
                <a:gd name="connsiteY4" fmla="*/ 203238 h 254275"/>
                <a:gd name="connsiteX5" fmla="*/ 218681 w 266691"/>
                <a:gd name="connsiteY5" fmla="*/ 187744 h 254275"/>
                <a:gd name="connsiteX6" fmla="*/ 218922 w 266691"/>
                <a:gd name="connsiteY6" fmla="*/ 174275 h 254275"/>
                <a:gd name="connsiteX7" fmla="*/ 232156 w 266691"/>
                <a:gd name="connsiteY7" fmla="*/ 174282 h 254275"/>
                <a:gd name="connsiteX8" fmla="*/ 263906 w 266691"/>
                <a:gd name="connsiteY8" fmla="*/ 206057 h 254275"/>
                <a:gd name="connsiteX9" fmla="*/ 263906 w 266691"/>
                <a:gd name="connsiteY9" fmla="*/ 219519 h 254275"/>
                <a:gd name="connsiteX10" fmla="*/ 232156 w 266691"/>
                <a:gd name="connsiteY10" fmla="*/ 251256 h 254275"/>
                <a:gd name="connsiteX11" fmla="*/ 218688 w 266691"/>
                <a:gd name="connsiteY11" fmla="*/ 251016 h 254275"/>
                <a:gd name="connsiteX12" fmla="*/ 218694 w 266691"/>
                <a:gd name="connsiteY12" fmla="*/ 237782 h 254275"/>
                <a:gd name="connsiteX13" fmla="*/ 234188 w 266691"/>
                <a:gd name="connsiteY13" fmla="*/ 222288 h 254275"/>
                <a:gd name="connsiteX14" fmla="*/ 146812 w 266691"/>
                <a:gd name="connsiteY14" fmla="*/ 222288 h 254275"/>
                <a:gd name="connsiteX15" fmla="*/ 162306 w 266691"/>
                <a:gd name="connsiteY15" fmla="*/ 237782 h 254275"/>
                <a:gd name="connsiteX16" fmla="*/ 162781 w 266691"/>
                <a:gd name="connsiteY16" fmla="*/ 251244 h 254275"/>
                <a:gd name="connsiteX17" fmla="*/ 149319 w 266691"/>
                <a:gd name="connsiteY17" fmla="*/ 251719 h 254275"/>
                <a:gd name="connsiteX18" fmla="*/ 148844 w 266691"/>
                <a:gd name="connsiteY18" fmla="*/ 251244 h 254275"/>
                <a:gd name="connsiteX19" fmla="*/ 117094 w 266691"/>
                <a:gd name="connsiteY19" fmla="*/ 219519 h 254275"/>
                <a:gd name="connsiteX20" fmla="*/ 117090 w 266691"/>
                <a:gd name="connsiteY20" fmla="*/ 206049 h 254275"/>
                <a:gd name="connsiteX21" fmla="*/ 117094 w 266691"/>
                <a:gd name="connsiteY21" fmla="*/ 206044 h 254275"/>
                <a:gd name="connsiteX22" fmla="*/ 148844 w 266691"/>
                <a:gd name="connsiteY22" fmla="*/ 174282 h 254275"/>
                <a:gd name="connsiteX23" fmla="*/ 162306 w 266691"/>
                <a:gd name="connsiteY23" fmla="*/ 173806 h 254275"/>
                <a:gd name="connsiteX24" fmla="*/ 171298 w 266691"/>
                <a:gd name="connsiteY24" fmla="*/ 139700 h 254275"/>
                <a:gd name="connsiteX25" fmla="*/ 234950 w 266691"/>
                <a:gd name="connsiteY25" fmla="*/ 139700 h 254275"/>
                <a:gd name="connsiteX26" fmla="*/ 253911 w 266691"/>
                <a:gd name="connsiteY26" fmla="*/ 156909 h 254275"/>
                <a:gd name="connsiteX27" fmla="*/ 254000 w 266691"/>
                <a:gd name="connsiteY27" fmla="*/ 158750 h 254275"/>
                <a:gd name="connsiteX28" fmla="*/ 254000 w 266691"/>
                <a:gd name="connsiteY28" fmla="*/ 178181 h 254275"/>
                <a:gd name="connsiteX29" fmla="*/ 241148 w 266691"/>
                <a:gd name="connsiteY29" fmla="*/ 165303 h 254275"/>
                <a:gd name="connsiteX30" fmla="*/ 215854 w 266691"/>
                <a:gd name="connsiteY30" fmla="*/ 160920 h 254275"/>
                <a:gd name="connsiteX31" fmla="*/ 205334 w 266691"/>
                <a:gd name="connsiteY31" fmla="*/ 190538 h 254275"/>
                <a:gd name="connsiteX32" fmla="*/ 177521 w 266691"/>
                <a:gd name="connsiteY32" fmla="*/ 190538 h 254275"/>
                <a:gd name="connsiteX33" fmla="*/ 177711 w 266691"/>
                <a:gd name="connsiteY33" fmla="*/ 187706 h 254275"/>
                <a:gd name="connsiteX34" fmla="*/ 177800 w 266691"/>
                <a:gd name="connsiteY34" fmla="*/ 184150 h 254275"/>
                <a:gd name="connsiteX35" fmla="*/ 177800 w 266691"/>
                <a:gd name="connsiteY35" fmla="*/ 158750 h 254275"/>
                <a:gd name="connsiteX36" fmla="*/ 172733 w 266691"/>
                <a:gd name="connsiteY36" fmla="*/ 141757 h 254275"/>
                <a:gd name="connsiteX37" fmla="*/ 19050 w 266691"/>
                <a:gd name="connsiteY37" fmla="*/ 139700 h 254275"/>
                <a:gd name="connsiteX38" fmla="*/ 146050 w 266691"/>
                <a:gd name="connsiteY38" fmla="*/ 139713 h 254275"/>
                <a:gd name="connsiteX39" fmla="*/ 165011 w 266691"/>
                <a:gd name="connsiteY39" fmla="*/ 156934 h 254275"/>
                <a:gd name="connsiteX40" fmla="*/ 165100 w 266691"/>
                <a:gd name="connsiteY40" fmla="*/ 158750 h 254275"/>
                <a:gd name="connsiteX41" fmla="*/ 165100 w 266691"/>
                <a:gd name="connsiteY41" fmla="*/ 160909 h 254275"/>
                <a:gd name="connsiteX42" fmla="*/ 139852 w 266691"/>
                <a:gd name="connsiteY42" fmla="*/ 165290 h 254275"/>
                <a:gd name="connsiteX43" fmla="*/ 108102 w 266691"/>
                <a:gd name="connsiteY43" fmla="*/ 197053 h 254275"/>
                <a:gd name="connsiteX44" fmla="*/ 108101 w 266691"/>
                <a:gd name="connsiteY44" fmla="*/ 228484 h 254275"/>
                <a:gd name="connsiteX45" fmla="*/ 108102 w 266691"/>
                <a:gd name="connsiteY45" fmla="*/ 228486 h 254275"/>
                <a:gd name="connsiteX46" fmla="*/ 116777 w 266691"/>
                <a:gd name="connsiteY46" fmla="*/ 237134 h 254275"/>
                <a:gd name="connsiteX47" fmla="*/ 82550 w 266691"/>
                <a:gd name="connsiteY47" fmla="*/ 241287 h 254275"/>
                <a:gd name="connsiteX48" fmla="*/ 64 w 266691"/>
                <a:gd name="connsiteY48" fmla="*/ 187058 h 254275"/>
                <a:gd name="connsiteX49" fmla="*/ 0 w 266691"/>
                <a:gd name="connsiteY49" fmla="*/ 184150 h 254275"/>
                <a:gd name="connsiteX50" fmla="*/ 0 w 266691"/>
                <a:gd name="connsiteY50" fmla="*/ 158750 h 254275"/>
                <a:gd name="connsiteX51" fmla="*/ 17221 w 266691"/>
                <a:gd name="connsiteY51" fmla="*/ 139789 h 254275"/>
                <a:gd name="connsiteX52" fmla="*/ 196850 w 266691"/>
                <a:gd name="connsiteY52" fmla="*/ 25400 h 254275"/>
                <a:gd name="connsiteX53" fmla="*/ 241300 w 266691"/>
                <a:gd name="connsiteY53" fmla="*/ 69850 h 254275"/>
                <a:gd name="connsiteX54" fmla="*/ 196850 w 266691"/>
                <a:gd name="connsiteY54" fmla="*/ 114300 h 254275"/>
                <a:gd name="connsiteX55" fmla="*/ 152400 w 266691"/>
                <a:gd name="connsiteY55" fmla="*/ 69850 h 254275"/>
                <a:gd name="connsiteX56" fmla="*/ 196850 w 266691"/>
                <a:gd name="connsiteY56" fmla="*/ 25400 h 254275"/>
                <a:gd name="connsiteX57" fmla="*/ 82550 w 266691"/>
                <a:gd name="connsiteY57" fmla="*/ 0 h 254275"/>
                <a:gd name="connsiteX58" fmla="*/ 139700 w 266691"/>
                <a:gd name="connsiteY58" fmla="*/ 57150 h 254275"/>
                <a:gd name="connsiteX59" fmla="*/ 82550 w 266691"/>
                <a:gd name="connsiteY59" fmla="*/ 114300 h 254275"/>
                <a:gd name="connsiteX60" fmla="*/ 25400 w 266691"/>
                <a:gd name="connsiteY60" fmla="*/ 57150 h 254275"/>
                <a:gd name="connsiteX61" fmla="*/ 82550 w 266691"/>
                <a:gd name="connsiteY61" fmla="*/ 0 h 25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66691" h="254275">
                  <a:moveTo>
                    <a:pt x="162306" y="173806"/>
                  </a:moveTo>
                  <a:cubicBezTo>
                    <a:pt x="166155" y="177393"/>
                    <a:pt x="166367" y="183420"/>
                    <a:pt x="162781" y="187268"/>
                  </a:cubicBezTo>
                  <a:cubicBezTo>
                    <a:pt x="162628" y="187432"/>
                    <a:pt x="162470" y="187591"/>
                    <a:pt x="162306" y="187744"/>
                  </a:cubicBezTo>
                  <a:lnTo>
                    <a:pt x="146825" y="203238"/>
                  </a:lnTo>
                  <a:lnTo>
                    <a:pt x="234175" y="203238"/>
                  </a:lnTo>
                  <a:lnTo>
                    <a:pt x="218681" y="187744"/>
                  </a:lnTo>
                  <a:cubicBezTo>
                    <a:pt x="215028" y="183958"/>
                    <a:pt x="215136" y="177928"/>
                    <a:pt x="218922" y="174275"/>
                  </a:cubicBezTo>
                  <a:cubicBezTo>
                    <a:pt x="222614" y="170712"/>
                    <a:pt x="228466" y="170715"/>
                    <a:pt x="232156" y="174282"/>
                  </a:cubicBezTo>
                  <a:lnTo>
                    <a:pt x="263906" y="206057"/>
                  </a:lnTo>
                  <a:cubicBezTo>
                    <a:pt x="267620" y="209776"/>
                    <a:pt x="267620" y="215800"/>
                    <a:pt x="263906" y="219519"/>
                  </a:cubicBezTo>
                  <a:lnTo>
                    <a:pt x="232156" y="251256"/>
                  </a:lnTo>
                  <a:cubicBezTo>
                    <a:pt x="228370" y="254909"/>
                    <a:pt x="222341" y="254802"/>
                    <a:pt x="218688" y="251016"/>
                  </a:cubicBezTo>
                  <a:cubicBezTo>
                    <a:pt x="215124" y="247323"/>
                    <a:pt x="215127" y="241471"/>
                    <a:pt x="218694" y="237782"/>
                  </a:cubicBezTo>
                  <a:lnTo>
                    <a:pt x="234188" y="222288"/>
                  </a:lnTo>
                  <a:lnTo>
                    <a:pt x="146812" y="222288"/>
                  </a:lnTo>
                  <a:lnTo>
                    <a:pt x="162306" y="237782"/>
                  </a:lnTo>
                  <a:cubicBezTo>
                    <a:pt x="166155" y="241368"/>
                    <a:pt x="166367" y="247395"/>
                    <a:pt x="162781" y="251244"/>
                  </a:cubicBezTo>
                  <a:cubicBezTo>
                    <a:pt x="159195" y="255092"/>
                    <a:pt x="153168" y="255305"/>
                    <a:pt x="149319" y="251719"/>
                  </a:cubicBezTo>
                  <a:cubicBezTo>
                    <a:pt x="149155" y="251566"/>
                    <a:pt x="148997" y="251408"/>
                    <a:pt x="148844" y="251244"/>
                  </a:cubicBezTo>
                  <a:lnTo>
                    <a:pt x="117094" y="219519"/>
                  </a:lnTo>
                  <a:cubicBezTo>
                    <a:pt x="113373" y="215800"/>
                    <a:pt x="113371" y="209770"/>
                    <a:pt x="117090" y="206049"/>
                  </a:cubicBezTo>
                  <a:cubicBezTo>
                    <a:pt x="117091" y="206047"/>
                    <a:pt x="117093" y="206046"/>
                    <a:pt x="117094" y="206044"/>
                  </a:cubicBezTo>
                  <a:lnTo>
                    <a:pt x="148844" y="174282"/>
                  </a:lnTo>
                  <a:cubicBezTo>
                    <a:pt x="152430" y="170433"/>
                    <a:pt x="158457" y="170220"/>
                    <a:pt x="162306" y="173806"/>
                  </a:cubicBezTo>
                  <a:close/>
                  <a:moveTo>
                    <a:pt x="171298" y="139700"/>
                  </a:moveTo>
                  <a:lnTo>
                    <a:pt x="234950" y="139700"/>
                  </a:lnTo>
                  <a:cubicBezTo>
                    <a:pt x="244758" y="139700"/>
                    <a:pt x="252963" y="147147"/>
                    <a:pt x="253911" y="156909"/>
                  </a:cubicBezTo>
                  <a:lnTo>
                    <a:pt x="254000" y="158750"/>
                  </a:lnTo>
                  <a:lnTo>
                    <a:pt x="254000" y="178181"/>
                  </a:lnTo>
                  <a:lnTo>
                    <a:pt x="241148" y="165303"/>
                  </a:lnTo>
                  <a:cubicBezTo>
                    <a:pt x="234498" y="158628"/>
                    <a:pt x="224362" y="156872"/>
                    <a:pt x="215854" y="160920"/>
                  </a:cubicBezTo>
                  <a:cubicBezTo>
                    <a:pt x="204770" y="166194"/>
                    <a:pt x="200060" y="179454"/>
                    <a:pt x="205334" y="190538"/>
                  </a:cubicBezTo>
                  <a:lnTo>
                    <a:pt x="177521" y="190538"/>
                  </a:lnTo>
                  <a:cubicBezTo>
                    <a:pt x="177603" y="189595"/>
                    <a:pt x="177667" y="188651"/>
                    <a:pt x="177711" y="187706"/>
                  </a:cubicBezTo>
                  <a:lnTo>
                    <a:pt x="177800" y="184150"/>
                  </a:lnTo>
                  <a:lnTo>
                    <a:pt x="177800" y="158750"/>
                  </a:lnTo>
                  <a:cubicBezTo>
                    <a:pt x="177800" y="152476"/>
                    <a:pt x="175908" y="146672"/>
                    <a:pt x="172733" y="141757"/>
                  </a:cubicBezTo>
                  <a:close/>
                  <a:moveTo>
                    <a:pt x="19050" y="139700"/>
                  </a:moveTo>
                  <a:lnTo>
                    <a:pt x="146050" y="139713"/>
                  </a:lnTo>
                  <a:cubicBezTo>
                    <a:pt x="155862" y="139713"/>
                    <a:pt x="164069" y="147167"/>
                    <a:pt x="165011" y="156934"/>
                  </a:cubicBezTo>
                  <a:lnTo>
                    <a:pt x="165100" y="158750"/>
                  </a:lnTo>
                  <a:lnTo>
                    <a:pt x="165100" y="160909"/>
                  </a:lnTo>
                  <a:cubicBezTo>
                    <a:pt x="156605" y="156883"/>
                    <a:pt x="146494" y="158637"/>
                    <a:pt x="139852" y="165290"/>
                  </a:cubicBezTo>
                  <a:lnTo>
                    <a:pt x="108102" y="197053"/>
                  </a:lnTo>
                  <a:cubicBezTo>
                    <a:pt x="99423" y="205732"/>
                    <a:pt x="99422" y="219804"/>
                    <a:pt x="108101" y="228484"/>
                  </a:cubicBezTo>
                  <a:cubicBezTo>
                    <a:pt x="108101" y="228485"/>
                    <a:pt x="108102" y="228485"/>
                    <a:pt x="108102" y="228486"/>
                  </a:cubicBezTo>
                  <a:lnTo>
                    <a:pt x="116777" y="237134"/>
                  </a:lnTo>
                  <a:cubicBezTo>
                    <a:pt x="105385" y="240094"/>
                    <a:pt x="93408" y="241287"/>
                    <a:pt x="82550" y="241287"/>
                  </a:cubicBezTo>
                  <a:cubicBezTo>
                    <a:pt x="47981" y="241287"/>
                    <a:pt x="2095" y="229146"/>
                    <a:pt x="64" y="187058"/>
                  </a:cubicBezTo>
                  <a:lnTo>
                    <a:pt x="0" y="184150"/>
                  </a:lnTo>
                  <a:lnTo>
                    <a:pt x="0" y="158750"/>
                  </a:lnTo>
                  <a:cubicBezTo>
                    <a:pt x="0" y="148938"/>
                    <a:pt x="7454" y="140731"/>
                    <a:pt x="17221" y="139789"/>
                  </a:cubicBezTo>
                  <a:close/>
                  <a:moveTo>
                    <a:pt x="196850" y="25400"/>
                  </a:moveTo>
                  <a:cubicBezTo>
                    <a:pt x="221399" y="25400"/>
                    <a:pt x="241300" y="45301"/>
                    <a:pt x="241300" y="69850"/>
                  </a:cubicBezTo>
                  <a:cubicBezTo>
                    <a:pt x="241300" y="94399"/>
                    <a:pt x="221399" y="114300"/>
                    <a:pt x="196850" y="114300"/>
                  </a:cubicBezTo>
                  <a:cubicBezTo>
                    <a:pt x="172301" y="114300"/>
                    <a:pt x="152400" y="94399"/>
                    <a:pt x="152400" y="69850"/>
                  </a:cubicBezTo>
                  <a:cubicBezTo>
                    <a:pt x="152400" y="45301"/>
                    <a:pt x="172301" y="25400"/>
                    <a:pt x="196850" y="25400"/>
                  </a:cubicBezTo>
                  <a:close/>
                  <a:moveTo>
                    <a:pt x="82550" y="0"/>
                  </a:moveTo>
                  <a:cubicBezTo>
                    <a:pt x="114113" y="0"/>
                    <a:pt x="139700" y="25587"/>
                    <a:pt x="139700" y="57150"/>
                  </a:cubicBezTo>
                  <a:cubicBezTo>
                    <a:pt x="139700" y="88713"/>
                    <a:pt x="114113" y="114300"/>
                    <a:pt x="82550" y="114300"/>
                  </a:cubicBezTo>
                  <a:cubicBezTo>
                    <a:pt x="50987" y="114300"/>
                    <a:pt x="25400" y="88713"/>
                    <a:pt x="25400" y="57150"/>
                  </a:cubicBezTo>
                  <a:cubicBezTo>
                    <a:pt x="25400" y="25587"/>
                    <a:pt x="50987" y="0"/>
                    <a:pt x="82550" y="0"/>
                  </a:cubicBezTo>
                  <a:close/>
                </a:path>
              </a:pathLst>
            </a:custGeom>
            <a:solidFill>
              <a:srgbClr val="008575"/>
            </a:soli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517" name="TextBox 2516">
            <a:extLst>
              <a:ext uri="{FF2B5EF4-FFF2-40B4-BE49-F238E27FC236}">
                <a16:creationId xmlns:a16="http://schemas.microsoft.com/office/drawing/2014/main" id="{F5A9FD61-BEDA-4140-8C14-632D08944521}"/>
              </a:ext>
            </a:extLst>
          </p:cNvPr>
          <p:cNvSpPr txBox="1"/>
          <p:nvPr/>
        </p:nvSpPr>
        <p:spPr>
          <a:xfrm>
            <a:off x="674562" y="2967657"/>
            <a:ext cx="1980147" cy="3005951"/>
          </a:xfrm>
          <a:prstGeom prst="rect">
            <a:avLst/>
          </a:prstGeom>
          <a:noFill/>
        </p:spPr>
        <p:txBody>
          <a:bodyPr wrap="square" lIns="0" tIns="0" rIns="0" bIns="0">
            <a:spAutoFit/>
          </a:body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8575"/>
                </a:solidFill>
                <a:effectLst/>
                <a:uLnTx/>
                <a:uFillTx/>
                <a:latin typeface="Segoe Sans Display Semibold"/>
                <a:ea typeface="+mn-ea"/>
                <a:cs typeface="+mn-cs"/>
              </a:rPr>
              <a:t>01</a:t>
            </a:r>
            <a:br>
              <a:rPr kumimoji="0" lang="en-US" sz="1400" b="0" i="0" u="none" strike="noStrike" kern="1200" cap="none" spc="0" normalizeH="0" baseline="0" noProof="0">
                <a:ln>
                  <a:noFill/>
                </a:ln>
                <a:solidFill>
                  <a:srgbClr val="008575"/>
                </a:solidFill>
                <a:effectLst/>
                <a:uLnTx/>
                <a:uFillTx/>
                <a:latin typeface="Segoe Sans Text"/>
                <a:ea typeface="+mn-ea"/>
                <a:cs typeface="+mn-cs"/>
              </a:rPr>
            </a:br>
            <a:r>
              <a:rPr kumimoji="0" lang="en-US" sz="1600" b="0" i="0" u="none" strike="noStrike" kern="1200" cap="none" spc="0" normalizeH="0" baseline="0" noProof="0">
                <a:ln>
                  <a:noFill/>
                </a:ln>
                <a:solidFill>
                  <a:srgbClr val="008575"/>
                </a:solidFill>
                <a:effectLst/>
                <a:uLnTx/>
                <a:uFillTx/>
                <a:latin typeface="Segoe Sans Display Semibold"/>
                <a:ea typeface="+mn-ea"/>
                <a:cs typeface="+mn-cs"/>
              </a:rPr>
              <a:t>Executive Sponsorship</a:t>
            </a:r>
          </a:p>
          <a:p>
            <a:pPr marL="0" marR="0" lvl="0" indent="0" algn="l" defTabSz="932114" rtl="0" eaLnBrk="1" fontAlgn="base" latinLnBrk="0" hangingPunct="1">
              <a:lnSpc>
                <a:spcPct val="100000"/>
              </a:lnSpc>
              <a:spcBef>
                <a:spcPts val="1000"/>
              </a:spcBef>
              <a:spcAft>
                <a:spcPct val="0"/>
              </a:spcAft>
              <a:buClrTx/>
              <a:buSzTx/>
              <a:buFontTx/>
              <a:buNone/>
              <a:tabLst/>
              <a:defRPr/>
            </a:pPr>
            <a:r>
              <a:rPr kumimoji="0" lang="en-US" sz="1600" b="0" i="0" u="none" strike="noStrike" kern="1200" cap="none" spc="0" normalizeH="0" baseline="0" noProof="0">
                <a:ln>
                  <a:noFill/>
                </a:ln>
                <a:solidFill>
                  <a:srgbClr val="008575"/>
                </a:solidFill>
                <a:effectLst/>
                <a:uLnTx/>
                <a:uFillTx/>
                <a:latin typeface="Segoe Sans Display Semibold"/>
                <a:ea typeface="+mn-ea"/>
                <a:cs typeface="+mn-cs"/>
              </a:rPr>
              <a:t>Start to drive Culture Transformation</a:t>
            </a:r>
          </a:p>
          <a:p>
            <a:pPr marL="250825" marR="0" lvl="0" indent="-168275" algn="l" defTabSz="932114" rtl="0" eaLnBrk="1" fontAlgn="base" latinLnBrk="0" hangingPunct="1">
              <a:lnSpc>
                <a:spcPct val="100000"/>
              </a:lnSpc>
              <a:spcBef>
                <a:spcPts val="2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Data driven culture</a:t>
            </a:r>
          </a:p>
          <a:p>
            <a:pPr marL="250825" marR="0" lvl="0" indent="-168275" algn="l" defTabSz="932114" rtl="0" eaLnBrk="1" fontAlgn="base" latinLnBrk="0" hangingPunct="1">
              <a:lnSpc>
                <a:spcPct val="100000"/>
              </a:lnSpc>
              <a:spcBef>
                <a:spcPts val="2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Employees are focused on customer relationships</a:t>
            </a:r>
          </a:p>
          <a:p>
            <a:pPr marL="250825" marR="0" lvl="0" indent="-168275" algn="l" defTabSz="932114" rtl="0" eaLnBrk="1" fontAlgn="base" latinLnBrk="0" hangingPunct="1">
              <a:lnSpc>
                <a:spcPct val="100000"/>
              </a:lnSpc>
              <a:spcBef>
                <a:spcPts val="20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Employees reskill continuously </a:t>
            </a:r>
          </a:p>
        </p:txBody>
      </p:sp>
      <p:grpSp>
        <p:nvGrpSpPr>
          <p:cNvPr id="3274" name="Group 3273" descr="Icon of a shield with a checkmark">
            <a:extLst>
              <a:ext uri="{FF2B5EF4-FFF2-40B4-BE49-F238E27FC236}">
                <a16:creationId xmlns:a16="http://schemas.microsoft.com/office/drawing/2014/main" id="{54771AF7-5314-2A68-03A4-82C01D7FBB84}"/>
              </a:ext>
            </a:extLst>
          </p:cNvPr>
          <p:cNvGrpSpPr/>
          <p:nvPr/>
        </p:nvGrpSpPr>
        <p:grpSpPr>
          <a:xfrm>
            <a:off x="3051081" y="4630912"/>
            <a:ext cx="722514" cy="814208"/>
            <a:chOff x="3149567" y="4471253"/>
            <a:chExt cx="722514" cy="814208"/>
          </a:xfrm>
        </p:grpSpPr>
        <p:sp>
          <p:nvSpPr>
            <p:cNvPr id="3275" name="Oval 3274">
              <a:extLst>
                <a:ext uri="{FF2B5EF4-FFF2-40B4-BE49-F238E27FC236}">
                  <a16:creationId xmlns:a16="http://schemas.microsoft.com/office/drawing/2014/main" id="{87E4ED99-1044-434F-B951-14E0E8A5112E}"/>
                </a:ext>
              </a:extLst>
            </p:cNvPr>
            <p:cNvSpPr/>
            <p:nvPr/>
          </p:nvSpPr>
          <p:spPr bwMode="auto">
            <a:xfrm>
              <a:off x="3149567" y="4865373"/>
              <a:ext cx="722514" cy="420088"/>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3276" name="Group 3275">
              <a:extLst>
                <a:ext uri="{FF2B5EF4-FFF2-40B4-BE49-F238E27FC236}">
                  <a16:creationId xmlns:a16="http://schemas.microsoft.com/office/drawing/2014/main" id="{84092E30-44AF-66EB-451F-CCF75380EB6B}"/>
                </a:ext>
              </a:extLst>
            </p:cNvPr>
            <p:cNvGrpSpPr/>
            <p:nvPr/>
          </p:nvGrpSpPr>
          <p:grpSpPr>
            <a:xfrm>
              <a:off x="3213862" y="4638201"/>
              <a:ext cx="590548" cy="576206"/>
              <a:chOff x="1196666" y="2069009"/>
              <a:chExt cx="590548" cy="576206"/>
            </a:xfrm>
          </p:grpSpPr>
          <p:grpSp>
            <p:nvGrpSpPr>
              <p:cNvPr id="3278" name="Group 3277">
                <a:extLst>
                  <a:ext uri="{FF2B5EF4-FFF2-40B4-BE49-F238E27FC236}">
                    <a16:creationId xmlns:a16="http://schemas.microsoft.com/office/drawing/2014/main" id="{8D1E9F9F-B43B-0A12-B17E-FCB97413BDCD}"/>
                  </a:ext>
                </a:extLst>
              </p:cNvPr>
              <p:cNvGrpSpPr/>
              <p:nvPr/>
            </p:nvGrpSpPr>
            <p:grpSpPr>
              <a:xfrm>
                <a:off x="1196666" y="2070696"/>
                <a:ext cx="590548" cy="574519"/>
                <a:chOff x="1196666" y="2070696"/>
                <a:chExt cx="590548" cy="574519"/>
              </a:xfrm>
            </p:grpSpPr>
            <p:sp>
              <p:nvSpPr>
                <p:cNvPr id="3282" name="Freeform 10">
                  <a:extLst>
                    <a:ext uri="{FF2B5EF4-FFF2-40B4-BE49-F238E27FC236}">
                      <a16:creationId xmlns:a16="http://schemas.microsoft.com/office/drawing/2014/main" id="{C1A88778-2D13-4776-9653-91AEA7D83DC8}"/>
                    </a:ext>
                  </a:extLst>
                </p:cNvPr>
                <p:cNvSpPr>
                  <a:spLocks/>
                </p:cNvSpPr>
                <p:nvPr/>
              </p:nvSpPr>
              <p:spPr bwMode="auto">
                <a:xfrm>
                  <a:off x="1196666" y="2241112"/>
                  <a:ext cx="590548" cy="404103"/>
                </a:xfrm>
                <a:custGeom>
                  <a:avLst/>
                  <a:gdLst>
                    <a:gd name="T0" fmla="*/ 0 w 292"/>
                    <a:gd name="T1" fmla="*/ 0 h 200"/>
                    <a:gd name="T2" fmla="*/ 0 w 292"/>
                    <a:gd name="T3" fmla="*/ 122 h 200"/>
                    <a:gd name="T4" fmla="*/ 1 w 292"/>
                    <a:gd name="T5" fmla="*/ 122 h 200"/>
                    <a:gd name="T6" fmla="*/ 146 w 292"/>
                    <a:gd name="T7" fmla="*/ 200 h 200"/>
                    <a:gd name="T8" fmla="*/ 292 w 292"/>
                    <a:gd name="T9" fmla="*/ 122 h 200"/>
                    <a:gd name="T10" fmla="*/ 292 w 292"/>
                    <a:gd name="T11" fmla="*/ 122 h 200"/>
                    <a:gd name="T12" fmla="*/ 292 w 292"/>
                    <a:gd name="T13" fmla="*/ 0 h 200"/>
                    <a:gd name="T14" fmla="*/ 0 w 29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00">
                      <a:moveTo>
                        <a:pt x="0" y="0"/>
                      </a:moveTo>
                      <a:cubicBezTo>
                        <a:pt x="0" y="122"/>
                        <a:pt x="0" y="122"/>
                        <a:pt x="0" y="122"/>
                      </a:cubicBezTo>
                      <a:cubicBezTo>
                        <a:pt x="1" y="122"/>
                        <a:pt x="1" y="122"/>
                        <a:pt x="1" y="122"/>
                      </a:cubicBezTo>
                      <a:cubicBezTo>
                        <a:pt x="6" y="166"/>
                        <a:pt x="69" y="200"/>
                        <a:pt x="146" y="200"/>
                      </a:cubicBezTo>
                      <a:cubicBezTo>
                        <a:pt x="223" y="200"/>
                        <a:pt x="286" y="166"/>
                        <a:pt x="292" y="122"/>
                      </a:cubicBezTo>
                      <a:cubicBezTo>
                        <a:pt x="292" y="122"/>
                        <a:pt x="292" y="122"/>
                        <a:pt x="292" y="122"/>
                      </a:cubicBezTo>
                      <a:cubicBezTo>
                        <a:pt x="292" y="0"/>
                        <a:pt x="292" y="0"/>
                        <a:pt x="292" y="0"/>
                      </a:cubicBezTo>
                      <a:lnTo>
                        <a:pt x="0" y="0"/>
                      </a:lnTo>
                      <a:close/>
                    </a:path>
                  </a:pathLst>
                </a:custGeom>
                <a:solidFill>
                  <a:srgbClr val="57B9C5"/>
                </a:solidFill>
                <a:ln w="31750">
                  <a:noFill/>
                  <a:headEnd type="none" w="med" len="med"/>
                  <a:tailEnd type="none" w="med" len="med"/>
                </a:ln>
                <a:effectLst>
                  <a:outerShdw blurRad="116152" dist="381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sz="2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3283" name="Oval 11">
                  <a:extLst>
                    <a:ext uri="{FF2B5EF4-FFF2-40B4-BE49-F238E27FC236}">
                      <a16:creationId xmlns:a16="http://schemas.microsoft.com/office/drawing/2014/main" id="{AE1A183D-FA09-4168-9905-E57DCC27D453}"/>
                    </a:ext>
                  </a:extLst>
                </p:cNvPr>
                <p:cNvSpPr>
                  <a:spLocks noChangeArrowheads="1"/>
                </p:cNvSpPr>
                <p:nvPr/>
              </p:nvSpPr>
              <p:spPr bwMode="auto">
                <a:xfrm>
                  <a:off x="1196666" y="2070696"/>
                  <a:ext cx="590548" cy="341674"/>
                </a:xfrm>
                <a:prstGeom prst="ellipse">
                  <a:avLst/>
                </a:prstGeom>
                <a:solidFill>
                  <a:srgbClr val="3FA9B7"/>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79" name="Group 3278">
                <a:extLst>
                  <a:ext uri="{FF2B5EF4-FFF2-40B4-BE49-F238E27FC236}">
                    <a16:creationId xmlns:a16="http://schemas.microsoft.com/office/drawing/2014/main" id="{50B013DB-9D53-4F47-B088-A6A438DFA211}"/>
                  </a:ext>
                </a:extLst>
              </p:cNvPr>
              <p:cNvGrpSpPr/>
              <p:nvPr/>
            </p:nvGrpSpPr>
            <p:grpSpPr>
              <a:xfrm>
                <a:off x="1235164" y="2069009"/>
                <a:ext cx="513552" cy="305036"/>
                <a:chOff x="3504402" y="4348648"/>
                <a:chExt cx="496098" cy="287028"/>
              </a:xfrm>
              <a:effectLst>
                <a:outerShdw blurRad="50800" dist="38100" dir="5400000" algn="t" rotWithShape="0">
                  <a:prstClr val="black">
                    <a:alpha val="40000"/>
                  </a:prstClr>
                </a:outerShdw>
              </a:effectLst>
            </p:grpSpPr>
            <p:sp>
              <p:nvSpPr>
                <p:cNvPr id="3280" name="Oval 11">
                  <a:extLst>
                    <a:ext uri="{FF2B5EF4-FFF2-40B4-BE49-F238E27FC236}">
                      <a16:creationId xmlns:a16="http://schemas.microsoft.com/office/drawing/2014/main" id="{5450EADE-124F-4D3A-9A55-959618D85A4A}"/>
                    </a:ext>
                  </a:extLst>
                </p:cNvPr>
                <p:cNvSpPr>
                  <a:spLocks noChangeArrowheads="1"/>
                </p:cNvSpPr>
                <p:nvPr/>
              </p:nvSpPr>
              <p:spPr bwMode="auto">
                <a:xfrm>
                  <a:off x="3504402" y="4348648"/>
                  <a:ext cx="496098" cy="287028"/>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81" name="Oval 11">
                  <a:extLst>
                    <a:ext uri="{FF2B5EF4-FFF2-40B4-BE49-F238E27FC236}">
                      <a16:creationId xmlns:a16="http://schemas.microsoft.com/office/drawing/2014/main" id="{4AAB9F31-9C68-4707-AA98-4C5499613E6E}"/>
                    </a:ext>
                  </a:extLst>
                </p:cNvPr>
                <p:cNvSpPr>
                  <a:spLocks noChangeArrowheads="1"/>
                </p:cNvSpPr>
                <p:nvPr/>
              </p:nvSpPr>
              <p:spPr bwMode="auto">
                <a:xfrm flipH="1">
                  <a:off x="3532977" y="4365181"/>
                  <a:ext cx="438948" cy="253962"/>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277" name="Graphic 34" descr="Icon of a shield with a checkmark">
              <a:extLst>
                <a:ext uri="{FF2B5EF4-FFF2-40B4-BE49-F238E27FC236}">
                  <a16:creationId xmlns:a16="http://schemas.microsoft.com/office/drawing/2014/main" id="{E74A1A3A-EFBC-10D0-BF3D-76F512186900}"/>
                </a:ext>
              </a:extLst>
            </p:cNvPr>
            <p:cNvSpPr>
              <a:spLocks/>
            </p:cNvSpPr>
            <p:nvPr/>
          </p:nvSpPr>
          <p:spPr>
            <a:xfrm>
              <a:off x="3357541" y="4471253"/>
              <a:ext cx="299658" cy="332952"/>
            </a:xfrm>
            <a:custGeom>
              <a:avLst/>
              <a:gdLst>
                <a:gd name="connsiteX0" fmla="*/ 164306 w 171450"/>
                <a:gd name="connsiteY0" fmla="*/ 28575 h 190501"/>
                <a:gd name="connsiteX1" fmla="*/ 90011 w 171450"/>
                <a:gd name="connsiteY1" fmla="*/ 1429 h 190501"/>
                <a:gd name="connsiteX2" fmla="*/ 81439 w 171450"/>
                <a:gd name="connsiteY2" fmla="*/ 1429 h 190501"/>
                <a:gd name="connsiteX3" fmla="*/ 7144 w 171450"/>
                <a:gd name="connsiteY3" fmla="*/ 28575 h 190501"/>
                <a:gd name="connsiteX4" fmla="*/ 0 w 171450"/>
                <a:gd name="connsiteY4" fmla="*/ 35719 h 190501"/>
                <a:gd name="connsiteX5" fmla="*/ 0 w 171450"/>
                <a:gd name="connsiteY5" fmla="*/ 85725 h 190501"/>
                <a:gd name="connsiteX6" fmla="*/ 83106 w 171450"/>
                <a:gd name="connsiteY6" fmla="*/ 190005 h 190501"/>
                <a:gd name="connsiteX7" fmla="*/ 88344 w 171450"/>
                <a:gd name="connsiteY7" fmla="*/ 190005 h 190501"/>
                <a:gd name="connsiteX8" fmla="*/ 171450 w 171450"/>
                <a:gd name="connsiteY8" fmla="*/ 85725 h 190501"/>
                <a:gd name="connsiteX9" fmla="*/ 171450 w 171450"/>
                <a:gd name="connsiteY9" fmla="*/ 35719 h 190501"/>
                <a:gd name="connsiteX10" fmla="*/ 164306 w 171450"/>
                <a:gd name="connsiteY10" fmla="*/ 28575 h 190501"/>
                <a:gd name="connsiteX11" fmla="*/ 131035 w 171450"/>
                <a:gd name="connsiteY11" fmla="*/ 69561 h 190501"/>
                <a:gd name="connsiteX12" fmla="*/ 73885 w 171450"/>
                <a:gd name="connsiteY12" fmla="*/ 121949 h 190501"/>
                <a:gd name="connsiteX13" fmla="*/ 64008 w 171450"/>
                <a:gd name="connsiteY13" fmla="*/ 121730 h 190501"/>
                <a:gd name="connsiteX14" fmla="*/ 40195 w 171450"/>
                <a:gd name="connsiteY14" fmla="*/ 97917 h 190501"/>
                <a:gd name="connsiteX15" fmla="*/ 39839 w 171450"/>
                <a:gd name="connsiteY15" fmla="*/ 87821 h 190501"/>
                <a:gd name="connsiteX16" fmla="*/ 49936 w 171450"/>
                <a:gd name="connsiteY16" fmla="*/ 87464 h 190501"/>
                <a:gd name="connsiteX17" fmla="*/ 50292 w 171450"/>
                <a:gd name="connsiteY17" fmla="*/ 87821 h 190501"/>
                <a:gd name="connsiteX18" fmla="*/ 69275 w 171450"/>
                <a:gd name="connsiteY18" fmla="*/ 106794 h 190501"/>
                <a:gd name="connsiteX19" fmla="*/ 121377 w 171450"/>
                <a:gd name="connsiteY19" fmla="*/ 59026 h 190501"/>
                <a:gd name="connsiteX20" fmla="*/ 131474 w 171450"/>
                <a:gd name="connsiteY20" fmla="*/ 59465 h 190501"/>
                <a:gd name="connsiteX21" fmla="*/ 131035 w 171450"/>
                <a:gd name="connsiteY21" fmla="*/ 69561 h 190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90501">
                  <a:moveTo>
                    <a:pt x="164306" y="28575"/>
                  </a:moveTo>
                  <a:cubicBezTo>
                    <a:pt x="138941" y="28575"/>
                    <a:pt x="114224" y="19593"/>
                    <a:pt x="90011" y="1429"/>
                  </a:cubicBezTo>
                  <a:cubicBezTo>
                    <a:pt x="87471" y="-476"/>
                    <a:pt x="83979" y="-476"/>
                    <a:pt x="81439" y="1429"/>
                  </a:cubicBezTo>
                  <a:cubicBezTo>
                    <a:pt x="57226" y="19593"/>
                    <a:pt x="32509" y="28575"/>
                    <a:pt x="7144" y="28575"/>
                  </a:cubicBezTo>
                  <a:cubicBezTo>
                    <a:pt x="3198" y="28575"/>
                    <a:pt x="0" y="31773"/>
                    <a:pt x="0" y="35719"/>
                  </a:cubicBezTo>
                  <a:lnTo>
                    <a:pt x="0" y="85725"/>
                  </a:lnTo>
                  <a:cubicBezTo>
                    <a:pt x="0" y="133360"/>
                    <a:pt x="28175" y="168364"/>
                    <a:pt x="83106" y="190005"/>
                  </a:cubicBezTo>
                  <a:cubicBezTo>
                    <a:pt x="84789" y="190668"/>
                    <a:pt x="86661" y="190668"/>
                    <a:pt x="88344" y="190005"/>
                  </a:cubicBezTo>
                  <a:cubicBezTo>
                    <a:pt x="143275" y="168364"/>
                    <a:pt x="171450" y="133350"/>
                    <a:pt x="171450" y="85725"/>
                  </a:cubicBezTo>
                  <a:lnTo>
                    <a:pt x="171450" y="35719"/>
                  </a:lnTo>
                  <a:cubicBezTo>
                    <a:pt x="171450" y="31773"/>
                    <a:pt x="168252" y="28575"/>
                    <a:pt x="164306" y="28575"/>
                  </a:cubicBezTo>
                  <a:close/>
                  <a:moveTo>
                    <a:pt x="131035" y="69561"/>
                  </a:moveTo>
                  <a:lnTo>
                    <a:pt x="73885" y="121949"/>
                  </a:lnTo>
                  <a:cubicBezTo>
                    <a:pt x="71065" y="124531"/>
                    <a:pt x="66711" y="124435"/>
                    <a:pt x="64008" y="121730"/>
                  </a:cubicBezTo>
                  <a:lnTo>
                    <a:pt x="40195" y="97917"/>
                  </a:lnTo>
                  <a:cubicBezTo>
                    <a:pt x="37309" y="95227"/>
                    <a:pt x="37149" y="90707"/>
                    <a:pt x="39839" y="87821"/>
                  </a:cubicBezTo>
                  <a:cubicBezTo>
                    <a:pt x="42529" y="84934"/>
                    <a:pt x="47049" y="84774"/>
                    <a:pt x="49936" y="87464"/>
                  </a:cubicBezTo>
                  <a:cubicBezTo>
                    <a:pt x="50059" y="87579"/>
                    <a:pt x="50177" y="87698"/>
                    <a:pt x="50292" y="87821"/>
                  </a:cubicBezTo>
                  <a:lnTo>
                    <a:pt x="69275" y="106794"/>
                  </a:lnTo>
                  <a:lnTo>
                    <a:pt x="121377" y="59026"/>
                  </a:lnTo>
                  <a:cubicBezTo>
                    <a:pt x="124286" y="56359"/>
                    <a:pt x="128807" y="56556"/>
                    <a:pt x="131474" y="59465"/>
                  </a:cubicBezTo>
                  <a:cubicBezTo>
                    <a:pt x="134141" y="62374"/>
                    <a:pt x="133944" y="66894"/>
                    <a:pt x="131035" y="69561"/>
                  </a:cubicBezTo>
                  <a:close/>
                </a:path>
              </a:pathLst>
            </a:custGeom>
            <a:solidFill>
              <a:srgbClr val="57B9C5"/>
            </a:soli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284" name="TextBox 3283">
            <a:extLst>
              <a:ext uri="{FF2B5EF4-FFF2-40B4-BE49-F238E27FC236}">
                <a16:creationId xmlns:a16="http://schemas.microsoft.com/office/drawing/2014/main" id="{B5FB81BF-D3B0-48E2-945E-9261001A64C9}"/>
              </a:ext>
            </a:extLst>
          </p:cNvPr>
          <p:cNvSpPr txBox="1"/>
          <p:nvPr/>
        </p:nvSpPr>
        <p:spPr>
          <a:xfrm>
            <a:off x="3051081" y="5526758"/>
            <a:ext cx="2411280" cy="1107996"/>
          </a:xfrm>
          <a:prstGeom prst="rect">
            <a:avLst/>
          </a:prstGeom>
        </p:spPr>
        <p:txBody>
          <a:bodyPr wrap="square" lIns="0" tIns="0" rIns="0" bIns="0">
            <a:spAutoFit/>
          </a:bodyPr>
          <a:lstStyle>
            <a:defPPr>
              <a:defRPr lang="en-US"/>
            </a:defPPr>
            <a:lvl1pPr marR="0" lvl="0" indent="0" algn="ctr" defTabSz="932114" fontAlgn="base">
              <a:lnSpc>
                <a:spcPct val="100000"/>
              </a:lnSpc>
              <a:spcBef>
                <a:spcPct val="0"/>
              </a:spcBef>
              <a:spcAft>
                <a:spcPct val="0"/>
              </a:spcAft>
              <a:buClrTx/>
              <a:buSzTx/>
              <a:buFontTx/>
              <a:buNone/>
              <a:tabLst/>
              <a:defRPr kumimoji="0" sz="1600" b="1" i="0" u="none" strike="noStrike" cap="none" spc="0" normalizeH="0" baseline="0">
                <a:ln>
                  <a:noFill/>
                </a:ln>
                <a:solidFill>
                  <a:schemeClr val="tx2"/>
                </a:solidFill>
                <a:effectLst/>
                <a:uLnTx/>
                <a:uFillTx/>
                <a:latin typeface="Segoe UI Semibold"/>
                <a:ea typeface="Segoe UI" panose="020B0502040204020203" pitchFamily="34" charset="0"/>
                <a:cs typeface="Segoe UI" panose="020B0502040204020203" pitchFamily="34" charset="0"/>
              </a:defRPr>
            </a:lvl1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3A9BA8"/>
                </a:solidFill>
                <a:effectLst/>
                <a:uLnTx/>
                <a:uFillTx/>
                <a:latin typeface="Segoe Sans Display Semibold"/>
                <a:ea typeface="+mj-ea"/>
                <a:cs typeface="Segoe UI" panose="020B0502040204020203" pitchFamily="34" charset="0"/>
              </a:rPr>
              <a:t>02</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A9BA8"/>
                </a:solidFill>
                <a:effectLst/>
                <a:uLnTx/>
                <a:uFillTx/>
                <a:latin typeface="Segoe Sans Display Semibold"/>
                <a:ea typeface="+mn-ea"/>
                <a:cs typeface="Segoe UI" panose="020B0502040204020203" pitchFamily="34" charset="0"/>
              </a:rPr>
              <a:t>Securing the foundations</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3A9BA8"/>
                </a:solidFill>
                <a:effectLst/>
                <a:uLnTx/>
                <a:uFillTx/>
                <a:latin typeface="Segoe Sans Display Semibold"/>
                <a:ea typeface="+mn-ea"/>
                <a:cs typeface="Segoe UI" panose="020B0502040204020203" pitchFamily="34" charset="0"/>
              </a:rPr>
              <a:t>Data Governance + Security</a:t>
            </a:r>
          </a:p>
        </p:txBody>
      </p:sp>
      <p:grpSp>
        <p:nvGrpSpPr>
          <p:cNvPr id="3285" name="Group 3284" descr="Icon of a cylinder">
            <a:extLst>
              <a:ext uri="{FF2B5EF4-FFF2-40B4-BE49-F238E27FC236}">
                <a16:creationId xmlns:a16="http://schemas.microsoft.com/office/drawing/2014/main" id="{D095F293-73B5-4694-DBD3-E83B3E258532}"/>
              </a:ext>
            </a:extLst>
          </p:cNvPr>
          <p:cNvGrpSpPr/>
          <p:nvPr/>
        </p:nvGrpSpPr>
        <p:grpSpPr>
          <a:xfrm>
            <a:off x="5545642" y="3979669"/>
            <a:ext cx="722514" cy="765363"/>
            <a:chOff x="5615576" y="3820010"/>
            <a:chExt cx="722514" cy="765363"/>
          </a:xfrm>
        </p:grpSpPr>
        <p:sp>
          <p:nvSpPr>
            <p:cNvPr id="3286" name="Oval 3285">
              <a:extLst>
                <a:ext uri="{FF2B5EF4-FFF2-40B4-BE49-F238E27FC236}">
                  <a16:creationId xmlns:a16="http://schemas.microsoft.com/office/drawing/2014/main" id="{0A45DB7A-70F3-40DB-BBE7-845A6E873F39}"/>
                </a:ext>
              </a:extLst>
            </p:cNvPr>
            <p:cNvSpPr/>
            <p:nvPr/>
          </p:nvSpPr>
          <p:spPr bwMode="auto">
            <a:xfrm>
              <a:off x="5615576" y="4165285"/>
              <a:ext cx="722514" cy="420088"/>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3287" name="Group 3286">
              <a:extLst>
                <a:ext uri="{FF2B5EF4-FFF2-40B4-BE49-F238E27FC236}">
                  <a16:creationId xmlns:a16="http://schemas.microsoft.com/office/drawing/2014/main" id="{BAB49E26-1A82-E374-514E-49C2458F2454}"/>
                </a:ext>
              </a:extLst>
            </p:cNvPr>
            <p:cNvGrpSpPr/>
            <p:nvPr/>
          </p:nvGrpSpPr>
          <p:grpSpPr>
            <a:xfrm>
              <a:off x="5679872" y="3933331"/>
              <a:ext cx="590548" cy="574519"/>
              <a:chOff x="3097576" y="3944756"/>
              <a:chExt cx="590548" cy="574519"/>
            </a:xfrm>
          </p:grpSpPr>
          <p:grpSp>
            <p:nvGrpSpPr>
              <p:cNvPr id="3289" name="Group 3288">
                <a:extLst>
                  <a:ext uri="{FF2B5EF4-FFF2-40B4-BE49-F238E27FC236}">
                    <a16:creationId xmlns:a16="http://schemas.microsoft.com/office/drawing/2014/main" id="{1C83B14A-0E0C-75F9-46CE-3BDE7B77F2CC}"/>
                  </a:ext>
                </a:extLst>
              </p:cNvPr>
              <p:cNvGrpSpPr/>
              <p:nvPr/>
            </p:nvGrpSpPr>
            <p:grpSpPr>
              <a:xfrm>
                <a:off x="3097576" y="3944756"/>
                <a:ext cx="590548" cy="574519"/>
                <a:chOff x="1196666" y="2070696"/>
                <a:chExt cx="590548" cy="574519"/>
              </a:xfrm>
            </p:grpSpPr>
            <p:sp>
              <p:nvSpPr>
                <p:cNvPr id="3293" name="Freeform 10">
                  <a:extLst>
                    <a:ext uri="{FF2B5EF4-FFF2-40B4-BE49-F238E27FC236}">
                      <a16:creationId xmlns:a16="http://schemas.microsoft.com/office/drawing/2014/main" id="{3441E41D-160D-A8E2-B054-2BC93233E93D}"/>
                    </a:ext>
                  </a:extLst>
                </p:cNvPr>
                <p:cNvSpPr>
                  <a:spLocks/>
                </p:cNvSpPr>
                <p:nvPr/>
              </p:nvSpPr>
              <p:spPr bwMode="auto">
                <a:xfrm>
                  <a:off x="1196666" y="2241112"/>
                  <a:ext cx="590548" cy="404103"/>
                </a:xfrm>
                <a:custGeom>
                  <a:avLst/>
                  <a:gdLst>
                    <a:gd name="T0" fmla="*/ 0 w 292"/>
                    <a:gd name="T1" fmla="*/ 0 h 200"/>
                    <a:gd name="T2" fmla="*/ 0 w 292"/>
                    <a:gd name="T3" fmla="*/ 122 h 200"/>
                    <a:gd name="T4" fmla="*/ 1 w 292"/>
                    <a:gd name="T5" fmla="*/ 122 h 200"/>
                    <a:gd name="T6" fmla="*/ 146 w 292"/>
                    <a:gd name="T7" fmla="*/ 200 h 200"/>
                    <a:gd name="T8" fmla="*/ 292 w 292"/>
                    <a:gd name="T9" fmla="*/ 122 h 200"/>
                    <a:gd name="T10" fmla="*/ 292 w 292"/>
                    <a:gd name="T11" fmla="*/ 122 h 200"/>
                    <a:gd name="T12" fmla="*/ 292 w 292"/>
                    <a:gd name="T13" fmla="*/ 0 h 200"/>
                    <a:gd name="T14" fmla="*/ 0 w 29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00">
                      <a:moveTo>
                        <a:pt x="0" y="0"/>
                      </a:moveTo>
                      <a:cubicBezTo>
                        <a:pt x="0" y="122"/>
                        <a:pt x="0" y="122"/>
                        <a:pt x="0" y="122"/>
                      </a:cubicBezTo>
                      <a:cubicBezTo>
                        <a:pt x="1" y="122"/>
                        <a:pt x="1" y="122"/>
                        <a:pt x="1" y="122"/>
                      </a:cubicBezTo>
                      <a:cubicBezTo>
                        <a:pt x="6" y="166"/>
                        <a:pt x="69" y="200"/>
                        <a:pt x="146" y="200"/>
                      </a:cubicBezTo>
                      <a:cubicBezTo>
                        <a:pt x="223" y="200"/>
                        <a:pt x="286" y="166"/>
                        <a:pt x="292" y="122"/>
                      </a:cubicBezTo>
                      <a:cubicBezTo>
                        <a:pt x="292" y="122"/>
                        <a:pt x="292" y="122"/>
                        <a:pt x="292" y="122"/>
                      </a:cubicBezTo>
                      <a:cubicBezTo>
                        <a:pt x="292" y="0"/>
                        <a:pt x="292" y="0"/>
                        <a:pt x="292" y="0"/>
                      </a:cubicBezTo>
                      <a:lnTo>
                        <a:pt x="0" y="0"/>
                      </a:lnTo>
                      <a:close/>
                    </a:path>
                  </a:pathLst>
                </a:custGeom>
                <a:solidFill>
                  <a:srgbClr val="BDE353"/>
                </a:solidFill>
                <a:ln w="31750">
                  <a:noFill/>
                  <a:headEnd type="none" w="med" len="med"/>
                  <a:tailEnd type="none" w="med" len="med"/>
                </a:ln>
                <a:effectLst>
                  <a:outerShdw blurRad="116152" dist="381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sz="2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3294" name="Oval 11">
                  <a:extLst>
                    <a:ext uri="{FF2B5EF4-FFF2-40B4-BE49-F238E27FC236}">
                      <a16:creationId xmlns:a16="http://schemas.microsoft.com/office/drawing/2014/main" id="{B579B956-DDC0-B1CB-A945-DF41E6130DF2}"/>
                    </a:ext>
                  </a:extLst>
                </p:cNvPr>
                <p:cNvSpPr>
                  <a:spLocks noChangeArrowheads="1"/>
                </p:cNvSpPr>
                <p:nvPr/>
              </p:nvSpPr>
              <p:spPr bwMode="auto">
                <a:xfrm>
                  <a:off x="1196666" y="2070696"/>
                  <a:ext cx="590548" cy="341674"/>
                </a:xfrm>
                <a:prstGeom prst="ellipse">
                  <a:avLst/>
                </a:prstGeom>
                <a:solidFill>
                  <a:srgbClr val="ACDC24"/>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290" name="Group 3289">
                <a:extLst>
                  <a:ext uri="{FF2B5EF4-FFF2-40B4-BE49-F238E27FC236}">
                    <a16:creationId xmlns:a16="http://schemas.microsoft.com/office/drawing/2014/main" id="{C5BE2AD3-9479-9629-800F-DC5AB5961443}"/>
                  </a:ext>
                </a:extLst>
              </p:cNvPr>
              <p:cNvGrpSpPr/>
              <p:nvPr/>
            </p:nvGrpSpPr>
            <p:grpSpPr>
              <a:xfrm>
                <a:off x="3133904" y="3945299"/>
                <a:ext cx="513552" cy="305036"/>
                <a:chOff x="3506702" y="4348648"/>
                <a:chExt cx="496098" cy="287028"/>
              </a:xfrm>
              <a:effectLst>
                <a:outerShdw blurRad="50800" dist="38100" dir="5400000" algn="t" rotWithShape="0">
                  <a:prstClr val="black">
                    <a:alpha val="40000"/>
                  </a:prstClr>
                </a:outerShdw>
              </a:effectLst>
            </p:grpSpPr>
            <p:sp>
              <p:nvSpPr>
                <p:cNvPr id="3291" name="Oval 11">
                  <a:extLst>
                    <a:ext uri="{FF2B5EF4-FFF2-40B4-BE49-F238E27FC236}">
                      <a16:creationId xmlns:a16="http://schemas.microsoft.com/office/drawing/2014/main" id="{6CF1683B-28A5-CD35-CE01-B3F69FA97873}"/>
                    </a:ext>
                  </a:extLst>
                </p:cNvPr>
                <p:cNvSpPr>
                  <a:spLocks noChangeArrowheads="1"/>
                </p:cNvSpPr>
                <p:nvPr/>
              </p:nvSpPr>
              <p:spPr bwMode="auto">
                <a:xfrm>
                  <a:off x="3506702" y="4348648"/>
                  <a:ext cx="496098" cy="287028"/>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292" name="Oval 11">
                  <a:extLst>
                    <a:ext uri="{FF2B5EF4-FFF2-40B4-BE49-F238E27FC236}">
                      <a16:creationId xmlns:a16="http://schemas.microsoft.com/office/drawing/2014/main" id="{20E9E7D2-CFA3-E640-2DE8-C750E3BD1B45}"/>
                    </a:ext>
                  </a:extLst>
                </p:cNvPr>
                <p:cNvSpPr>
                  <a:spLocks noChangeArrowheads="1"/>
                </p:cNvSpPr>
                <p:nvPr/>
              </p:nvSpPr>
              <p:spPr bwMode="auto">
                <a:xfrm flipH="1">
                  <a:off x="3535277" y="4365181"/>
                  <a:ext cx="438948" cy="253962"/>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288" name="Graphic 10" descr="Icon of a cylinder">
              <a:extLst>
                <a:ext uri="{FF2B5EF4-FFF2-40B4-BE49-F238E27FC236}">
                  <a16:creationId xmlns:a16="http://schemas.microsoft.com/office/drawing/2014/main" id="{23EB87C1-84FB-DBBA-B965-70B50A209D23}"/>
                </a:ext>
              </a:extLst>
            </p:cNvPr>
            <p:cNvSpPr>
              <a:spLocks/>
            </p:cNvSpPr>
            <p:nvPr/>
          </p:nvSpPr>
          <p:spPr>
            <a:xfrm>
              <a:off x="5847327" y="3820010"/>
              <a:ext cx="260703" cy="325879"/>
            </a:xfrm>
            <a:custGeom>
              <a:avLst/>
              <a:gdLst>
                <a:gd name="connsiteX0" fmla="*/ 76200 w 152400"/>
                <a:gd name="connsiteY0" fmla="*/ 76200 h 190500"/>
                <a:gd name="connsiteX1" fmla="*/ 152400 w 152400"/>
                <a:gd name="connsiteY1" fmla="*/ 38100 h 190500"/>
                <a:gd name="connsiteX2" fmla="*/ 76200 w 152400"/>
                <a:gd name="connsiteY2" fmla="*/ 0 h 190500"/>
                <a:gd name="connsiteX3" fmla="*/ 0 w 152400"/>
                <a:gd name="connsiteY3" fmla="*/ 38100 h 190500"/>
                <a:gd name="connsiteX4" fmla="*/ 76200 w 152400"/>
                <a:gd name="connsiteY4" fmla="*/ 76200 h 190500"/>
                <a:gd name="connsiteX5" fmla="*/ 136474 w 152400"/>
                <a:gd name="connsiteY5" fmla="*/ 77819 h 190500"/>
                <a:gd name="connsiteX6" fmla="*/ 152400 w 152400"/>
                <a:gd name="connsiteY6" fmla="*/ 67180 h 190500"/>
                <a:gd name="connsiteX7" fmla="*/ 152400 w 152400"/>
                <a:gd name="connsiteY7" fmla="*/ 152400 h 190500"/>
                <a:gd name="connsiteX8" fmla="*/ 76200 w 152400"/>
                <a:gd name="connsiteY8" fmla="*/ 190500 h 190500"/>
                <a:gd name="connsiteX9" fmla="*/ 0 w 152400"/>
                <a:gd name="connsiteY9" fmla="*/ 152400 h 190500"/>
                <a:gd name="connsiteX10" fmla="*/ 0 w 152400"/>
                <a:gd name="connsiteY10" fmla="*/ 67180 h 190500"/>
                <a:gd name="connsiteX11" fmla="*/ 15926 w 152400"/>
                <a:gd name="connsiteY11" fmla="*/ 77819 h 190500"/>
                <a:gd name="connsiteX12" fmla="*/ 76200 w 152400"/>
                <a:gd name="connsiteY12" fmla="*/ 90488 h 190500"/>
                <a:gd name="connsiteX13" fmla="*/ 136474 w 152400"/>
                <a:gd name="connsiteY13" fmla="*/ 77819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76200" y="76200"/>
                  </a:moveTo>
                  <a:cubicBezTo>
                    <a:pt x="118281" y="76200"/>
                    <a:pt x="152400" y="59150"/>
                    <a:pt x="152400" y="38100"/>
                  </a:cubicBezTo>
                  <a:cubicBezTo>
                    <a:pt x="152400" y="17050"/>
                    <a:pt x="118281" y="0"/>
                    <a:pt x="76200" y="0"/>
                  </a:cubicBezTo>
                  <a:cubicBezTo>
                    <a:pt x="34119" y="0"/>
                    <a:pt x="0" y="17050"/>
                    <a:pt x="0" y="38100"/>
                  </a:cubicBezTo>
                  <a:cubicBezTo>
                    <a:pt x="0" y="59150"/>
                    <a:pt x="34119" y="76200"/>
                    <a:pt x="76200" y="76200"/>
                  </a:cubicBezTo>
                  <a:close/>
                  <a:moveTo>
                    <a:pt x="136474" y="77819"/>
                  </a:moveTo>
                  <a:cubicBezTo>
                    <a:pt x="142230" y="74993"/>
                    <a:pt x="147585" y="71415"/>
                    <a:pt x="152400" y="67180"/>
                  </a:cubicBezTo>
                  <a:lnTo>
                    <a:pt x="152400" y="152400"/>
                  </a:lnTo>
                  <a:cubicBezTo>
                    <a:pt x="152400" y="173450"/>
                    <a:pt x="118281" y="190500"/>
                    <a:pt x="76200" y="190500"/>
                  </a:cubicBezTo>
                  <a:cubicBezTo>
                    <a:pt x="34119" y="190500"/>
                    <a:pt x="0" y="173450"/>
                    <a:pt x="0" y="152400"/>
                  </a:cubicBezTo>
                  <a:lnTo>
                    <a:pt x="0" y="67180"/>
                  </a:lnTo>
                  <a:cubicBezTo>
                    <a:pt x="4815" y="71415"/>
                    <a:pt x="10170" y="74993"/>
                    <a:pt x="15926" y="77819"/>
                  </a:cubicBezTo>
                  <a:cubicBezTo>
                    <a:pt x="32099" y="85896"/>
                    <a:pt x="53416" y="90488"/>
                    <a:pt x="76200" y="90488"/>
                  </a:cubicBezTo>
                  <a:cubicBezTo>
                    <a:pt x="98984" y="90488"/>
                    <a:pt x="120301" y="85896"/>
                    <a:pt x="136474" y="77819"/>
                  </a:cubicBezTo>
                  <a:close/>
                </a:path>
              </a:pathLst>
            </a:custGeom>
            <a:solidFill>
              <a:srgbClr val="9AC520"/>
            </a:soli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295" name="TextBox 3294">
            <a:extLst>
              <a:ext uri="{FF2B5EF4-FFF2-40B4-BE49-F238E27FC236}">
                <a16:creationId xmlns:a16="http://schemas.microsoft.com/office/drawing/2014/main" id="{BCB9662A-D34E-407C-B4D4-B18311676B42}"/>
              </a:ext>
            </a:extLst>
          </p:cNvPr>
          <p:cNvSpPr txBox="1"/>
          <p:nvPr/>
        </p:nvSpPr>
        <p:spPr>
          <a:xfrm>
            <a:off x="5612166" y="4822367"/>
            <a:ext cx="2464119" cy="861774"/>
          </a:xfrm>
          <a:prstGeom prst="rect">
            <a:avLst/>
          </a:prstGeom>
        </p:spPr>
        <p:txBody>
          <a:bodyPr wrap="square" lIns="0" tIns="0" rIns="0" bIns="0">
            <a:spAutoFit/>
          </a:bodyPr>
          <a:lstStyle>
            <a:defPPr>
              <a:defRPr lang="en-US"/>
            </a:defPPr>
            <a:lvl1pPr marR="0" lvl="0" indent="0" algn="ctr" defTabSz="932114" fontAlgn="base">
              <a:lnSpc>
                <a:spcPct val="100000"/>
              </a:lnSpc>
              <a:spcBef>
                <a:spcPct val="0"/>
              </a:spcBef>
              <a:spcAft>
                <a:spcPct val="0"/>
              </a:spcAft>
              <a:buClrTx/>
              <a:buSzTx/>
              <a:buFontTx/>
              <a:buNone/>
              <a:tabLst/>
              <a:defRPr kumimoji="0" sz="1600" b="1" i="0" u="none" strike="noStrike" cap="none" spc="0" normalizeH="0" baseline="0">
                <a:ln>
                  <a:noFill/>
                </a:ln>
                <a:solidFill>
                  <a:schemeClr val="accent5">
                    <a:lumMod val="50000"/>
                  </a:schemeClr>
                </a:solidFill>
                <a:effectLst/>
                <a:uLnTx/>
                <a:uFillTx/>
                <a:ea typeface="Segoe UI" panose="020B0502040204020203" pitchFamily="34" charset="0"/>
                <a:cs typeface="Segoe UI" panose="020B0502040204020203" pitchFamily="34" charset="0"/>
              </a:defRPr>
            </a:lvl1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94BD1F"/>
                </a:solidFill>
                <a:effectLst/>
                <a:uLnTx/>
                <a:uFillTx/>
                <a:latin typeface="Segoe Sans Display Semibold"/>
                <a:ea typeface="+mj-ea"/>
                <a:cs typeface="Segoe UI" panose="020B0502040204020203" pitchFamily="34" charset="0"/>
              </a:rPr>
              <a:t>03</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94BD1F"/>
                </a:solidFill>
                <a:effectLst/>
                <a:uLnTx/>
                <a:uFillTx/>
                <a:latin typeface="Segoe Sans Display Semibold"/>
                <a:ea typeface="+mn-ea"/>
                <a:cs typeface="Segoe UI" panose="020B0502040204020203" pitchFamily="34" charset="0"/>
              </a:rPr>
              <a:t>Modernize and migrate </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94BD1F"/>
                </a:solidFill>
                <a:effectLst/>
                <a:uLnTx/>
                <a:uFillTx/>
                <a:latin typeface="Segoe Sans Display Semibold"/>
                <a:ea typeface="+mn-ea"/>
                <a:cs typeface="Segoe UI" panose="020B0502040204020203" pitchFamily="34" charset="0"/>
              </a:rPr>
              <a:t>your Data Platform </a:t>
            </a:r>
          </a:p>
        </p:txBody>
      </p:sp>
      <p:grpSp>
        <p:nvGrpSpPr>
          <p:cNvPr id="3296" name="Group 3295" descr="Icon of a chart line of varying heights pointing top right with a gear">
            <a:extLst>
              <a:ext uri="{FF2B5EF4-FFF2-40B4-BE49-F238E27FC236}">
                <a16:creationId xmlns:a16="http://schemas.microsoft.com/office/drawing/2014/main" id="{19A3315D-17BE-4EEC-C72D-15409E8A352A}"/>
              </a:ext>
            </a:extLst>
          </p:cNvPr>
          <p:cNvGrpSpPr/>
          <p:nvPr/>
        </p:nvGrpSpPr>
        <p:grpSpPr>
          <a:xfrm>
            <a:off x="7747802" y="3265901"/>
            <a:ext cx="722514" cy="778784"/>
            <a:chOff x="8152464" y="3106242"/>
            <a:chExt cx="722514" cy="778784"/>
          </a:xfrm>
        </p:grpSpPr>
        <p:sp>
          <p:nvSpPr>
            <p:cNvPr id="3297" name="Oval 3296">
              <a:extLst>
                <a:ext uri="{FF2B5EF4-FFF2-40B4-BE49-F238E27FC236}">
                  <a16:creationId xmlns:a16="http://schemas.microsoft.com/office/drawing/2014/main" id="{10E1E1D7-0731-4AB2-B4AA-1DCAF5DAD9F1}"/>
                </a:ext>
              </a:extLst>
            </p:cNvPr>
            <p:cNvSpPr/>
            <p:nvPr/>
          </p:nvSpPr>
          <p:spPr bwMode="auto">
            <a:xfrm>
              <a:off x="8152464" y="3464938"/>
              <a:ext cx="722514" cy="420088"/>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3298" name="Group 3297">
              <a:extLst>
                <a:ext uri="{FF2B5EF4-FFF2-40B4-BE49-F238E27FC236}">
                  <a16:creationId xmlns:a16="http://schemas.microsoft.com/office/drawing/2014/main" id="{81243D62-EA00-80AE-7483-16D76C7F13D7}"/>
                </a:ext>
              </a:extLst>
            </p:cNvPr>
            <p:cNvGrpSpPr/>
            <p:nvPr/>
          </p:nvGrpSpPr>
          <p:grpSpPr>
            <a:xfrm>
              <a:off x="8216762" y="3243580"/>
              <a:ext cx="590548" cy="574519"/>
              <a:chOff x="3097576" y="3944756"/>
              <a:chExt cx="590548" cy="574519"/>
            </a:xfrm>
          </p:grpSpPr>
          <p:grpSp>
            <p:nvGrpSpPr>
              <p:cNvPr id="3300" name="Group 3299">
                <a:extLst>
                  <a:ext uri="{FF2B5EF4-FFF2-40B4-BE49-F238E27FC236}">
                    <a16:creationId xmlns:a16="http://schemas.microsoft.com/office/drawing/2014/main" id="{6F950407-3534-B024-C4C7-6FB26F91988B}"/>
                  </a:ext>
                </a:extLst>
              </p:cNvPr>
              <p:cNvGrpSpPr/>
              <p:nvPr/>
            </p:nvGrpSpPr>
            <p:grpSpPr>
              <a:xfrm>
                <a:off x="3097576" y="3944756"/>
                <a:ext cx="590548" cy="574519"/>
                <a:chOff x="1196666" y="2070696"/>
                <a:chExt cx="590548" cy="574519"/>
              </a:xfrm>
            </p:grpSpPr>
            <p:sp>
              <p:nvSpPr>
                <p:cNvPr id="3304" name="Freeform 10">
                  <a:extLst>
                    <a:ext uri="{FF2B5EF4-FFF2-40B4-BE49-F238E27FC236}">
                      <a16:creationId xmlns:a16="http://schemas.microsoft.com/office/drawing/2014/main" id="{7177B01E-260D-6923-1A64-9045111131F3}"/>
                    </a:ext>
                  </a:extLst>
                </p:cNvPr>
                <p:cNvSpPr>
                  <a:spLocks/>
                </p:cNvSpPr>
                <p:nvPr/>
              </p:nvSpPr>
              <p:spPr bwMode="auto">
                <a:xfrm>
                  <a:off x="1196666" y="2241112"/>
                  <a:ext cx="590548" cy="404103"/>
                </a:xfrm>
                <a:custGeom>
                  <a:avLst/>
                  <a:gdLst>
                    <a:gd name="T0" fmla="*/ 0 w 292"/>
                    <a:gd name="T1" fmla="*/ 0 h 200"/>
                    <a:gd name="T2" fmla="*/ 0 w 292"/>
                    <a:gd name="T3" fmla="*/ 122 h 200"/>
                    <a:gd name="T4" fmla="*/ 1 w 292"/>
                    <a:gd name="T5" fmla="*/ 122 h 200"/>
                    <a:gd name="T6" fmla="*/ 146 w 292"/>
                    <a:gd name="T7" fmla="*/ 200 h 200"/>
                    <a:gd name="T8" fmla="*/ 292 w 292"/>
                    <a:gd name="T9" fmla="*/ 122 h 200"/>
                    <a:gd name="T10" fmla="*/ 292 w 292"/>
                    <a:gd name="T11" fmla="*/ 122 h 200"/>
                    <a:gd name="T12" fmla="*/ 292 w 292"/>
                    <a:gd name="T13" fmla="*/ 0 h 200"/>
                    <a:gd name="T14" fmla="*/ 0 w 29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00">
                      <a:moveTo>
                        <a:pt x="0" y="0"/>
                      </a:moveTo>
                      <a:cubicBezTo>
                        <a:pt x="0" y="122"/>
                        <a:pt x="0" y="122"/>
                        <a:pt x="0" y="122"/>
                      </a:cubicBezTo>
                      <a:cubicBezTo>
                        <a:pt x="1" y="122"/>
                        <a:pt x="1" y="122"/>
                        <a:pt x="1" y="122"/>
                      </a:cubicBezTo>
                      <a:cubicBezTo>
                        <a:pt x="6" y="166"/>
                        <a:pt x="69" y="200"/>
                        <a:pt x="146" y="200"/>
                      </a:cubicBezTo>
                      <a:cubicBezTo>
                        <a:pt x="223" y="200"/>
                        <a:pt x="286" y="166"/>
                        <a:pt x="292" y="122"/>
                      </a:cubicBezTo>
                      <a:cubicBezTo>
                        <a:pt x="292" y="122"/>
                        <a:pt x="292" y="122"/>
                        <a:pt x="292" y="122"/>
                      </a:cubicBezTo>
                      <a:cubicBezTo>
                        <a:pt x="292" y="0"/>
                        <a:pt x="292" y="0"/>
                        <a:pt x="292" y="0"/>
                      </a:cubicBezTo>
                      <a:lnTo>
                        <a:pt x="0" y="0"/>
                      </a:lnTo>
                      <a:close/>
                    </a:path>
                  </a:pathLst>
                </a:custGeom>
                <a:solidFill>
                  <a:srgbClr val="0078D4"/>
                </a:solidFill>
                <a:ln w="31750">
                  <a:noFill/>
                  <a:headEnd type="none" w="med" len="med"/>
                  <a:tailEnd type="none" w="med" len="med"/>
                </a:ln>
                <a:effectLst>
                  <a:outerShdw blurRad="116152" dist="381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sz="2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3305" name="Oval 11">
                  <a:extLst>
                    <a:ext uri="{FF2B5EF4-FFF2-40B4-BE49-F238E27FC236}">
                      <a16:creationId xmlns:a16="http://schemas.microsoft.com/office/drawing/2014/main" id="{05CDCE2D-97ED-8143-C883-E8A03A353F18}"/>
                    </a:ext>
                  </a:extLst>
                </p:cNvPr>
                <p:cNvSpPr>
                  <a:spLocks noChangeArrowheads="1"/>
                </p:cNvSpPr>
                <p:nvPr/>
              </p:nvSpPr>
              <p:spPr bwMode="auto">
                <a:xfrm>
                  <a:off x="1196666" y="2070696"/>
                  <a:ext cx="590548" cy="341674"/>
                </a:xfrm>
                <a:prstGeom prst="ellipse">
                  <a:avLst/>
                </a:prstGeom>
                <a:solidFill>
                  <a:srgbClr val="006BBC"/>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01" name="Group 3300">
                <a:extLst>
                  <a:ext uri="{FF2B5EF4-FFF2-40B4-BE49-F238E27FC236}">
                    <a16:creationId xmlns:a16="http://schemas.microsoft.com/office/drawing/2014/main" id="{B3DAADA2-FFE9-1AF0-2DD0-0BF3236C7539}"/>
                  </a:ext>
                </a:extLst>
              </p:cNvPr>
              <p:cNvGrpSpPr/>
              <p:nvPr/>
            </p:nvGrpSpPr>
            <p:grpSpPr>
              <a:xfrm>
                <a:off x="3133904" y="3945299"/>
                <a:ext cx="513552" cy="305036"/>
                <a:chOff x="3506702" y="4348648"/>
                <a:chExt cx="496098" cy="287028"/>
              </a:xfrm>
              <a:effectLst>
                <a:outerShdw blurRad="50800" dist="38100" dir="5400000" algn="t" rotWithShape="0">
                  <a:prstClr val="black">
                    <a:alpha val="40000"/>
                  </a:prstClr>
                </a:outerShdw>
              </a:effectLst>
            </p:grpSpPr>
            <p:sp>
              <p:nvSpPr>
                <p:cNvPr id="3302" name="Oval 11">
                  <a:extLst>
                    <a:ext uri="{FF2B5EF4-FFF2-40B4-BE49-F238E27FC236}">
                      <a16:creationId xmlns:a16="http://schemas.microsoft.com/office/drawing/2014/main" id="{9059B912-B1EC-A369-4493-4F23EEEB7B76}"/>
                    </a:ext>
                  </a:extLst>
                </p:cNvPr>
                <p:cNvSpPr>
                  <a:spLocks noChangeArrowheads="1"/>
                </p:cNvSpPr>
                <p:nvPr/>
              </p:nvSpPr>
              <p:spPr bwMode="auto">
                <a:xfrm>
                  <a:off x="3506702" y="4348648"/>
                  <a:ext cx="496098" cy="287028"/>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03" name="Oval 11">
                  <a:extLst>
                    <a:ext uri="{FF2B5EF4-FFF2-40B4-BE49-F238E27FC236}">
                      <a16:creationId xmlns:a16="http://schemas.microsoft.com/office/drawing/2014/main" id="{B60D5A69-09B0-C182-F672-D79D94B0F26B}"/>
                    </a:ext>
                  </a:extLst>
                </p:cNvPr>
                <p:cNvSpPr>
                  <a:spLocks noChangeArrowheads="1"/>
                </p:cNvSpPr>
                <p:nvPr/>
              </p:nvSpPr>
              <p:spPr bwMode="auto">
                <a:xfrm flipH="1">
                  <a:off x="3535277" y="4365181"/>
                  <a:ext cx="438948" cy="253962"/>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299" name="Graphic 45" descr="Icon of a chart line of varying heights pointing top right with a gear">
              <a:extLst>
                <a:ext uri="{FF2B5EF4-FFF2-40B4-BE49-F238E27FC236}">
                  <a16:creationId xmlns:a16="http://schemas.microsoft.com/office/drawing/2014/main" id="{2B25EFE0-E747-DE63-FBA5-AE7DB157D860}"/>
                </a:ext>
              </a:extLst>
            </p:cNvPr>
            <p:cNvSpPr/>
            <p:nvPr/>
          </p:nvSpPr>
          <p:spPr>
            <a:xfrm>
              <a:off x="8347679" y="3106242"/>
              <a:ext cx="339121" cy="336030"/>
            </a:xfrm>
            <a:custGeom>
              <a:avLst/>
              <a:gdLst>
                <a:gd name="connsiteX0" fmla="*/ 213133 w 248461"/>
                <a:gd name="connsiteY0" fmla="*/ 0 h 246196"/>
                <a:gd name="connsiteX1" fmla="*/ 225680 w 248461"/>
                <a:gd name="connsiteY1" fmla="*/ 12546 h 246196"/>
                <a:gd name="connsiteX2" fmla="*/ 225680 w 248461"/>
                <a:gd name="connsiteY2" fmla="*/ 75278 h 246196"/>
                <a:gd name="connsiteX3" fmla="*/ 213133 w 248461"/>
                <a:gd name="connsiteY3" fmla="*/ 87824 h 246196"/>
                <a:gd name="connsiteX4" fmla="*/ 200587 w 248461"/>
                <a:gd name="connsiteY4" fmla="*/ 75278 h 246196"/>
                <a:gd name="connsiteX5" fmla="*/ 200587 w 248461"/>
                <a:gd name="connsiteY5" fmla="*/ 42833 h 246196"/>
                <a:gd name="connsiteX6" fmla="*/ 127906 w 248461"/>
                <a:gd name="connsiteY6" fmla="*/ 115514 h 246196"/>
                <a:gd name="connsiteX7" fmla="*/ 110166 w 248461"/>
                <a:gd name="connsiteY7" fmla="*/ 115514 h 246196"/>
                <a:gd name="connsiteX8" fmla="*/ 87670 w 248461"/>
                <a:gd name="connsiteY8" fmla="*/ 93019 h 246196"/>
                <a:gd name="connsiteX9" fmla="*/ 21262 w 248461"/>
                <a:gd name="connsiteY9" fmla="*/ 159426 h 246196"/>
                <a:gd name="connsiteX10" fmla="*/ 3522 w 248461"/>
                <a:gd name="connsiteY10" fmla="*/ 159118 h 246196"/>
                <a:gd name="connsiteX11" fmla="*/ 3522 w 248461"/>
                <a:gd name="connsiteY11" fmla="*/ 141686 h 246196"/>
                <a:gd name="connsiteX12" fmla="*/ 78800 w 248461"/>
                <a:gd name="connsiteY12" fmla="*/ 66408 h 246196"/>
                <a:gd name="connsiteX13" fmla="*/ 96540 w 248461"/>
                <a:gd name="connsiteY13" fmla="*/ 66408 h 246196"/>
                <a:gd name="connsiteX14" fmla="*/ 119036 w 248461"/>
                <a:gd name="connsiteY14" fmla="*/ 88903 h 246196"/>
                <a:gd name="connsiteX15" fmla="*/ 182847 w 248461"/>
                <a:gd name="connsiteY15" fmla="*/ 25093 h 246196"/>
                <a:gd name="connsiteX16" fmla="*/ 150402 w 248461"/>
                <a:gd name="connsiteY16" fmla="*/ 25093 h 246196"/>
                <a:gd name="connsiteX17" fmla="*/ 137855 w 248461"/>
                <a:gd name="connsiteY17" fmla="*/ 12546 h 246196"/>
                <a:gd name="connsiteX18" fmla="*/ 150402 w 248461"/>
                <a:gd name="connsiteY18" fmla="*/ 0 h 246196"/>
                <a:gd name="connsiteX19" fmla="*/ 213133 w 248461"/>
                <a:gd name="connsiteY19" fmla="*/ 0 h 246196"/>
                <a:gd name="connsiteX20" fmla="*/ 141343 w 248461"/>
                <a:gd name="connsiteY20" fmla="*/ 137709 h 246196"/>
                <a:gd name="connsiteX21" fmla="*/ 124196 w 248461"/>
                <a:gd name="connsiteY21" fmla="*/ 168777 h 246196"/>
                <a:gd name="connsiteX22" fmla="*/ 123277 w 248461"/>
                <a:gd name="connsiteY22" fmla="*/ 169024 h 246196"/>
                <a:gd name="connsiteX23" fmla="*/ 115937 w 248461"/>
                <a:gd name="connsiteY23" fmla="*/ 170831 h 246196"/>
                <a:gd name="connsiteX24" fmla="*/ 116012 w 248461"/>
                <a:gd name="connsiteY24" fmla="*/ 193502 h 246196"/>
                <a:gd name="connsiteX25" fmla="*/ 122787 w 248461"/>
                <a:gd name="connsiteY25" fmla="*/ 195133 h 246196"/>
                <a:gd name="connsiteX26" fmla="*/ 141306 w 248461"/>
                <a:gd name="connsiteY26" fmla="*/ 225404 h 246196"/>
                <a:gd name="connsiteX27" fmla="*/ 140980 w 248461"/>
                <a:gd name="connsiteY27" fmla="*/ 226624 h 246196"/>
                <a:gd name="connsiteX28" fmla="*/ 138633 w 248461"/>
                <a:gd name="connsiteY28" fmla="*/ 234554 h 246196"/>
                <a:gd name="connsiteX29" fmla="*/ 157265 w 248461"/>
                <a:gd name="connsiteY29" fmla="*/ 246121 h 246196"/>
                <a:gd name="connsiteX30" fmla="*/ 163450 w 248461"/>
                <a:gd name="connsiteY30" fmla="*/ 239597 h 246196"/>
                <a:gd name="connsiteX31" fmla="*/ 198925 w 248461"/>
                <a:gd name="connsiteY31" fmla="*/ 238713 h 246196"/>
                <a:gd name="connsiteX32" fmla="*/ 199822 w 248461"/>
                <a:gd name="connsiteY32" fmla="*/ 239610 h 246196"/>
                <a:gd name="connsiteX33" fmla="*/ 206082 w 248461"/>
                <a:gd name="connsiteY33" fmla="*/ 246197 h 246196"/>
                <a:gd name="connsiteX34" fmla="*/ 224689 w 248461"/>
                <a:gd name="connsiteY34" fmla="*/ 234742 h 246196"/>
                <a:gd name="connsiteX35" fmla="*/ 222192 w 248461"/>
                <a:gd name="connsiteY35" fmla="*/ 226135 h 246196"/>
                <a:gd name="connsiteX36" fmla="*/ 239347 w 248461"/>
                <a:gd name="connsiteY36" fmla="*/ 195070 h 246196"/>
                <a:gd name="connsiteX37" fmla="*/ 240284 w 248461"/>
                <a:gd name="connsiteY37" fmla="*/ 194819 h 246196"/>
                <a:gd name="connsiteX38" fmla="*/ 247598 w 248461"/>
                <a:gd name="connsiteY38" fmla="*/ 193013 h 246196"/>
                <a:gd name="connsiteX39" fmla="*/ 247523 w 248461"/>
                <a:gd name="connsiteY39" fmla="*/ 170329 h 246196"/>
                <a:gd name="connsiteX40" fmla="*/ 240761 w 248461"/>
                <a:gd name="connsiteY40" fmla="*/ 168698 h 246196"/>
                <a:gd name="connsiteX41" fmla="*/ 222242 w 248461"/>
                <a:gd name="connsiteY41" fmla="*/ 138427 h 246196"/>
                <a:gd name="connsiteX42" fmla="*/ 222568 w 248461"/>
                <a:gd name="connsiteY42" fmla="*/ 137207 h 246196"/>
                <a:gd name="connsiteX43" fmla="*/ 224902 w 248461"/>
                <a:gd name="connsiteY43" fmla="*/ 129303 h 246196"/>
                <a:gd name="connsiteX44" fmla="*/ 206283 w 248461"/>
                <a:gd name="connsiteY44" fmla="*/ 117735 h 246196"/>
                <a:gd name="connsiteX45" fmla="*/ 200098 w 248461"/>
                <a:gd name="connsiteY45" fmla="*/ 124234 h 246196"/>
                <a:gd name="connsiteX46" fmla="*/ 164623 w 248461"/>
                <a:gd name="connsiteY46" fmla="*/ 125143 h 246196"/>
                <a:gd name="connsiteX47" fmla="*/ 163713 w 248461"/>
                <a:gd name="connsiteY47" fmla="*/ 124234 h 246196"/>
                <a:gd name="connsiteX48" fmla="*/ 157465 w 248461"/>
                <a:gd name="connsiteY48" fmla="*/ 117647 h 246196"/>
                <a:gd name="connsiteX49" fmla="*/ 138859 w 248461"/>
                <a:gd name="connsiteY49" fmla="*/ 129089 h 246196"/>
                <a:gd name="connsiteX50" fmla="*/ 141343 w 248461"/>
                <a:gd name="connsiteY50" fmla="*/ 137709 h 246196"/>
                <a:gd name="connsiteX51" fmla="*/ 181768 w 248461"/>
                <a:gd name="connsiteY51" fmla="*/ 200741 h 246196"/>
                <a:gd name="connsiteX52" fmla="*/ 163575 w 248461"/>
                <a:gd name="connsiteY52" fmla="*/ 181922 h 246196"/>
                <a:gd name="connsiteX53" fmla="*/ 181768 w 248461"/>
                <a:gd name="connsiteY53" fmla="*/ 163102 h 246196"/>
                <a:gd name="connsiteX54" fmla="*/ 199960 w 248461"/>
                <a:gd name="connsiteY54" fmla="*/ 181922 h 246196"/>
                <a:gd name="connsiteX55" fmla="*/ 181768 w 248461"/>
                <a:gd name="connsiteY55" fmla="*/ 200741 h 246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8461" h="246196">
                  <a:moveTo>
                    <a:pt x="213133" y="0"/>
                  </a:moveTo>
                  <a:cubicBezTo>
                    <a:pt x="220063" y="0"/>
                    <a:pt x="225680" y="5617"/>
                    <a:pt x="225680" y="12546"/>
                  </a:cubicBezTo>
                  <a:lnTo>
                    <a:pt x="225680" y="75278"/>
                  </a:lnTo>
                  <a:cubicBezTo>
                    <a:pt x="225680" y="82207"/>
                    <a:pt x="220063" y="87824"/>
                    <a:pt x="213133" y="87824"/>
                  </a:cubicBezTo>
                  <a:cubicBezTo>
                    <a:pt x="206204" y="87824"/>
                    <a:pt x="200587" y="82207"/>
                    <a:pt x="200587" y="75278"/>
                  </a:cubicBezTo>
                  <a:lnTo>
                    <a:pt x="200587" y="42833"/>
                  </a:lnTo>
                  <a:lnTo>
                    <a:pt x="127906" y="115514"/>
                  </a:lnTo>
                  <a:cubicBezTo>
                    <a:pt x="123007" y="120412"/>
                    <a:pt x="115065" y="120412"/>
                    <a:pt x="110166" y="115514"/>
                  </a:cubicBezTo>
                  <a:lnTo>
                    <a:pt x="87670" y="93019"/>
                  </a:lnTo>
                  <a:lnTo>
                    <a:pt x="21262" y="159426"/>
                  </a:lnTo>
                  <a:cubicBezTo>
                    <a:pt x="16278" y="164240"/>
                    <a:pt x="8336" y="164102"/>
                    <a:pt x="3522" y="159118"/>
                  </a:cubicBezTo>
                  <a:cubicBezTo>
                    <a:pt x="-1174" y="154256"/>
                    <a:pt x="-1174" y="146547"/>
                    <a:pt x="3522" y="141686"/>
                  </a:cubicBezTo>
                  <a:lnTo>
                    <a:pt x="78800" y="66408"/>
                  </a:lnTo>
                  <a:cubicBezTo>
                    <a:pt x="83699" y="61510"/>
                    <a:pt x="91641" y="61510"/>
                    <a:pt x="96540" y="66408"/>
                  </a:cubicBezTo>
                  <a:lnTo>
                    <a:pt x="119036" y="88903"/>
                  </a:lnTo>
                  <a:lnTo>
                    <a:pt x="182847" y="25093"/>
                  </a:lnTo>
                  <a:lnTo>
                    <a:pt x="150402" y="25093"/>
                  </a:lnTo>
                  <a:cubicBezTo>
                    <a:pt x="143472" y="25093"/>
                    <a:pt x="137855" y="19475"/>
                    <a:pt x="137855" y="12546"/>
                  </a:cubicBezTo>
                  <a:cubicBezTo>
                    <a:pt x="137855" y="5617"/>
                    <a:pt x="143472" y="0"/>
                    <a:pt x="150402" y="0"/>
                  </a:cubicBezTo>
                  <a:lnTo>
                    <a:pt x="213133" y="0"/>
                  </a:lnTo>
                  <a:close/>
                  <a:moveTo>
                    <a:pt x="141343" y="137709"/>
                  </a:moveTo>
                  <a:cubicBezTo>
                    <a:pt x="145188" y="151023"/>
                    <a:pt x="137510" y="164933"/>
                    <a:pt x="124196" y="168777"/>
                  </a:cubicBezTo>
                  <a:cubicBezTo>
                    <a:pt x="123891" y="168865"/>
                    <a:pt x="123585" y="168948"/>
                    <a:pt x="123277" y="169024"/>
                  </a:cubicBezTo>
                  <a:lnTo>
                    <a:pt x="115937" y="170831"/>
                  </a:lnTo>
                  <a:cubicBezTo>
                    <a:pt x="114763" y="178345"/>
                    <a:pt x="114788" y="185997"/>
                    <a:pt x="116012" y="193502"/>
                  </a:cubicBezTo>
                  <a:lnTo>
                    <a:pt x="122787" y="195133"/>
                  </a:lnTo>
                  <a:cubicBezTo>
                    <a:pt x="136261" y="198379"/>
                    <a:pt x="144551" y="211931"/>
                    <a:pt x="141306" y="225404"/>
                  </a:cubicBezTo>
                  <a:cubicBezTo>
                    <a:pt x="141208" y="225814"/>
                    <a:pt x="141099" y="226220"/>
                    <a:pt x="140980" y="226624"/>
                  </a:cubicBezTo>
                  <a:lnTo>
                    <a:pt x="138633" y="234554"/>
                  </a:lnTo>
                  <a:cubicBezTo>
                    <a:pt x="144154" y="239397"/>
                    <a:pt x="150427" y="243324"/>
                    <a:pt x="157265" y="246121"/>
                  </a:cubicBezTo>
                  <a:lnTo>
                    <a:pt x="163450" y="239597"/>
                  </a:lnTo>
                  <a:cubicBezTo>
                    <a:pt x="173002" y="229556"/>
                    <a:pt x="188885" y="229161"/>
                    <a:pt x="198925" y="238713"/>
                  </a:cubicBezTo>
                  <a:cubicBezTo>
                    <a:pt x="199232" y="239004"/>
                    <a:pt x="199531" y="239304"/>
                    <a:pt x="199822" y="239610"/>
                  </a:cubicBezTo>
                  <a:lnTo>
                    <a:pt x="206082" y="246197"/>
                  </a:lnTo>
                  <a:cubicBezTo>
                    <a:pt x="212875" y="243434"/>
                    <a:pt x="219163" y="239563"/>
                    <a:pt x="224689" y="234742"/>
                  </a:cubicBezTo>
                  <a:lnTo>
                    <a:pt x="222192" y="226135"/>
                  </a:lnTo>
                  <a:cubicBezTo>
                    <a:pt x="218350" y="212820"/>
                    <a:pt x="226031" y="198912"/>
                    <a:pt x="239347" y="195070"/>
                  </a:cubicBezTo>
                  <a:cubicBezTo>
                    <a:pt x="239656" y="194981"/>
                    <a:pt x="239970" y="194897"/>
                    <a:pt x="240284" y="194819"/>
                  </a:cubicBezTo>
                  <a:lnTo>
                    <a:pt x="247598" y="193013"/>
                  </a:lnTo>
                  <a:cubicBezTo>
                    <a:pt x="248774" y="185495"/>
                    <a:pt x="248749" y="177839"/>
                    <a:pt x="247523" y="170329"/>
                  </a:cubicBezTo>
                  <a:lnTo>
                    <a:pt x="240761" y="168698"/>
                  </a:lnTo>
                  <a:cubicBezTo>
                    <a:pt x="227287" y="165452"/>
                    <a:pt x="218996" y="151900"/>
                    <a:pt x="222242" y="138427"/>
                  </a:cubicBezTo>
                  <a:cubicBezTo>
                    <a:pt x="222340" y="138017"/>
                    <a:pt x="222449" y="137611"/>
                    <a:pt x="222568" y="137207"/>
                  </a:cubicBezTo>
                  <a:lnTo>
                    <a:pt x="224902" y="129303"/>
                  </a:lnTo>
                  <a:cubicBezTo>
                    <a:pt x="219382" y="124440"/>
                    <a:pt x="213088" y="120530"/>
                    <a:pt x="206283" y="117735"/>
                  </a:cubicBezTo>
                  <a:lnTo>
                    <a:pt x="200098" y="124234"/>
                  </a:lnTo>
                  <a:cubicBezTo>
                    <a:pt x="190553" y="134281"/>
                    <a:pt x="174670" y="134689"/>
                    <a:pt x="164623" y="125143"/>
                  </a:cubicBezTo>
                  <a:cubicBezTo>
                    <a:pt x="164312" y="124849"/>
                    <a:pt x="164008" y="124545"/>
                    <a:pt x="163713" y="124234"/>
                  </a:cubicBezTo>
                  <a:lnTo>
                    <a:pt x="157465" y="117647"/>
                  </a:lnTo>
                  <a:cubicBezTo>
                    <a:pt x="150653" y="120407"/>
                    <a:pt x="144380" y="124297"/>
                    <a:pt x="138859" y="129089"/>
                  </a:cubicBezTo>
                  <a:lnTo>
                    <a:pt x="141343" y="137709"/>
                  </a:lnTo>
                  <a:close/>
                  <a:moveTo>
                    <a:pt x="181768" y="200741"/>
                  </a:moveTo>
                  <a:cubicBezTo>
                    <a:pt x="171731" y="200741"/>
                    <a:pt x="163575" y="192310"/>
                    <a:pt x="163575" y="181922"/>
                  </a:cubicBezTo>
                  <a:cubicBezTo>
                    <a:pt x="163575" y="171533"/>
                    <a:pt x="171731" y="163102"/>
                    <a:pt x="181768" y="163102"/>
                  </a:cubicBezTo>
                  <a:cubicBezTo>
                    <a:pt x="191805" y="163102"/>
                    <a:pt x="199960" y="171533"/>
                    <a:pt x="199960" y="181922"/>
                  </a:cubicBezTo>
                  <a:cubicBezTo>
                    <a:pt x="199960" y="192310"/>
                    <a:pt x="191805" y="200741"/>
                    <a:pt x="181768" y="200741"/>
                  </a:cubicBezTo>
                  <a:close/>
                </a:path>
              </a:pathLst>
            </a:custGeom>
            <a:solidFill>
              <a:srgbClr val="0078D4"/>
            </a:soli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3306" name="TextBox 3305">
            <a:extLst>
              <a:ext uri="{FF2B5EF4-FFF2-40B4-BE49-F238E27FC236}">
                <a16:creationId xmlns:a16="http://schemas.microsoft.com/office/drawing/2014/main" id="{818991D7-2EAD-40C3-B5AC-8A4EFC453A39}"/>
              </a:ext>
            </a:extLst>
          </p:cNvPr>
          <p:cNvSpPr txBox="1"/>
          <p:nvPr/>
        </p:nvSpPr>
        <p:spPr>
          <a:xfrm>
            <a:off x="7747802" y="4145446"/>
            <a:ext cx="2086714" cy="861774"/>
          </a:xfrm>
          <a:prstGeom prst="rect">
            <a:avLst/>
          </a:prstGeom>
          <a:noFill/>
        </p:spPr>
        <p:txBody>
          <a:bodyPr wrap="square" lIns="0" tIns="0" rIns="0" bIns="0">
            <a:spAutoFit/>
          </a:bodyPr>
          <a:lstStyle>
            <a:defPPr>
              <a:defRPr lang="en-US"/>
            </a:defPPr>
            <a:lvl1pPr marR="0" lvl="0" indent="0" algn="ctr" defTabSz="932114" fontAlgn="base">
              <a:lnSpc>
                <a:spcPct val="100000"/>
              </a:lnSpc>
              <a:spcBef>
                <a:spcPct val="0"/>
              </a:spcBef>
              <a:spcAft>
                <a:spcPct val="0"/>
              </a:spcAft>
              <a:buClrTx/>
              <a:buSzTx/>
              <a:buFontTx/>
              <a:buNone/>
              <a:tabLst/>
              <a:defRPr kumimoji="0" sz="1600" b="1" i="0" u="none" strike="noStrike" cap="none" spc="0" normalizeH="0" baseline="0">
                <a:ln>
                  <a:noFill/>
                </a:ln>
                <a:solidFill>
                  <a:schemeClr val="tx2">
                    <a:lumMod val="75000"/>
                  </a:schemeClr>
                </a:solidFill>
                <a:effectLst/>
                <a:uLnTx/>
                <a:uFillTx/>
                <a:ea typeface="Segoe UI" panose="020B0502040204020203" pitchFamily="34" charset="0"/>
                <a:cs typeface="Segoe UI" panose="020B0502040204020203" pitchFamily="34" charset="0"/>
              </a:defRPr>
            </a:lvl1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61AA"/>
                </a:solidFill>
                <a:effectLst/>
                <a:uLnTx/>
                <a:uFillTx/>
                <a:latin typeface="Segoe Sans Display Semibold"/>
                <a:ea typeface="+mj-ea"/>
                <a:cs typeface="Segoe UI" panose="020B0502040204020203" pitchFamily="34" charset="0"/>
              </a:rPr>
              <a:t>04</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0061AA"/>
                </a:solidFill>
                <a:effectLst/>
                <a:uLnTx/>
                <a:uFillTx/>
                <a:latin typeface="Segoe Sans Display Semibold"/>
                <a:ea typeface="+mn-ea"/>
                <a:cs typeface="Segoe UI" panose="020B0502040204020203" pitchFamily="34" charset="0"/>
              </a:rPr>
              <a:t>Line of Business Solutions </a:t>
            </a:r>
          </a:p>
        </p:txBody>
      </p:sp>
      <p:grpSp>
        <p:nvGrpSpPr>
          <p:cNvPr id="3307" name="Group 3306" descr="Icon of three people">
            <a:extLst>
              <a:ext uri="{FF2B5EF4-FFF2-40B4-BE49-F238E27FC236}">
                <a16:creationId xmlns:a16="http://schemas.microsoft.com/office/drawing/2014/main" id="{FD50155D-7703-F929-631D-AAF4AFB71286}"/>
              </a:ext>
            </a:extLst>
          </p:cNvPr>
          <p:cNvGrpSpPr/>
          <p:nvPr/>
        </p:nvGrpSpPr>
        <p:grpSpPr>
          <a:xfrm>
            <a:off x="9832081" y="2079779"/>
            <a:ext cx="722514" cy="780392"/>
            <a:chOff x="10381178" y="1920120"/>
            <a:chExt cx="722514" cy="780392"/>
          </a:xfrm>
        </p:grpSpPr>
        <p:sp>
          <p:nvSpPr>
            <p:cNvPr id="3308" name="Oval 3307">
              <a:extLst>
                <a:ext uri="{FF2B5EF4-FFF2-40B4-BE49-F238E27FC236}">
                  <a16:creationId xmlns:a16="http://schemas.microsoft.com/office/drawing/2014/main" id="{6CA473A1-257B-4A68-A4ED-5AC565064B43}"/>
                </a:ext>
              </a:extLst>
            </p:cNvPr>
            <p:cNvSpPr/>
            <p:nvPr/>
          </p:nvSpPr>
          <p:spPr bwMode="auto">
            <a:xfrm>
              <a:off x="10381178" y="2280424"/>
              <a:ext cx="722514" cy="420088"/>
            </a:xfrm>
            <a:prstGeom prst="ellipse">
              <a:avLst/>
            </a:prstGeom>
            <a:solidFill>
              <a:schemeClr val="bg1"/>
            </a:solidFill>
            <a:ln w="57150">
              <a:solidFill>
                <a:schemeClr val="accent6">
                  <a:lumMod val="75000"/>
                </a:schemeClr>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nvGrpSpPr>
            <p:cNvPr id="3309" name="Group 3308">
              <a:extLst>
                <a:ext uri="{FF2B5EF4-FFF2-40B4-BE49-F238E27FC236}">
                  <a16:creationId xmlns:a16="http://schemas.microsoft.com/office/drawing/2014/main" id="{F1D70CF4-241C-3358-DAF2-95AF68FDF391}"/>
                </a:ext>
              </a:extLst>
            </p:cNvPr>
            <p:cNvGrpSpPr/>
            <p:nvPr/>
          </p:nvGrpSpPr>
          <p:grpSpPr>
            <a:xfrm>
              <a:off x="10445475" y="2069009"/>
              <a:ext cx="590548" cy="574519"/>
              <a:chOff x="3097576" y="3944756"/>
              <a:chExt cx="590548" cy="574519"/>
            </a:xfrm>
          </p:grpSpPr>
          <p:grpSp>
            <p:nvGrpSpPr>
              <p:cNvPr id="3311" name="Group 3310">
                <a:extLst>
                  <a:ext uri="{FF2B5EF4-FFF2-40B4-BE49-F238E27FC236}">
                    <a16:creationId xmlns:a16="http://schemas.microsoft.com/office/drawing/2014/main" id="{925ED912-4F8F-5F39-182E-63BE5527C7DA}"/>
                  </a:ext>
                </a:extLst>
              </p:cNvPr>
              <p:cNvGrpSpPr/>
              <p:nvPr/>
            </p:nvGrpSpPr>
            <p:grpSpPr>
              <a:xfrm>
                <a:off x="3097576" y="3944756"/>
                <a:ext cx="590548" cy="574519"/>
                <a:chOff x="1196666" y="2070696"/>
                <a:chExt cx="590548" cy="574519"/>
              </a:xfrm>
            </p:grpSpPr>
            <p:sp>
              <p:nvSpPr>
                <p:cNvPr id="3315" name="Freeform 10">
                  <a:extLst>
                    <a:ext uri="{FF2B5EF4-FFF2-40B4-BE49-F238E27FC236}">
                      <a16:creationId xmlns:a16="http://schemas.microsoft.com/office/drawing/2014/main" id="{C98E379F-B6DE-DF8D-ABA2-63B51F95D777}"/>
                    </a:ext>
                  </a:extLst>
                </p:cNvPr>
                <p:cNvSpPr>
                  <a:spLocks/>
                </p:cNvSpPr>
                <p:nvPr/>
              </p:nvSpPr>
              <p:spPr bwMode="auto">
                <a:xfrm>
                  <a:off x="1196666" y="2241112"/>
                  <a:ext cx="590548" cy="404103"/>
                </a:xfrm>
                <a:custGeom>
                  <a:avLst/>
                  <a:gdLst>
                    <a:gd name="T0" fmla="*/ 0 w 292"/>
                    <a:gd name="T1" fmla="*/ 0 h 200"/>
                    <a:gd name="T2" fmla="*/ 0 w 292"/>
                    <a:gd name="T3" fmla="*/ 122 h 200"/>
                    <a:gd name="T4" fmla="*/ 1 w 292"/>
                    <a:gd name="T5" fmla="*/ 122 h 200"/>
                    <a:gd name="T6" fmla="*/ 146 w 292"/>
                    <a:gd name="T7" fmla="*/ 200 h 200"/>
                    <a:gd name="T8" fmla="*/ 292 w 292"/>
                    <a:gd name="T9" fmla="*/ 122 h 200"/>
                    <a:gd name="T10" fmla="*/ 292 w 292"/>
                    <a:gd name="T11" fmla="*/ 122 h 200"/>
                    <a:gd name="T12" fmla="*/ 292 w 292"/>
                    <a:gd name="T13" fmla="*/ 0 h 200"/>
                    <a:gd name="T14" fmla="*/ 0 w 292"/>
                    <a:gd name="T15" fmla="*/ 0 h 2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200">
                      <a:moveTo>
                        <a:pt x="0" y="0"/>
                      </a:moveTo>
                      <a:cubicBezTo>
                        <a:pt x="0" y="122"/>
                        <a:pt x="0" y="122"/>
                        <a:pt x="0" y="122"/>
                      </a:cubicBezTo>
                      <a:cubicBezTo>
                        <a:pt x="1" y="122"/>
                        <a:pt x="1" y="122"/>
                        <a:pt x="1" y="122"/>
                      </a:cubicBezTo>
                      <a:cubicBezTo>
                        <a:pt x="6" y="166"/>
                        <a:pt x="69" y="200"/>
                        <a:pt x="146" y="200"/>
                      </a:cubicBezTo>
                      <a:cubicBezTo>
                        <a:pt x="223" y="200"/>
                        <a:pt x="286" y="166"/>
                        <a:pt x="292" y="122"/>
                      </a:cubicBezTo>
                      <a:cubicBezTo>
                        <a:pt x="292" y="122"/>
                        <a:pt x="292" y="122"/>
                        <a:pt x="292" y="122"/>
                      </a:cubicBezTo>
                      <a:cubicBezTo>
                        <a:pt x="292" y="0"/>
                        <a:pt x="292" y="0"/>
                        <a:pt x="292" y="0"/>
                      </a:cubicBezTo>
                      <a:lnTo>
                        <a:pt x="0" y="0"/>
                      </a:lnTo>
                      <a:close/>
                    </a:path>
                  </a:pathLst>
                </a:custGeom>
                <a:solidFill>
                  <a:srgbClr val="84C9FA"/>
                </a:solidFill>
                <a:ln w="31750">
                  <a:noFill/>
                  <a:headEnd type="none" w="med" len="med"/>
                  <a:tailEnd type="none" w="med" len="med"/>
                </a:ln>
                <a:effectLst>
                  <a:outerShdw blurRad="116152" dist="38100" dir="10800000" algn="r" rotWithShape="0">
                    <a:schemeClr val="bg1">
                      <a:lumMod val="75000"/>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US" sz="2800" b="1" i="0" u="none" strike="noStrike" kern="1200" cap="none" spc="0" normalizeH="0" baseline="0" noProof="0">
                    <a:ln w="3175">
                      <a:noFill/>
                    </a:ln>
                    <a:solidFill>
                      <a:srgbClr val="FFFFFF"/>
                    </a:solidFill>
                    <a:effectLst/>
                    <a:uLnTx/>
                    <a:uFillTx/>
                    <a:latin typeface="Segoe Sans Display Semibold"/>
                    <a:ea typeface="+mn-ea"/>
                    <a:cs typeface="Segoe UI" pitchFamily="34" charset="0"/>
                  </a:endParaRPr>
                </a:p>
              </p:txBody>
            </p:sp>
            <p:sp>
              <p:nvSpPr>
                <p:cNvPr id="3316" name="Oval 11">
                  <a:extLst>
                    <a:ext uri="{FF2B5EF4-FFF2-40B4-BE49-F238E27FC236}">
                      <a16:creationId xmlns:a16="http://schemas.microsoft.com/office/drawing/2014/main" id="{3D422CBA-5018-3731-2174-49693D45F1FC}"/>
                    </a:ext>
                  </a:extLst>
                </p:cNvPr>
                <p:cNvSpPr>
                  <a:spLocks noChangeArrowheads="1"/>
                </p:cNvSpPr>
                <p:nvPr/>
              </p:nvSpPr>
              <p:spPr bwMode="auto">
                <a:xfrm>
                  <a:off x="1196666" y="2070696"/>
                  <a:ext cx="590548" cy="341674"/>
                </a:xfrm>
                <a:prstGeom prst="ellipse">
                  <a:avLst/>
                </a:prstGeom>
                <a:solidFill>
                  <a:srgbClr val="5AB8F8"/>
                </a:soli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3312" name="Group 3311">
                <a:extLst>
                  <a:ext uri="{FF2B5EF4-FFF2-40B4-BE49-F238E27FC236}">
                    <a16:creationId xmlns:a16="http://schemas.microsoft.com/office/drawing/2014/main" id="{FC97333C-DF62-CADF-388C-E736B0A6F23E}"/>
                  </a:ext>
                </a:extLst>
              </p:cNvPr>
              <p:cNvGrpSpPr/>
              <p:nvPr/>
            </p:nvGrpSpPr>
            <p:grpSpPr>
              <a:xfrm>
                <a:off x="3133904" y="3945299"/>
                <a:ext cx="513552" cy="305036"/>
                <a:chOff x="3506702" y="4348648"/>
                <a:chExt cx="496098" cy="287028"/>
              </a:xfrm>
              <a:effectLst>
                <a:outerShdw blurRad="50800" dist="38100" dir="5400000" algn="t" rotWithShape="0">
                  <a:prstClr val="black">
                    <a:alpha val="40000"/>
                  </a:prstClr>
                </a:outerShdw>
              </a:effectLst>
            </p:grpSpPr>
            <p:sp>
              <p:nvSpPr>
                <p:cNvPr id="3313" name="Oval 11">
                  <a:extLst>
                    <a:ext uri="{FF2B5EF4-FFF2-40B4-BE49-F238E27FC236}">
                      <a16:creationId xmlns:a16="http://schemas.microsoft.com/office/drawing/2014/main" id="{C0946321-F482-9FD5-A9FC-03BB61EBD17B}"/>
                    </a:ext>
                  </a:extLst>
                </p:cNvPr>
                <p:cNvSpPr>
                  <a:spLocks noChangeArrowheads="1"/>
                </p:cNvSpPr>
                <p:nvPr/>
              </p:nvSpPr>
              <p:spPr bwMode="auto">
                <a:xfrm>
                  <a:off x="3506702" y="4348648"/>
                  <a:ext cx="496098" cy="287028"/>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314" name="Oval 11">
                  <a:extLst>
                    <a:ext uri="{FF2B5EF4-FFF2-40B4-BE49-F238E27FC236}">
                      <a16:creationId xmlns:a16="http://schemas.microsoft.com/office/drawing/2014/main" id="{C3AA497F-7963-BB39-C577-5B45867120CC}"/>
                    </a:ext>
                  </a:extLst>
                </p:cNvPr>
                <p:cNvSpPr>
                  <a:spLocks noChangeArrowheads="1"/>
                </p:cNvSpPr>
                <p:nvPr/>
              </p:nvSpPr>
              <p:spPr bwMode="auto">
                <a:xfrm flipH="1">
                  <a:off x="3535277" y="4365181"/>
                  <a:ext cx="438948" cy="253962"/>
                </a:xfrm>
                <a:prstGeom prst="ellipse">
                  <a:avLst/>
                </a:prstGeom>
                <a:gradFill flip="none" rotWithShape="1">
                  <a:gsLst>
                    <a:gs pos="0">
                      <a:schemeClr val="bg1"/>
                    </a:gs>
                    <a:gs pos="100000">
                      <a:srgbClr val="E6E6E6"/>
                    </a:gs>
                  </a:gsLst>
                  <a:lin ang="135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3310" name="Graphic 35" descr="Icon of three people">
              <a:extLst>
                <a:ext uri="{FF2B5EF4-FFF2-40B4-BE49-F238E27FC236}">
                  <a16:creationId xmlns:a16="http://schemas.microsoft.com/office/drawing/2014/main" id="{383586A2-5C43-D286-C587-7E87F1235BD8}"/>
                </a:ext>
              </a:extLst>
            </p:cNvPr>
            <p:cNvSpPr/>
            <p:nvPr/>
          </p:nvSpPr>
          <p:spPr>
            <a:xfrm>
              <a:off x="10550853" y="1920120"/>
              <a:ext cx="377497" cy="339833"/>
            </a:xfrm>
            <a:custGeom>
              <a:avLst/>
              <a:gdLst>
                <a:gd name="connsiteX0" fmla="*/ 174640 w 274012"/>
                <a:gd name="connsiteY0" fmla="*/ 164367 h 246673"/>
                <a:gd name="connsiteX1" fmla="*/ 198610 w 274012"/>
                <a:gd name="connsiteY1" fmla="*/ 188337 h 246673"/>
                <a:gd name="connsiteX2" fmla="*/ 198596 w 274012"/>
                <a:gd name="connsiteY2" fmla="*/ 201514 h 246673"/>
                <a:gd name="connsiteX3" fmla="*/ 137890 w 274012"/>
                <a:gd name="connsiteY3" fmla="*/ 246674 h 246673"/>
                <a:gd name="connsiteX4" fmla="*/ 75335 w 274012"/>
                <a:gd name="connsiteY4" fmla="*/ 202034 h 246673"/>
                <a:gd name="connsiteX5" fmla="*/ 75335 w 274012"/>
                <a:gd name="connsiteY5" fmla="*/ 188337 h 246673"/>
                <a:gd name="connsiteX6" fmla="*/ 99305 w 274012"/>
                <a:gd name="connsiteY6" fmla="*/ 164367 h 246673"/>
                <a:gd name="connsiteX7" fmla="*/ 174640 w 274012"/>
                <a:gd name="connsiteY7" fmla="*/ 164367 h 246673"/>
                <a:gd name="connsiteX8" fmla="*/ 23970 w 274012"/>
                <a:gd name="connsiteY8" fmla="*/ 95881 h 246673"/>
                <a:gd name="connsiteX9" fmla="*/ 83909 w 274012"/>
                <a:gd name="connsiteY9" fmla="*/ 95881 h 246673"/>
                <a:gd name="connsiteX10" fmla="*/ 98524 w 274012"/>
                <a:gd name="connsiteY10" fmla="*/ 148615 h 246673"/>
                <a:gd name="connsiteX11" fmla="*/ 100743 w 274012"/>
                <a:gd name="connsiteY11" fmla="*/ 150683 h 246673"/>
                <a:gd name="connsiteX12" fmla="*/ 99305 w 274012"/>
                <a:gd name="connsiteY12" fmla="*/ 150670 h 246673"/>
                <a:gd name="connsiteX13" fmla="*/ 63021 w 274012"/>
                <a:gd name="connsiteY13" fmla="*/ 178174 h 246673"/>
                <a:gd name="connsiteX14" fmla="*/ 62555 w 274012"/>
                <a:gd name="connsiteY14" fmla="*/ 178188 h 246673"/>
                <a:gd name="connsiteX15" fmla="*/ 0 w 274012"/>
                <a:gd name="connsiteY15" fmla="*/ 133548 h 246673"/>
                <a:gd name="connsiteX16" fmla="*/ 0 w 274012"/>
                <a:gd name="connsiteY16" fmla="*/ 119851 h 246673"/>
                <a:gd name="connsiteX17" fmla="*/ 23970 w 274012"/>
                <a:gd name="connsiteY17" fmla="*/ 95881 h 246673"/>
                <a:gd name="connsiteX18" fmla="*/ 249975 w 274012"/>
                <a:gd name="connsiteY18" fmla="*/ 95881 h 246673"/>
                <a:gd name="connsiteX19" fmla="*/ 273945 w 274012"/>
                <a:gd name="connsiteY19" fmla="*/ 119851 h 246673"/>
                <a:gd name="connsiteX20" fmla="*/ 273931 w 274012"/>
                <a:gd name="connsiteY20" fmla="*/ 133028 h 246673"/>
                <a:gd name="connsiteX21" fmla="*/ 213225 w 274012"/>
                <a:gd name="connsiteY21" fmla="*/ 178188 h 246673"/>
                <a:gd name="connsiteX22" fmla="*/ 210910 w 274012"/>
                <a:gd name="connsiteY22" fmla="*/ 178160 h 246673"/>
                <a:gd name="connsiteX23" fmla="*/ 177338 w 274012"/>
                <a:gd name="connsiteY23" fmla="*/ 150766 h 246673"/>
                <a:gd name="connsiteX24" fmla="*/ 174640 w 274012"/>
                <a:gd name="connsiteY24" fmla="*/ 150670 h 246673"/>
                <a:gd name="connsiteX25" fmla="*/ 173202 w 274012"/>
                <a:gd name="connsiteY25" fmla="*/ 150683 h 246673"/>
                <a:gd name="connsiteX26" fmla="*/ 190036 w 274012"/>
                <a:gd name="connsiteY26" fmla="*/ 95894 h 246673"/>
                <a:gd name="connsiteX27" fmla="*/ 249975 w 274012"/>
                <a:gd name="connsiteY27" fmla="*/ 95881 h 246673"/>
                <a:gd name="connsiteX28" fmla="*/ 136973 w 274012"/>
                <a:gd name="connsiteY28" fmla="*/ 68486 h 246673"/>
                <a:gd name="connsiteX29" fmla="*/ 178064 w 274012"/>
                <a:gd name="connsiteY29" fmla="*/ 109578 h 246673"/>
                <a:gd name="connsiteX30" fmla="*/ 136973 w 274012"/>
                <a:gd name="connsiteY30" fmla="*/ 150670 h 246673"/>
                <a:gd name="connsiteX31" fmla="*/ 95881 w 274012"/>
                <a:gd name="connsiteY31" fmla="*/ 109578 h 246673"/>
                <a:gd name="connsiteX32" fmla="*/ 136973 w 274012"/>
                <a:gd name="connsiteY32" fmla="*/ 68486 h 246673"/>
                <a:gd name="connsiteX33" fmla="*/ 61638 w 274012"/>
                <a:gd name="connsiteY33" fmla="*/ 0 h 246673"/>
                <a:gd name="connsiteX34" fmla="*/ 102729 w 274012"/>
                <a:gd name="connsiteY34" fmla="*/ 41092 h 246673"/>
                <a:gd name="connsiteX35" fmla="*/ 61638 w 274012"/>
                <a:gd name="connsiteY35" fmla="*/ 82184 h 246673"/>
                <a:gd name="connsiteX36" fmla="*/ 20546 w 274012"/>
                <a:gd name="connsiteY36" fmla="*/ 41092 h 246673"/>
                <a:gd name="connsiteX37" fmla="*/ 61638 w 274012"/>
                <a:gd name="connsiteY37" fmla="*/ 0 h 246673"/>
                <a:gd name="connsiteX38" fmla="*/ 212307 w 274012"/>
                <a:gd name="connsiteY38" fmla="*/ 0 h 246673"/>
                <a:gd name="connsiteX39" fmla="*/ 253399 w 274012"/>
                <a:gd name="connsiteY39" fmla="*/ 41092 h 246673"/>
                <a:gd name="connsiteX40" fmla="*/ 212307 w 274012"/>
                <a:gd name="connsiteY40" fmla="*/ 82184 h 246673"/>
                <a:gd name="connsiteX41" fmla="*/ 171216 w 274012"/>
                <a:gd name="connsiteY41" fmla="*/ 41092 h 246673"/>
                <a:gd name="connsiteX42" fmla="*/ 212307 w 274012"/>
                <a:gd name="connsiteY42" fmla="*/ 0 h 24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74012" h="246673">
                  <a:moveTo>
                    <a:pt x="174640" y="164367"/>
                  </a:moveTo>
                  <a:cubicBezTo>
                    <a:pt x="187871" y="164367"/>
                    <a:pt x="198610" y="175106"/>
                    <a:pt x="198610" y="188337"/>
                  </a:cubicBezTo>
                  <a:lnTo>
                    <a:pt x="198596" y="201514"/>
                  </a:lnTo>
                  <a:cubicBezTo>
                    <a:pt x="200199" y="231511"/>
                    <a:pt x="177900" y="246674"/>
                    <a:pt x="137890" y="246674"/>
                  </a:cubicBezTo>
                  <a:cubicBezTo>
                    <a:pt x="98031" y="246674"/>
                    <a:pt x="75335" y="231744"/>
                    <a:pt x="75335" y="202034"/>
                  </a:cubicBezTo>
                  <a:lnTo>
                    <a:pt x="75335" y="188337"/>
                  </a:lnTo>
                  <a:cubicBezTo>
                    <a:pt x="75335" y="175106"/>
                    <a:pt x="86074" y="164367"/>
                    <a:pt x="99305" y="164367"/>
                  </a:cubicBezTo>
                  <a:lnTo>
                    <a:pt x="174640" y="164367"/>
                  </a:lnTo>
                  <a:close/>
                  <a:moveTo>
                    <a:pt x="23970" y="95881"/>
                  </a:moveTo>
                  <a:lnTo>
                    <a:pt x="83909" y="95881"/>
                  </a:lnTo>
                  <a:cubicBezTo>
                    <a:pt x="79046" y="114808"/>
                    <a:pt x="84612" y="134892"/>
                    <a:pt x="98524" y="148615"/>
                  </a:cubicBezTo>
                  <a:lnTo>
                    <a:pt x="100743" y="150683"/>
                  </a:lnTo>
                  <a:lnTo>
                    <a:pt x="99305" y="150670"/>
                  </a:lnTo>
                  <a:cubicBezTo>
                    <a:pt x="82411" y="150664"/>
                    <a:pt x="67579" y="161907"/>
                    <a:pt x="63021" y="178174"/>
                  </a:cubicBezTo>
                  <a:lnTo>
                    <a:pt x="62555" y="178188"/>
                  </a:lnTo>
                  <a:cubicBezTo>
                    <a:pt x="22696" y="178188"/>
                    <a:pt x="0" y="163258"/>
                    <a:pt x="0" y="133548"/>
                  </a:cubicBezTo>
                  <a:lnTo>
                    <a:pt x="0" y="119851"/>
                  </a:lnTo>
                  <a:cubicBezTo>
                    <a:pt x="0" y="106619"/>
                    <a:pt x="10739" y="95881"/>
                    <a:pt x="23970" y="95881"/>
                  </a:cubicBezTo>
                  <a:close/>
                  <a:moveTo>
                    <a:pt x="249975" y="95881"/>
                  </a:moveTo>
                  <a:cubicBezTo>
                    <a:pt x="263206" y="95881"/>
                    <a:pt x="273945" y="106619"/>
                    <a:pt x="273945" y="119851"/>
                  </a:cubicBezTo>
                  <a:lnTo>
                    <a:pt x="273931" y="133028"/>
                  </a:lnTo>
                  <a:cubicBezTo>
                    <a:pt x="275534" y="163025"/>
                    <a:pt x="253235" y="178188"/>
                    <a:pt x="213225" y="178188"/>
                  </a:cubicBezTo>
                  <a:lnTo>
                    <a:pt x="210910" y="178160"/>
                  </a:lnTo>
                  <a:cubicBezTo>
                    <a:pt x="206596" y="162875"/>
                    <a:pt x="193178" y="151926"/>
                    <a:pt x="177338" y="150766"/>
                  </a:cubicBezTo>
                  <a:lnTo>
                    <a:pt x="174640" y="150670"/>
                  </a:lnTo>
                  <a:lnTo>
                    <a:pt x="173202" y="150683"/>
                  </a:lnTo>
                  <a:cubicBezTo>
                    <a:pt x="188708" y="137064"/>
                    <a:pt x="195220" y="115871"/>
                    <a:pt x="190036" y="95894"/>
                  </a:cubicBezTo>
                  <a:lnTo>
                    <a:pt x="249975" y="95881"/>
                  </a:lnTo>
                  <a:close/>
                  <a:moveTo>
                    <a:pt x="136973" y="68486"/>
                  </a:moveTo>
                  <a:cubicBezTo>
                    <a:pt x="159667" y="68486"/>
                    <a:pt x="178064" y="86884"/>
                    <a:pt x="178064" y="109578"/>
                  </a:cubicBezTo>
                  <a:cubicBezTo>
                    <a:pt x="178064" y="132273"/>
                    <a:pt x="159667" y="150670"/>
                    <a:pt x="136973" y="150670"/>
                  </a:cubicBezTo>
                  <a:cubicBezTo>
                    <a:pt x="114278" y="150670"/>
                    <a:pt x="95881" y="132273"/>
                    <a:pt x="95881" y="109578"/>
                  </a:cubicBezTo>
                  <a:cubicBezTo>
                    <a:pt x="95881" y="86884"/>
                    <a:pt x="114278" y="68486"/>
                    <a:pt x="136973" y="68486"/>
                  </a:cubicBezTo>
                  <a:close/>
                  <a:moveTo>
                    <a:pt x="61638" y="0"/>
                  </a:moveTo>
                  <a:cubicBezTo>
                    <a:pt x="84332" y="0"/>
                    <a:pt x="102729" y="18397"/>
                    <a:pt x="102729" y="41092"/>
                  </a:cubicBezTo>
                  <a:cubicBezTo>
                    <a:pt x="102729" y="63786"/>
                    <a:pt x="84332" y="82184"/>
                    <a:pt x="61638" y="82184"/>
                  </a:cubicBezTo>
                  <a:cubicBezTo>
                    <a:pt x="38943" y="82184"/>
                    <a:pt x="20546" y="63786"/>
                    <a:pt x="20546" y="41092"/>
                  </a:cubicBezTo>
                  <a:cubicBezTo>
                    <a:pt x="20546" y="18397"/>
                    <a:pt x="38943" y="0"/>
                    <a:pt x="61638" y="0"/>
                  </a:cubicBezTo>
                  <a:close/>
                  <a:moveTo>
                    <a:pt x="212307" y="0"/>
                  </a:moveTo>
                  <a:cubicBezTo>
                    <a:pt x="235002" y="0"/>
                    <a:pt x="253399" y="18397"/>
                    <a:pt x="253399" y="41092"/>
                  </a:cubicBezTo>
                  <a:cubicBezTo>
                    <a:pt x="253399" y="63786"/>
                    <a:pt x="235002" y="82184"/>
                    <a:pt x="212307" y="82184"/>
                  </a:cubicBezTo>
                  <a:cubicBezTo>
                    <a:pt x="189612" y="82184"/>
                    <a:pt x="171216" y="63786"/>
                    <a:pt x="171216" y="41092"/>
                  </a:cubicBezTo>
                  <a:cubicBezTo>
                    <a:pt x="171216" y="18397"/>
                    <a:pt x="189612" y="0"/>
                    <a:pt x="212307" y="0"/>
                  </a:cubicBezTo>
                  <a:close/>
                </a:path>
              </a:pathLst>
            </a:custGeom>
            <a:solidFill>
              <a:srgbClr val="4995C9"/>
            </a:soli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3317" name="TextBox 3316">
            <a:extLst>
              <a:ext uri="{FF2B5EF4-FFF2-40B4-BE49-F238E27FC236}">
                <a16:creationId xmlns:a16="http://schemas.microsoft.com/office/drawing/2014/main" id="{40FF3265-AD64-4346-A67E-49E1ECBEE865}"/>
              </a:ext>
            </a:extLst>
          </p:cNvPr>
          <p:cNvSpPr txBox="1"/>
          <p:nvPr/>
        </p:nvSpPr>
        <p:spPr>
          <a:xfrm>
            <a:off x="9851699" y="2967657"/>
            <a:ext cx="2132214" cy="861774"/>
          </a:xfrm>
          <a:prstGeom prst="rect">
            <a:avLst/>
          </a:prstGeom>
          <a:noFill/>
        </p:spPr>
        <p:txBody>
          <a:bodyPr wrap="square" lIns="0" tIns="0" rIns="0" bIns="0">
            <a:spAutoFit/>
          </a:bodyPr>
          <a:lstStyle>
            <a:defPPr>
              <a:defRPr lang="en-US"/>
            </a:defPPr>
            <a:lvl1pPr marR="0" lvl="0" indent="0" algn="ctr" defTabSz="932114" fontAlgn="base">
              <a:lnSpc>
                <a:spcPct val="100000"/>
              </a:lnSpc>
              <a:spcBef>
                <a:spcPct val="0"/>
              </a:spcBef>
              <a:spcAft>
                <a:spcPct val="0"/>
              </a:spcAft>
              <a:buClrTx/>
              <a:buSzTx/>
              <a:buFontTx/>
              <a:buNone/>
              <a:tabLst/>
              <a:defRPr kumimoji="0" sz="1600" b="1" i="0" u="none" strike="noStrike" cap="none" spc="0" normalizeH="0" baseline="0">
                <a:ln>
                  <a:noFill/>
                </a:ln>
                <a:solidFill>
                  <a:schemeClr val="tx2">
                    <a:lumMod val="75000"/>
                  </a:schemeClr>
                </a:solidFill>
                <a:effectLst/>
                <a:uLnTx/>
                <a:uFillTx/>
                <a:ea typeface="Segoe UI" panose="020B0502040204020203" pitchFamily="34" charset="0"/>
                <a:cs typeface="Segoe UI" panose="020B0502040204020203" pitchFamily="34" charset="0"/>
              </a:defRPr>
            </a:lvl1pPr>
          </a:lstStyle>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4A97CB"/>
                </a:solidFill>
                <a:effectLst/>
                <a:uLnTx/>
                <a:uFillTx/>
                <a:latin typeface="Segoe Sans Display Semibold"/>
                <a:ea typeface="+mj-ea"/>
                <a:cs typeface="Segoe UI" panose="020B0502040204020203" pitchFamily="34" charset="0"/>
              </a:rPr>
              <a:t>05</a:t>
            </a:r>
          </a:p>
          <a:p>
            <a:pPr marL="0" marR="0" lvl="0" indent="0" algn="l" defTabSz="932114"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4A97CB"/>
                </a:solidFill>
                <a:effectLst/>
                <a:uLnTx/>
                <a:uFillTx/>
                <a:latin typeface="Segoe Sans Display Semibold"/>
                <a:ea typeface="+mn-ea"/>
                <a:cs typeface="Segoe UI" panose="020B0502040204020203" pitchFamily="34" charset="0"/>
              </a:rPr>
              <a:t>Executive</a:t>
            </a:r>
            <a:br>
              <a:rPr kumimoji="0" lang="en-US" sz="1600" b="0" i="0" u="none" strike="noStrike" kern="1200" cap="none" spc="0" normalizeH="0" baseline="0" noProof="0">
                <a:ln>
                  <a:noFill/>
                </a:ln>
                <a:solidFill>
                  <a:srgbClr val="4A97CB"/>
                </a:solidFill>
                <a:effectLst/>
                <a:uLnTx/>
                <a:uFillTx/>
                <a:latin typeface="Segoe Sans Display Semibold"/>
                <a:ea typeface="+mn-ea"/>
                <a:cs typeface="Segoe UI" panose="020B0502040204020203" pitchFamily="34" charset="0"/>
              </a:rPr>
            </a:br>
            <a:r>
              <a:rPr kumimoji="0" lang="en-US" sz="1600" b="0" i="0" u="none" strike="noStrike" kern="1200" cap="none" spc="0" normalizeH="0" baseline="0" noProof="0">
                <a:ln>
                  <a:noFill/>
                </a:ln>
                <a:solidFill>
                  <a:srgbClr val="4A97CB"/>
                </a:solidFill>
                <a:effectLst/>
                <a:uLnTx/>
                <a:uFillTx/>
                <a:latin typeface="Segoe Sans Display Semibold"/>
                <a:ea typeface="+mn-ea"/>
                <a:cs typeface="Segoe UI" panose="020B0502040204020203" pitchFamily="34" charset="0"/>
              </a:rPr>
              <a:t>Engagement</a:t>
            </a:r>
          </a:p>
        </p:txBody>
      </p:sp>
      <p:grpSp>
        <p:nvGrpSpPr>
          <p:cNvPr id="3408" name="Group 3407">
            <a:extLst>
              <a:ext uri="{FF2B5EF4-FFF2-40B4-BE49-F238E27FC236}">
                <a16:creationId xmlns:a16="http://schemas.microsoft.com/office/drawing/2014/main" id="{4BB23E5C-EF7B-23AF-EAC5-D2DD3C46EDE8}"/>
              </a:ext>
              <a:ext uri="{C183D7F6-B498-43B3-948B-1728B52AA6E4}">
                <adec:decorative xmlns:adec="http://schemas.microsoft.com/office/drawing/2017/decorative" val="1"/>
              </a:ext>
            </a:extLst>
          </p:cNvPr>
          <p:cNvGrpSpPr/>
          <p:nvPr/>
        </p:nvGrpSpPr>
        <p:grpSpPr>
          <a:xfrm>
            <a:off x="2324937" y="2252417"/>
            <a:ext cx="430004" cy="2415092"/>
            <a:chOff x="2324937" y="2252417"/>
            <a:chExt cx="430004" cy="2415092"/>
          </a:xfrm>
        </p:grpSpPr>
        <p:grpSp>
          <p:nvGrpSpPr>
            <p:cNvPr id="3409" name="Group 3408" descr="An arrow pointing right">
              <a:extLst>
                <a:ext uri="{FF2B5EF4-FFF2-40B4-BE49-F238E27FC236}">
                  <a16:creationId xmlns:a16="http://schemas.microsoft.com/office/drawing/2014/main" id="{0F282C05-3436-7FD0-A0EA-4B35FB900E29}"/>
                </a:ext>
              </a:extLst>
            </p:cNvPr>
            <p:cNvGrpSpPr/>
            <p:nvPr/>
          </p:nvGrpSpPr>
          <p:grpSpPr>
            <a:xfrm>
              <a:off x="2324937" y="2252417"/>
              <a:ext cx="292018" cy="293334"/>
              <a:chOff x="2117663" y="2309892"/>
              <a:chExt cx="355918" cy="357521"/>
            </a:xfrm>
          </p:grpSpPr>
          <p:sp>
            <p:nvSpPr>
              <p:cNvPr id="3411" name="Oval 3410">
                <a:extLst>
                  <a:ext uri="{FF2B5EF4-FFF2-40B4-BE49-F238E27FC236}">
                    <a16:creationId xmlns:a16="http://schemas.microsoft.com/office/drawing/2014/main" id="{830EAD62-3319-F57A-D4DA-5B8DD6746483}"/>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12" name="Graphic 16" descr="Icon of a forward pointing arrow">
                <a:extLst>
                  <a:ext uri="{FF2B5EF4-FFF2-40B4-BE49-F238E27FC236}">
                    <a16:creationId xmlns:a16="http://schemas.microsoft.com/office/drawing/2014/main" id="{664726C1-BCB3-1FB0-FC09-2013D338F27C}"/>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3410" name="Oval 3409">
              <a:extLst>
                <a:ext uri="{FF2B5EF4-FFF2-40B4-BE49-F238E27FC236}">
                  <a16:creationId xmlns:a16="http://schemas.microsoft.com/office/drawing/2014/main" id="{64ABAFAA-DA15-A633-3423-AE02A3D1251E}"/>
                </a:ext>
              </a:extLst>
            </p:cNvPr>
            <p:cNvSpPr/>
            <p:nvPr/>
          </p:nvSpPr>
          <p:spPr bwMode="auto">
            <a:xfrm flipV="1">
              <a:off x="2705345" y="4617913"/>
              <a:ext cx="49596" cy="49596"/>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grpSp>
      <p:grpSp>
        <p:nvGrpSpPr>
          <p:cNvPr id="3425" name="Group 3424">
            <a:extLst>
              <a:ext uri="{FF2B5EF4-FFF2-40B4-BE49-F238E27FC236}">
                <a16:creationId xmlns:a16="http://schemas.microsoft.com/office/drawing/2014/main" id="{52269DCA-521E-9852-69F3-280AEDBC1E46}"/>
              </a:ext>
              <a:ext uri="{C183D7F6-B498-43B3-948B-1728B52AA6E4}">
                <adec:decorative xmlns:adec="http://schemas.microsoft.com/office/drawing/2017/decorative" val="1"/>
              </a:ext>
            </a:extLst>
          </p:cNvPr>
          <p:cNvGrpSpPr/>
          <p:nvPr/>
        </p:nvGrpSpPr>
        <p:grpSpPr>
          <a:xfrm>
            <a:off x="4890443" y="4847887"/>
            <a:ext cx="292018" cy="293334"/>
            <a:chOff x="2117663" y="2309892"/>
            <a:chExt cx="355918" cy="357521"/>
          </a:xfrm>
        </p:grpSpPr>
        <p:sp>
          <p:nvSpPr>
            <p:cNvPr id="3426" name="Oval 3425">
              <a:extLst>
                <a:ext uri="{FF2B5EF4-FFF2-40B4-BE49-F238E27FC236}">
                  <a16:creationId xmlns:a16="http://schemas.microsoft.com/office/drawing/2014/main" id="{7B7179EE-C136-F517-8954-4FB6973010DF}"/>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27" name="Graphic 16" descr="Icon of a forward pointing arrow">
              <a:extLst>
                <a:ext uri="{FF2B5EF4-FFF2-40B4-BE49-F238E27FC236}">
                  <a16:creationId xmlns:a16="http://schemas.microsoft.com/office/drawing/2014/main" id="{97049A96-C523-B9F8-18D5-E60840766758}"/>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37" name="Group 3436">
            <a:extLst>
              <a:ext uri="{FF2B5EF4-FFF2-40B4-BE49-F238E27FC236}">
                <a16:creationId xmlns:a16="http://schemas.microsoft.com/office/drawing/2014/main" id="{F346D22A-3247-A019-CF04-9541EDE58A25}"/>
              </a:ext>
              <a:ext uri="{C183D7F6-B498-43B3-948B-1728B52AA6E4}">
                <adec:decorative xmlns:adec="http://schemas.microsoft.com/office/drawing/2017/decorative" val="1"/>
              </a:ext>
            </a:extLst>
          </p:cNvPr>
          <p:cNvGrpSpPr/>
          <p:nvPr/>
        </p:nvGrpSpPr>
        <p:grpSpPr>
          <a:xfrm>
            <a:off x="7014460" y="4158881"/>
            <a:ext cx="292018" cy="293334"/>
            <a:chOff x="2117663" y="2309892"/>
            <a:chExt cx="355918" cy="357521"/>
          </a:xfrm>
        </p:grpSpPr>
        <p:sp>
          <p:nvSpPr>
            <p:cNvPr id="3438" name="Oval 3437">
              <a:extLst>
                <a:ext uri="{FF2B5EF4-FFF2-40B4-BE49-F238E27FC236}">
                  <a16:creationId xmlns:a16="http://schemas.microsoft.com/office/drawing/2014/main" id="{7A003809-58E7-5927-F43D-1F7459828164}"/>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39" name="Graphic 16" descr="Icon of a forward pointing arrow">
              <a:extLst>
                <a:ext uri="{FF2B5EF4-FFF2-40B4-BE49-F238E27FC236}">
                  <a16:creationId xmlns:a16="http://schemas.microsoft.com/office/drawing/2014/main" id="{D3EE1F30-2CCB-36D8-25F9-1BD3E4667C1A}"/>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46" name="Group 3445">
            <a:extLst>
              <a:ext uri="{FF2B5EF4-FFF2-40B4-BE49-F238E27FC236}">
                <a16:creationId xmlns:a16="http://schemas.microsoft.com/office/drawing/2014/main" id="{17397CD8-19E4-BBF9-1912-8A8869E8ED4D}"/>
              </a:ext>
              <a:ext uri="{C183D7F6-B498-43B3-948B-1728B52AA6E4}">
                <adec:decorative xmlns:adec="http://schemas.microsoft.com/office/drawing/2017/decorative" val="1"/>
              </a:ext>
            </a:extLst>
          </p:cNvPr>
          <p:cNvGrpSpPr/>
          <p:nvPr/>
        </p:nvGrpSpPr>
        <p:grpSpPr>
          <a:xfrm>
            <a:off x="9229879" y="3409632"/>
            <a:ext cx="292018" cy="293334"/>
            <a:chOff x="2117663" y="2309892"/>
            <a:chExt cx="355918" cy="357521"/>
          </a:xfrm>
        </p:grpSpPr>
        <p:sp>
          <p:nvSpPr>
            <p:cNvPr id="3447" name="Oval 3446">
              <a:extLst>
                <a:ext uri="{FF2B5EF4-FFF2-40B4-BE49-F238E27FC236}">
                  <a16:creationId xmlns:a16="http://schemas.microsoft.com/office/drawing/2014/main" id="{63DE4B99-291E-5B90-FBE0-77176125251D}"/>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48" name="Graphic 16" descr="Icon of a forward pointing arrow">
              <a:extLst>
                <a:ext uri="{FF2B5EF4-FFF2-40B4-BE49-F238E27FC236}">
                  <a16:creationId xmlns:a16="http://schemas.microsoft.com/office/drawing/2014/main" id="{6984FDE6-885F-C79A-7A7B-A598E212E2CF}"/>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58" name="Group 3457">
            <a:extLst>
              <a:ext uri="{FF2B5EF4-FFF2-40B4-BE49-F238E27FC236}">
                <a16:creationId xmlns:a16="http://schemas.microsoft.com/office/drawing/2014/main" id="{230DCA2F-739E-1CBA-E9B1-1094F0BA7881}"/>
              </a:ext>
              <a:ext uri="{C183D7F6-B498-43B3-948B-1728B52AA6E4}">
                <adec:decorative xmlns:adec="http://schemas.microsoft.com/office/drawing/2017/decorative" val="1"/>
              </a:ext>
            </a:extLst>
          </p:cNvPr>
          <p:cNvGrpSpPr/>
          <p:nvPr/>
        </p:nvGrpSpPr>
        <p:grpSpPr>
          <a:xfrm>
            <a:off x="11350519" y="2284441"/>
            <a:ext cx="292018" cy="293334"/>
            <a:chOff x="2117663" y="2309892"/>
            <a:chExt cx="355918" cy="357521"/>
          </a:xfrm>
        </p:grpSpPr>
        <p:sp>
          <p:nvSpPr>
            <p:cNvPr id="3459" name="Oval 3458">
              <a:extLst>
                <a:ext uri="{FF2B5EF4-FFF2-40B4-BE49-F238E27FC236}">
                  <a16:creationId xmlns:a16="http://schemas.microsoft.com/office/drawing/2014/main" id="{EE8F7D68-B767-76C4-38C9-41F8FB37FBA3}"/>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60" name="Graphic 16" descr="Icon of a forward pointing arrow">
              <a:extLst>
                <a:ext uri="{FF2B5EF4-FFF2-40B4-BE49-F238E27FC236}">
                  <a16:creationId xmlns:a16="http://schemas.microsoft.com/office/drawing/2014/main" id="{3AF1E498-FF23-E942-32EE-F9652A0A32E0}"/>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461" name="Group 3460">
            <a:extLst>
              <a:ext uri="{FF2B5EF4-FFF2-40B4-BE49-F238E27FC236}">
                <a16:creationId xmlns:a16="http://schemas.microsoft.com/office/drawing/2014/main" id="{B8289E8F-65CA-4599-9B1A-0C6D4D907495}"/>
              </a:ext>
              <a:ext uri="{C183D7F6-B498-43B3-948B-1728B52AA6E4}">
                <adec:decorative xmlns:adec="http://schemas.microsoft.com/office/drawing/2017/decorative" val="1"/>
              </a:ext>
            </a:extLst>
          </p:cNvPr>
          <p:cNvGrpSpPr/>
          <p:nvPr/>
        </p:nvGrpSpPr>
        <p:grpSpPr>
          <a:xfrm>
            <a:off x="5119941" y="2059018"/>
            <a:ext cx="1890459" cy="562854"/>
            <a:chOff x="5104905" y="1917345"/>
            <a:chExt cx="1890459" cy="562854"/>
          </a:xfrm>
        </p:grpSpPr>
        <p:sp>
          <p:nvSpPr>
            <p:cNvPr id="3462" name="Oval 82">
              <a:extLst>
                <a:ext uri="{FF2B5EF4-FFF2-40B4-BE49-F238E27FC236}">
                  <a16:creationId xmlns:a16="http://schemas.microsoft.com/office/drawing/2014/main" id="{2FCDEF1E-D967-7061-DB27-E7DF6A36251E}"/>
                </a:ext>
              </a:extLst>
            </p:cNvPr>
            <p:cNvSpPr/>
            <p:nvPr/>
          </p:nvSpPr>
          <p:spPr bwMode="auto">
            <a:xfrm>
              <a:off x="5245338" y="2021514"/>
              <a:ext cx="1750026" cy="458685"/>
            </a:xfrm>
            <a:custGeom>
              <a:avLst/>
              <a:gdLst>
                <a:gd name="connsiteX0" fmla="*/ 0 w 1821690"/>
                <a:gd name="connsiteY0" fmla="*/ 466429 h 932858"/>
                <a:gd name="connsiteX1" fmla="*/ 910845 w 1821690"/>
                <a:gd name="connsiteY1" fmla="*/ 0 h 932858"/>
                <a:gd name="connsiteX2" fmla="*/ 1821690 w 1821690"/>
                <a:gd name="connsiteY2" fmla="*/ 466429 h 932858"/>
                <a:gd name="connsiteX3" fmla="*/ 910845 w 1821690"/>
                <a:gd name="connsiteY3" fmla="*/ 932858 h 932858"/>
                <a:gd name="connsiteX4" fmla="*/ 0 w 1821690"/>
                <a:gd name="connsiteY4" fmla="*/ 466429 h 932858"/>
                <a:gd name="connsiteX0" fmla="*/ 910845 w 1821690"/>
                <a:gd name="connsiteY0" fmla="*/ 0 h 932858"/>
                <a:gd name="connsiteX1" fmla="*/ 1821690 w 1821690"/>
                <a:gd name="connsiteY1" fmla="*/ 466429 h 932858"/>
                <a:gd name="connsiteX2" fmla="*/ 910845 w 1821690"/>
                <a:gd name="connsiteY2" fmla="*/ 932858 h 932858"/>
                <a:gd name="connsiteX3" fmla="*/ 0 w 1821690"/>
                <a:gd name="connsiteY3" fmla="*/ 466429 h 932858"/>
                <a:gd name="connsiteX4" fmla="*/ 1002285 w 1821690"/>
                <a:gd name="connsiteY4" fmla="*/ 91440 h 932858"/>
                <a:gd name="connsiteX0" fmla="*/ 910845 w 1821690"/>
                <a:gd name="connsiteY0" fmla="*/ 0 h 932858"/>
                <a:gd name="connsiteX1" fmla="*/ 1821690 w 1821690"/>
                <a:gd name="connsiteY1" fmla="*/ 466429 h 932858"/>
                <a:gd name="connsiteX2" fmla="*/ 910845 w 1821690"/>
                <a:gd name="connsiteY2" fmla="*/ 932858 h 932858"/>
                <a:gd name="connsiteX3" fmla="*/ 0 w 1821690"/>
                <a:gd name="connsiteY3" fmla="*/ 466429 h 932858"/>
                <a:gd name="connsiteX0" fmla="*/ 1821690 w 1821690"/>
                <a:gd name="connsiteY0" fmla="*/ 0 h 466429"/>
                <a:gd name="connsiteX1" fmla="*/ 910845 w 1821690"/>
                <a:gd name="connsiteY1" fmla="*/ 466429 h 466429"/>
                <a:gd name="connsiteX2" fmla="*/ 0 w 1821690"/>
                <a:gd name="connsiteY2" fmla="*/ 0 h 466429"/>
              </a:gdLst>
              <a:ahLst/>
              <a:cxnLst>
                <a:cxn ang="0">
                  <a:pos x="connsiteX0" y="connsiteY0"/>
                </a:cxn>
                <a:cxn ang="0">
                  <a:pos x="connsiteX1" y="connsiteY1"/>
                </a:cxn>
                <a:cxn ang="0">
                  <a:pos x="connsiteX2" y="connsiteY2"/>
                </a:cxn>
              </a:cxnLst>
              <a:rect l="l" t="t" r="r" b="b"/>
              <a:pathLst>
                <a:path w="1821690" h="466429">
                  <a:moveTo>
                    <a:pt x="1821690" y="0"/>
                  </a:moveTo>
                  <a:cubicBezTo>
                    <a:pt x="1821690" y="257602"/>
                    <a:pt x="1413891" y="466429"/>
                    <a:pt x="910845" y="466429"/>
                  </a:cubicBezTo>
                  <a:cubicBezTo>
                    <a:pt x="407799" y="466429"/>
                    <a:pt x="0" y="257602"/>
                    <a:pt x="0" y="0"/>
                  </a:cubicBezTo>
                </a:path>
              </a:pathLst>
            </a:custGeom>
            <a:noFill/>
            <a:ln w="19050">
              <a:solidFill>
                <a:srgbClr val="207981"/>
              </a:soli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463" name="Group 3462">
              <a:extLst>
                <a:ext uri="{FF2B5EF4-FFF2-40B4-BE49-F238E27FC236}">
                  <a16:creationId xmlns:a16="http://schemas.microsoft.com/office/drawing/2014/main" id="{B30D8887-1270-3E72-C1D5-27A9D09DAA22}"/>
                </a:ext>
              </a:extLst>
            </p:cNvPr>
            <p:cNvGrpSpPr/>
            <p:nvPr/>
          </p:nvGrpSpPr>
          <p:grpSpPr>
            <a:xfrm rot="14819829">
              <a:off x="5104247" y="1918003"/>
              <a:ext cx="293334" cy="292018"/>
              <a:chOff x="2117663" y="2309892"/>
              <a:chExt cx="355918" cy="357521"/>
            </a:xfrm>
            <a:effectLst/>
          </p:grpSpPr>
          <p:sp>
            <p:nvSpPr>
              <p:cNvPr id="3464" name="Oval 3463">
                <a:extLst>
                  <a:ext uri="{FF2B5EF4-FFF2-40B4-BE49-F238E27FC236}">
                    <a16:creationId xmlns:a16="http://schemas.microsoft.com/office/drawing/2014/main" id="{18AFA2CF-8CA7-89A7-4B65-54C87099D783}"/>
                  </a:ext>
                </a:extLst>
              </p:cNvPr>
              <p:cNvSpPr/>
              <p:nvPr/>
            </p:nvSpPr>
            <p:spPr bwMode="auto">
              <a:xfrm>
                <a:off x="2176380" y="2364786"/>
                <a:ext cx="247734" cy="247732"/>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
            <p:nvSpPr>
              <p:cNvPr id="3465" name="Graphic 16" descr="Icon of a forward pointing arrow">
                <a:extLst>
                  <a:ext uri="{FF2B5EF4-FFF2-40B4-BE49-F238E27FC236}">
                    <a16:creationId xmlns:a16="http://schemas.microsoft.com/office/drawing/2014/main" id="{96F26588-D5CD-D569-D875-D1B749AA8024}"/>
                  </a:ext>
                  <a:ext uri="{C183D7F6-B498-43B3-948B-1728B52AA6E4}">
                    <adec:decorative xmlns:adec="http://schemas.microsoft.com/office/drawing/2017/decorative" val="0"/>
                  </a:ext>
                </a:extLst>
              </p:cNvPr>
              <p:cNvSpPr>
                <a:spLocks/>
              </p:cNvSpPr>
              <p:nvPr/>
            </p:nvSpPr>
            <p:spPr>
              <a:xfrm>
                <a:off x="2117663" y="230989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3466" name="Oval 3465" descr="An arrow showing that there is a looping process or continuation">
            <a:extLst>
              <a:ext uri="{FF2B5EF4-FFF2-40B4-BE49-F238E27FC236}">
                <a16:creationId xmlns:a16="http://schemas.microsoft.com/office/drawing/2014/main" id="{9E4658AB-0684-D353-3F79-CA1A12C93B9B}"/>
              </a:ext>
            </a:extLst>
          </p:cNvPr>
          <p:cNvSpPr/>
          <p:nvPr/>
        </p:nvSpPr>
        <p:spPr bwMode="auto">
          <a:xfrm>
            <a:off x="11878462" y="2163187"/>
            <a:ext cx="105451" cy="105451"/>
          </a:xfrm>
          <a:prstGeom prst="ellipse">
            <a:avLst/>
          </a:prstGeom>
          <a:solidFill>
            <a:srgbClr val="F7F7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Sans Text"/>
              <a:ea typeface="Segoe UI" pitchFamily="34" charset="0"/>
              <a:cs typeface="Segoe UI" pitchFamily="34" charset="0"/>
            </a:endParaRPr>
          </a:p>
        </p:txBody>
      </p:sp>
    </p:spTree>
    <p:extLst>
      <p:ext uri="{BB962C8B-B14F-4D97-AF65-F5344CB8AC3E}">
        <p14:creationId xmlns:p14="http://schemas.microsoft.com/office/powerpoint/2010/main" val="13001167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72"/>
                                        </p:tgtEl>
                                        <p:attrNameLst>
                                          <p:attrName>style.visibility</p:attrName>
                                        </p:attrNameLst>
                                      </p:cBhvr>
                                      <p:to>
                                        <p:strVal val="visible"/>
                                      </p:to>
                                    </p:set>
                                    <p:animEffect transition="in" filter="fade">
                                      <p:cBhvr>
                                        <p:cTn id="7" dur="500"/>
                                        <p:tgtEl>
                                          <p:spTgt spid="227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2438"/>
                                        </p:tgtEl>
                                        <p:attrNameLst>
                                          <p:attrName>style.visibility</p:attrName>
                                        </p:attrNameLst>
                                      </p:cBhvr>
                                      <p:to>
                                        <p:strVal val="visible"/>
                                      </p:to>
                                    </p:set>
                                    <p:animEffect transition="in" filter="fade">
                                      <p:cBhvr>
                                        <p:cTn id="11" dur="500"/>
                                        <p:tgtEl>
                                          <p:spTgt spid="243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17"/>
                                        </p:tgtEl>
                                        <p:attrNameLst>
                                          <p:attrName>style.visibility</p:attrName>
                                        </p:attrNameLst>
                                      </p:cBhvr>
                                      <p:to>
                                        <p:strVal val="visible"/>
                                      </p:to>
                                    </p:set>
                                    <p:animEffect transition="in" filter="fade">
                                      <p:cBhvr>
                                        <p:cTn id="14" dur="500"/>
                                        <p:tgtEl>
                                          <p:spTgt spid="2517"/>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3274"/>
                                        </p:tgtEl>
                                        <p:attrNameLst>
                                          <p:attrName>style.visibility</p:attrName>
                                        </p:attrNameLst>
                                      </p:cBhvr>
                                      <p:to>
                                        <p:strVal val="visible"/>
                                      </p:to>
                                    </p:set>
                                    <p:animEffect transition="in" filter="fade">
                                      <p:cBhvr>
                                        <p:cTn id="18" dur="500"/>
                                        <p:tgtEl>
                                          <p:spTgt spid="3274"/>
                                        </p:tgtEl>
                                      </p:cBhvr>
                                    </p:animEffect>
                                  </p:childTnLst>
                                </p:cTn>
                              </p:par>
                            </p:childTnLst>
                          </p:cTn>
                        </p:par>
                        <p:par>
                          <p:cTn id="19" fill="hold">
                            <p:stCondLst>
                              <p:cond delay="2000"/>
                            </p:stCondLst>
                            <p:childTnLst>
                              <p:par>
                                <p:cTn id="20" presetID="10" presetClass="entr" presetSubtype="0" fill="hold" grpId="0" nodeType="afterEffect">
                                  <p:stCondLst>
                                    <p:cond delay="0"/>
                                  </p:stCondLst>
                                  <p:childTnLst>
                                    <p:set>
                                      <p:cBhvr>
                                        <p:cTn id="21" dur="1" fill="hold">
                                          <p:stCondLst>
                                            <p:cond delay="0"/>
                                          </p:stCondLst>
                                        </p:cTn>
                                        <p:tgtEl>
                                          <p:spTgt spid="3284"/>
                                        </p:tgtEl>
                                        <p:attrNameLst>
                                          <p:attrName>style.visibility</p:attrName>
                                        </p:attrNameLst>
                                      </p:cBhvr>
                                      <p:to>
                                        <p:strVal val="visible"/>
                                      </p:to>
                                    </p:set>
                                    <p:animEffect transition="in" filter="fade">
                                      <p:cBhvr>
                                        <p:cTn id="22" dur="500"/>
                                        <p:tgtEl>
                                          <p:spTgt spid="3284"/>
                                        </p:tgtEl>
                                      </p:cBhvr>
                                    </p:animEffect>
                                  </p:childTnLst>
                                </p:cTn>
                              </p:par>
                            </p:childTnLst>
                          </p:cTn>
                        </p:par>
                        <p:par>
                          <p:cTn id="23" fill="hold">
                            <p:stCondLst>
                              <p:cond delay="2500"/>
                            </p:stCondLst>
                            <p:childTnLst>
                              <p:par>
                                <p:cTn id="24" presetID="10" presetClass="entr" presetSubtype="0" fill="hold" nodeType="afterEffect">
                                  <p:stCondLst>
                                    <p:cond delay="0"/>
                                  </p:stCondLst>
                                  <p:childTnLst>
                                    <p:set>
                                      <p:cBhvr>
                                        <p:cTn id="25" dur="1" fill="hold">
                                          <p:stCondLst>
                                            <p:cond delay="0"/>
                                          </p:stCondLst>
                                        </p:cTn>
                                        <p:tgtEl>
                                          <p:spTgt spid="3285"/>
                                        </p:tgtEl>
                                        <p:attrNameLst>
                                          <p:attrName>style.visibility</p:attrName>
                                        </p:attrNameLst>
                                      </p:cBhvr>
                                      <p:to>
                                        <p:strVal val="visible"/>
                                      </p:to>
                                    </p:set>
                                    <p:animEffect transition="in" filter="fade">
                                      <p:cBhvr>
                                        <p:cTn id="26" dur="500"/>
                                        <p:tgtEl>
                                          <p:spTgt spid="3285"/>
                                        </p:tgtEl>
                                      </p:cBhvr>
                                    </p:animEffect>
                                  </p:childTnLst>
                                </p:cTn>
                              </p:par>
                            </p:childTnLst>
                          </p:cTn>
                        </p:par>
                        <p:par>
                          <p:cTn id="27" fill="hold">
                            <p:stCondLst>
                              <p:cond delay="3000"/>
                            </p:stCondLst>
                            <p:childTnLst>
                              <p:par>
                                <p:cTn id="28" presetID="10" presetClass="entr" presetSubtype="0" fill="hold" grpId="0" nodeType="afterEffect">
                                  <p:stCondLst>
                                    <p:cond delay="0"/>
                                  </p:stCondLst>
                                  <p:childTnLst>
                                    <p:set>
                                      <p:cBhvr>
                                        <p:cTn id="29" dur="1" fill="hold">
                                          <p:stCondLst>
                                            <p:cond delay="0"/>
                                          </p:stCondLst>
                                        </p:cTn>
                                        <p:tgtEl>
                                          <p:spTgt spid="3295"/>
                                        </p:tgtEl>
                                        <p:attrNameLst>
                                          <p:attrName>style.visibility</p:attrName>
                                        </p:attrNameLst>
                                      </p:cBhvr>
                                      <p:to>
                                        <p:strVal val="visible"/>
                                      </p:to>
                                    </p:set>
                                    <p:animEffect transition="in" filter="fade">
                                      <p:cBhvr>
                                        <p:cTn id="30" dur="500"/>
                                        <p:tgtEl>
                                          <p:spTgt spid="3295"/>
                                        </p:tgtEl>
                                      </p:cBhvr>
                                    </p:animEffect>
                                  </p:childTnLst>
                                </p:cTn>
                              </p:par>
                            </p:childTnLst>
                          </p:cTn>
                        </p:par>
                        <p:par>
                          <p:cTn id="31" fill="hold">
                            <p:stCondLst>
                              <p:cond delay="3500"/>
                            </p:stCondLst>
                            <p:childTnLst>
                              <p:par>
                                <p:cTn id="32" presetID="10" presetClass="entr" presetSubtype="0" fill="hold" nodeType="afterEffect">
                                  <p:stCondLst>
                                    <p:cond delay="0"/>
                                  </p:stCondLst>
                                  <p:childTnLst>
                                    <p:set>
                                      <p:cBhvr>
                                        <p:cTn id="33" dur="1" fill="hold">
                                          <p:stCondLst>
                                            <p:cond delay="0"/>
                                          </p:stCondLst>
                                        </p:cTn>
                                        <p:tgtEl>
                                          <p:spTgt spid="3296"/>
                                        </p:tgtEl>
                                        <p:attrNameLst>
                                          <p:attrName>style.visibility</p:attrName>
                                        </p:attrNameLst>
                                      </p:cBhvr>
                                      <p:to>
                                        <p:strVal val="visible"/>
                                      </p:to>
                                    </p:set>
                                    <p:animEffect transition="in" filter="fade">
                                      <p:cBhvr>
                                        <p:cTn id="34" dur="500"/>
                                        <p:tgtEl>
                                          <p:spTgt spid="3296"/>
                                        </p:tgtEl>
                                      </p:cBhvr>
                                    </p:animEffect>
                                  </p:childTnLst>
                                </p:cTn>
                              </p:par>
                            </p:childTnLst>
                          </p:cTn>
                        </p:par>
                        <p:par>
                          <p:cTn id="35" fill="hold">
                            <p:stCondLst>
                              <p:cond delay="4000"/>
                            </p:stCondLst>
                            <p:childTnLst>
                              <p:par>
                                <p:cTn id="36" presetID="10" presetClass="entr" presetSubtype="0" fill="hold" grpId="0" nodeType="afterEffect">
                                  <p:stCondLst>
                                    <p:cond delay="0"/>
                                  </p:stCondLst>
                                  <p:childTnLst>
                                    <p:set>
                                      <p:cBhvr>
                                        <p:cTn id="37" dur="1" fill="hold">
                                          <p:stCondLst>
                                            <p:cond delay="0"/>
                                          </p:stCondLst>
                                        </p:cTn>
                                        <p:tgtEl>
                                          <p:spTgt spid="3306"/>
                                        </p:tgtEl>
                                        <p:attrNameLst>
                                          <p:attrName>style.visibility</p:attrName>
                                        </p:attrNameLst>
                                      </p:cBhvr>
                                      <p:to>
                                        <p:strVal val="visible"/>
                                      </p:to>
                                    </p:set>
                                    <p:animEffect transition="in" filter="fade">
                                      <p:cBhvr>
                                        <p:cTn id="38" dur="500"/>
                                        <p:tgtEl>
                                          <p:spTgt spid="3306"/>
                                        </p:tgtEl>
                                      </p:cBhvr>
                                    </p:animEffect>
                                  </p:childTnLst>
                                </p:cTn>
                              </p:par>
                            </p:childTnLst>
                          </p:cTn>
                        </p:par>
                        <p:par>
                          <p:cTn id="39" fill="hold">
                            <p:stCondLst>
                              <p:cond delay="4500"/>
                            </p:stCondLst>
                            <p:childTnLst>
                              <p:par>
                                <p:cTn id="40" presetID="10" presetClass="entr" presetSubtype="0" fill="hold" nodeType="afterEffect">
                                  <p:stCondLst>
                                    <p:cond delay="0"/>
                                  </p:stCondLst>
                                  <p:childTnLst>
                                    <p:set>
                                      <p:cBhvr>
                                        <p:cTn id="41" dur="1" fill="hold">
                                          <p:stCondLst>
                                            <p:cond delay="0"/>
                                          </p:stCondLst>
                                        </p:cTn>
                                        <p:tgtEl>
                                          <p:spTgt spid="3307"/>
                                        </p:tgtEl>
                                        <p:attrNameLst>
                                          <p:attrName>style.visibility</p:attrName>
                                        </p:attrNameLst>
                                      </p:cBhvr>
                                      <p:to>
                                        <p:strVal val="visible"/>
                                      </p:to>
                                    </p:set>
                                    <p:animEffect transition="in" filter="fade">
                                      <p:cBhvr>
                                        <p:cTn id="42" dur="500"/>
                                        <p:tgtEl>
                                          <p:spTgt spid="3307"/>
                                        </p:tgtEl>
                                      </p:cBhvr>
                                    </p:animEffect>
                                  </p:childTnLst>
                                </p:cTn>
                              </p:par>
                            </p:childTnLst>
                          </p:cTn>
                        </p:par>
                        <p:par>
                          <p:cTn id="43" fill="hold">
                            <p:stCondLst>
                              <p:cond delay="5000"/>
                            </p:stCondLst>
                            <p:childTnLst>
                              <p:par>
                                <p:cTn id="44" presetID="10" presetClass="entr" presetSubtype="0" fill="hold" grpId="0" nodeType="afterEffect">
                                  <p:stCondLst>
                                    <p:cond delay="0"/>
                                  </p:stCondLst>
                                  <p:childTnLst>
                                    <p:set>
                                      <p:cBhvr>
                                        <p:cTn id="45" dur="1" fill="hold">
                                          <p:stCondLst>
                                            <p:cond delay="0"/>
                                          </p:stCondLst>
                                        </p:cTn>
                                        <p:tgtEl>
                                          <p:spTgt spid="3317"/>
                                        </p:tgtEl>
                                        <p:attrNameLst>
                                          <p:attrName>style.visibility</p:attrName>
                                        </p:attrNameLst>
                                      </p:cBhvr>
                                      <p:to>
                                        <p:strVal val="visible"/>
                                      </p:to>
                                    </p:set>
                                    <p:animEffect transition="in" filter="fade">
                                      <p:cBhvr>
                                        <p:cTn id="46" dur="500"/>
                                        <p:tgtEl>
                                          <p:spTgt spid="3317"/>
                                        </p:tgtEl>
                                      </p:cBhvr>
                                    </p:animEffect>
                                  </p:childTnLst>
                                </p:cTn>
                              </p:par>
                            </p:childTnLst>
                          </p:cTn>
                        </p:par>
                        <p:par>
                          <p:cTn id="47" fill="hold">
                            <p:stCondLst>
                              <p:cond delay="5500"/>
                            </p:stCondLst>
                            <p:childTnLst>
                              <p:par>
                                <p:cTn id="48" presetID="10" presetClass="entr" presetSubtype="0" fill="hold" grpId="0" nodeType="afterEffect">
                                  <p:stCondLst>
                                    <p:cond delay="0"/>
                                  </p:stCondLst>
                                  <p:childTnLst>
                                    <p:set>
                                      <p:cBhvr>
                                        <p:cTn id="49" dur="1" fill="hold">
                                          <p:stCondLst>
                                            <p:cond delay="0"/>
                                          </p:stCondLst>
                                        </p:cTn>
                                        <p:tgtEl>
                                          <p:spTgt spid="2358"/>
                                        </p:tgtEl>
                                        <p:attrNameLst>
                                          <p:attrName>style.visibility</p:attrName>
                                        </p:attrNameLst>
                                      </p:cBhvr>
                                      <p:to>
                                        <p:strVal val="visible"/>
                                      </p:to>
                                    </p:set>
                                    <p:animEffect transition="in" filter="fade">
                                      <p:cBhvr>
                                        <p:cTn id="50" dur="500"/>
                                        <p:tgtEl>
                                          <p:spTgt spid="2358"/>
                                        </p:tgtEl>
                                      </p:cBhvr>
                                    </p:animEffect>
                                  </p:childTnLst>
                                </p:cTn>
                              </p:par>
                            </p:childTnLst>
                          </p:cTn>
                        </p:par>
                        <p:par>
                          <p:cTn id="51" fill="hold">
                            <p:stCondLst>
                              <p:cond delay="6000"/>
                            </p:stCondLst>
                            <p:childTnLst>
                              <p:par>
                                <p:cTn id="52" presetID="22" presetClass="entr" presetSubtype="8" fill="hold" nodeType="afterEffect">
                                  <p:stCondLst>
                                    <p:cond delay="0"/>
                                  </p:stCondLst>
                                  <p:childTnLst>
                                    <p:set>
                                      <p:cBhvr>
                                        <p:cTn id="53" dur="1" fill="hold">
                                          <p:stCondLst>
                                            <p:cond delay="0"/>
                                          </p:stCondLst>
                                        </p:cTn>
                                        <p:tgtEl>
                                          <p:spTgt spid="3408"/>
                                        </p:tgtEl>
                                        <p:attrNameLst>
                                          <p:attrName>style.visibility</p:attrName>
                                        </p:attrNameLst>
                                      </p:cBhvr>
                                      <p:to>
                                        <p:strVal val="visible"/>
                                      </p:to>
                                    </p:set>
                                    <p:animEffect transition="in" filter="wipe(left)">
                                      <p:cBhvr>
                                        <p:cTn id="54" dur="500"/>
                                        <p:tgtEl>
                                          <p:spTgt spid="3408"/>
                                        </p:tgtEl>
                                      </p:cBhvr>
                                    </p:animEffect>
                                  </p:childTnLst>
                                </p:cTn>
                              </p:par>
                            </p:childTnLst>
                          </p:cTn>
                        </p:par>
                        <p:par>
                          <p:cTn id="55" fill="hold">
                            <p:stCondLst>
                              <p:cond delay="6500"/>
                            </p:stCondLst>
                            <p:childTnLst>
                              <p:par>
                                <p:cTn id="56" presetID="22" presetClass="entr" presetSubtype="8" fill="hold" nodeType="afterEffect">
                                  <p:stCondLst>
                                    <p:cond delay="0"/>
                                  </p:stCondLst>
                                  <p:childTnLst>
                                    <p:set>
                                      <p:cBhvr>
                                        <p:cTn id="57" dur="1" fill="hold">
                                          <p:stCondLst>
                                            <p:cond delay="0"/>
                                          </p:stCondLst>
                                        </p:cTn>
                                        <p:tgtEl>
                                          <p:spTgt spid="3425"/>
                                        </p:tgtEl>
                                        <p:attrNameLst>
                                          <p:attrName>style.visibility</p:attrName>
                                        </p:attrNameLst>
                                      </p:cBhvr>
                                      <p:to>
                                        <p:strVal val="visible"/>
                                      </p:to>
                                    </p:set>
                                    <p:animEffect transition="in" filter="wipe(left)">
                                      <p:cBhvr>
                                        <p:cTn id="58" dur="500"/>
                                        <p:tgtEl>
                                          <p:spTgt spid="3425"/>
                                        </p:tgtEl>
                                      </p:cBhvr>
                                    </p:animEffect>
                                  </p:childTnLst>
                                </p:cTn>
                              </p:par>
                            </p:childTnLst>
                          </p:cTn>
                        </p:par>
                        <p:par>
                          <p:cTn id="59" fill="hold">
                            <p:stCondLst>
                              <p:cond delay="7000"/>
                            </p:stCondLst>
                            <p:childTnLst>
                              <p:par>
                                <p:cTn id="60" presetID="22" presetClass="entr" presetSubtype="8" fill="hold" nodeType="afterEffect">
                                  <p:stCondLst>
                                    <p:cond delay="0"/>
                                  </p:stCondLst>
                                  <p:childTnLst>
                                    <p:set>
                                      <p:cBhvr>
                                        <p:cTn id="61" dur="1" fill="hold">
                                          <p:stCondLst>
                                            <p:cond delay="0"/>
                                          </p:stCondLst>
                                        </p:cTn>
                                        <p:tgtEl>
                                          <p:spTgt spid="3437"/>
                                        </p:tgtEl>
                                        <p:attrNameLst>
                                          <p:attrName>style.visibility</p:attrName>
                                        </p:attrNameLst>
                                      </p:cBhvr>
                                      <p:to>
                                        <p:strVal val="visible"/>
                                      </p:to>
                                    </p:set>
                                    <p:animEffect transition="in" filter="wipe(left)">
                                      <p:cBhvr>
                                        <p:cTn id="62" dur="500"/>
                                        <p:tgtEl>
                                          <p:spTgt spid="3437"/>
                                        </p:tgtEl>
                                      </p:cBhvr>
                                    </p:animEffect>
                                  </p:childTnLst>
                                </p:cTn>
                              </p:par>
                            </p:childTnLst>
                          </p:cTn>
                        </p:par>
                        <p:par>
                          <p:cTn id="63" fill="hold">
                            <p:stCondLst>
                              <p:cond delay="7500"/>
                            </p:stCondLst>
                            <p:childTnLst>
                              <p:par>
                                <p:cTn id="64" presetID="22" presetClass="entr" presetSubtype="8" fill="hold" nodeType="afterEffect">
                                  <p:stCondLst>
                                    <p:cond delay="0"/>
                                  </p:stCondLst>
                                  <p:childTnLst>
                                    <p:set>
                                      <p:cBhvr>
                                        <p:cTn id="65" dur="1" fill="hold">
                                          <p:stCondLst>
                                            <p:cond delay="0"/>
                                          </p:stCondLst>
                                        </p:cTn>
                                        <p:tgtEl>
                                          <p:spTgt spid="3446"/>
                                        </p:tgtEl>
                                        <p:attrNameLst>
                                          <p:attrName>style.visibility</p:attrName>
                                        </p:attrNameLst>
                                      </p:cBhvr>
                                      <p:to>
                                        <p:strVal val="visible"/>
                                      </p:to>
                                    </p:set>
                                    <p:animEffect transition="in" filter="wipe(left)">
                                      <p:cBhvr>
                                        <p:cTn id="66" dur="500"/>
                                        <p:tgtEl>
                                          <p:spTgt spid="3446"/>
                                        </p:tgtEl>
                                      </p:cBhvr>
                                    </p:animEffect>
                                  </p:childTnLst>
                                </p:cTn>
                              </p:par>
                            </p:childTnLst>
                          </p:cTn>
                        </p:par>
                        <p:par>
                          <p:cTn id="67" fill="hold">
                            <p:stCondLst>
                              <p:cond delay="8000"/>
                            </p:stCondLst>
                            <p:childTnLst>
                              <p:par>
                                <p:cTn id="68" presetID="22" presetClass="entr" presetSubtype="8" fill="hold" nodeType="afterEffect">
                                  <p:stCondLst>
                                    <p:cond delay="0"/>
                                  </p:stCondLst>
                                  <p:childTnLst>
                                    <p:set>
                                      <p:cBhvr>
                                        <p:cTn id="69" dur="1" fill="hold">
                                          <p:stCondLst>
                                            <p:cond delay="0"/>
                                          </p:stCondLst>
                                        </p:cTn>
                                        <p:tgtEl>
                                          <p:spTgt spid="3458"/>
                                        </p:tgtEl>
                                        <p:attrNameLst>
                                          <p:attrName>style.visibility</p:attrName>
                                        </p:attrNameLst>
                                      </p:cBhvr>
                                      <p:to>
                                        <p:strVal val="visible"/>
                                      </p:to>
                                    </p:set>
                                    <p:animEffect transition="in" filter="wipe(left)">
                                      <p:cBhvr>
                                        <p:cTn id="70" dur="500"/>
                                        <p:tgtEl>
                                          <p:spTgt spid="3458"/>
                                        </p:tgtEl>
                                      </p:cBhvr>
                                    </p:animEffect>
                                  </p:childTnLst>
                                </p:cTn>
                              </p:par>
                            </p:childTnLst>
                          </p:cTn>
                        </p:par>
                        <p:par>
                          <p:cTn id="71" fill="hold">
                            <p:stCondLst>
                              <p:cond delay="8500"/>
                            </p:stCondLst>
                            <p:childTnLst>
                              <p:par>
                                <p:cTn id="72" presetID="22" presetClass="entr" presetSubtype="2" fill="hold" nodeType="afterEffect">
                                  <p:stCondLst>
                                    <p:cond delay="0"/>
                                  </p:stCondLst>
                                  <p:childTnLst>
                                    <p:set>
                                      <p:cBhvr>
                                        <p:cTn id="73" dur="1" fill="hold">
                                          <p:stCondLst>
                                            <p:cond delay="0"/>
                                          </p:stCondLst>
                                        </p:cTn>
                                        <p:tgtEl>
                                          <p:spTgt spid="3461"/>
                                        </p:tgtEl>
                                        <p:attrNameLst>
                                          <p:attrName>style.visibility</p:attrName>
                                        </p:attrNameLst>
                                      </p:cBhvr>
                                      <p:to>
                                        <p:strVal val="visible"/>
                                      </p:to>
                                    </p:set>
                                    <p:animEffect transition="in" filter="wipe(right)">
                                      <p:cBhvr>
                                        <p:cTn id="74" dur="500"/>
                                        <p:tgtEl>
                                          <p:spTgt spid="34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58" grpId="0" animBg="1"/>
      <p:bldP spid="2517" grpId="0"/>
      <p:bldP spid="3284" grpId="0"/>
      <p:bldP spid="3295" grpId="0"/>
      <p:bldP spid="3306" grpId="0"/>
      <p:bldP spid="331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86F96782-F61A-7C26-B658-2CA839845619}"/>
              </a:ext>
              <a:ext uri="{C183D7F6-B498-43B3-948B-1728B52AA6E4}">
                <adec:decorative xmlns:adec="http://schemas.microsoft.com/office/drawing/2017/decorative" val="1"/>
              </a:ext>
            </a:extLst>
          </p:cNvPr>
          <p:cNvSpPr/>
          <p:nvPr/>
        </p:nvSpPr>
        <p:spPr bwMode="auto">
          <a:xfrm>
            <a:off x="311825" y="2690696"/>
            <a:ext cx="11502804" cy="2944395"/>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fr-FR"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D96F6DDC-FD52-42C0-A823-DA10FF3835A7}"/>
              </a:ext>
            </a:extLst>
          </p:cNvPr>
          <p:cNvSpPr>
            <a:spLocks noGrp="1"/>
          </p:cNvSpPr>
          <p:nvPr>
            <p:ph type="title"/>
          </p:nvPr>
        </p:nvSpPr>
        <p:spPr/>
        <p:txBody>
          <a:bodyPr/>
          <a:lstStyle/>
          <a:p>
            <a:r>
              <a:rPr lang="en-IN"/>
              <a:t>AI Business School</a:t>
            </a:r>
            <a:endParaRPr lang="en-US"/>
          </a:p>
        </p:txBody>
      </p:sp>
      <p:sp>
        <p:nvSpPr>
          <p:cNvPr id="49" name="Text Placeholder 48">
            <a:extLst>
              <a:ext uri="{FF2B5EF4-FFF2-40B4-BE49-F238E27FC236}">
                <a16:creationId xmlns:a16="http://schemas.microsoft.com/office/drawing/2014/main" id="{ED9BEBF9-34BC-1A0E-2E11-B1FE708765C0}"/>
              </a:ext>
            </a:extLst>
          </p:cNvPr>
          <p:cNvSpPr>
            <a:spLocks noGrp="1"/>
          </p:cNvSpPr>
          <p:nvPr>
            <p:ph type="body" sz="quarter" idx="27"/>
          </p:nvPr>
        </p:nvSpPr>
        <p:spPr>
          <a:xfrm>
            <a:off x="563566" y="1436688"/>
            <a:ext cx="10656230" cy="1015663"/>
          </a:xfrm>
        </p:spPr>
        <p:txBody>
          <a:bodyPr/>
          <a:lstStyle/>
          <a:p>
            <a:pPr lvl="0"/>
            <a:r>
              <a:rPr lang="en-US" b="1">
                <a:solidFill>
                  <a:schemeClr val="accent2">
                    <a:lumMod val="60000"/>
                    <a:lumOff val="40000"/>
                  </a:schemeClr>
                </a:solidFill>
              </a:rPr>
              <a:t>Audience</a:t>
            </a:r>
            <a:r>
              <a:rPr lang="en-US"/>
              <a:t>: Business Decision Makers (e.g. Business Unit Managers, Senior Management)</a:t>
            </a:r>
          </a:p>
          <a:p>
            <a:pPr lvl="0"/>
            <a:r>
              <a:rPr lang="en-US" b="1">
                <a:solidFill>
                  <a:schemeClr val="accent2">
                    <a:lumMod val="60000"/>
                    <a:lumOff val="40000"/>
                  </a:schemeClr>
                </a:solidFill>
              </a:rPr>
              <a:t>Format</a:t>
            </a:r>
            <a:r>
              <a:rPr lang="en-US"/>
              <a:t>: Online course, Free, On demand, Diversified content (articles, videos, use cases) </a:t>
            </a:r>
          </a:p>
          <a:p>
            <a:pPr lvl="0"/>
            <a:r>
              <a:rPr lang="en-US" b="1">
                <a:solidFill>
                  <a:schemeClr val="accent2">
                    <a:lumMod val="60000"/>
                    <a:lumOff val="40000"/>
                  </a:schemeClr>
                </a:solidFill>
              </a:rPr>
              <a:t>Objective</a:t>
            </a:r>
            <a:r>
              <a:rPr lang="en-US"/>
              <a:t>: Share insights and practical guidance from top executives (Microsoft , Customers, Partners) on how to strategically apply AI in your organization.</a:t>
            </a:r>
          </a:p>
        </p:txBody>
      </p:sp>
      <p:sp>
        <p:nvSpPr>
          <p:cNvPr id="28" name="Text Placeholder 27">
            <a:extLst>
              <a:ext uri="{FF2B5EF4-FFF2-40B4-BE49-F238E27FC236}">
                <a16:creationId xmlns:a16="http://schemas.microsoft.com/office/drawing/2014/main" id="{ED44FB99-475A-4F12-6C3D-E461F5B04677}"/>
              </a:ext>
            </a:extLst>
          </p:cNvPr>
          <p:cNvSpPr>
            <a:spLocks noGrp="1"/>
          </p:cNvSpPr>
          <p:nvPr>
            <p:ph type="body" sz="quarter" idx="20"/>
          </p:nvPr>
        </p:nvSpPr>
        <p:spPr>
          <a:xfrm rot="16200000">
            <a:off x="306806" y="3419638"/>
            <a:ext cx="1969006" cy="1600438"/>
          </a:xfrm>
        </p:spPr>
        <p:txBody>
          <a:bodyPr/>
          <a:lstStyle/>
          <a:p>
            <a:pPr lvl="0"/>
            <a:r>
              <a:rPr lang="fr-FR"/>
              <a:t>6 Pillars</a:t>
            </a:r>
            <a:endParaRPr lang="en-US"/>
          </a:p>
          <a:p>
            <a:pPr lvl="0"/>
            <a:endParaRPr lang="en-IN"/>
          </a:p>
          <a:p>
            <a:endParaRPr lang="en-US"/>
          </a:p>
        </p:txBody>
      </p:sp>
      <p:sp>
        <p:nvSpPr>
          <p:cNvPr id="206" name="Text Placeholder 205">
            <a:extLst>
              <a:ext uri="{FF2B5EF4-FFF2-40B4-BE49-F238E27FC236}">
                <a16:creationId xmlns:a16="http://schemas.microsoft.com/office/drawing/2014/main" id="{5DFE7575-68DB-7CED-4BC9-E3EE76EA7121}"/>
              </a:ext>
            </a:extLst>
          </p:cNvPr>
          <p:cNvSpPr>
            <a:spLocks noGrp="1"/>
          </p:cNvSpPr>
          <p:nvPr>
            <p:ph type="body" sz="quarter" idx="21"/>
          </p:nvPr>
        </p:nvSpPr>
        <p:spPr/>
        <p:txBody>
          <a:bodyPr/>
          <a:lstStyle/>
          <a:p>
            <a:r>
              <a:rPr lang="en-US"/>
              <a:t>Define an AI strategy to create business value</a:t>
            </a:r>
          </a:p>
          <a:p>
            <a:endParaRPr lang="en-US"/>
          </a:p>
        </p:txBody>
      </p:sp>
      <p:sp>
        <p:nvSpPr>
          <p:cNvPr id="207" name="Text Placeholder 206">
            <a:extLst>
              <a:ext uri="{FF2B5EF4-FFF2-40B4-BE49-F238E27FC236}">
                <a16:creationId xmlns:a16="http://schemas.microsoft.com/office/drawing/2014/main" id="{689CC0C6-DBF3-2B86-F7CF-B7BFC4F222F4}"/>
              </a:ext>
            </a:extLst>
          </p:cNvPr>
          <p:cNvSpPr>
            <a:spLocks noGrp="1"/>
          </p:cNvSpPr>
          <p:nvPr>
            <p:ph type="body" sz="quarter" idx="22"/>
          </p:nvPr>
        </p:nvSpPr>
        <p:spPr/>
        <p:txBody>
          <a:bodyPr/>
          <a:lstStyle/>
          <a:p>
            <a:r>
              <a:rPr lang="en-US"/>
              <a:t>Discover ways to foster an AI-ready culture</a:t>
            </a:r>
          </a:p>
          <a:p>
            <a:endParaRPr lang="en-US"/>
          </a:p>
        </p:txBody>
      </p:sp>
      <p:sp>
        <p:nvSpPr>
          <p:cNvPr id="208" name="Text Placeholder 207">
            <a:extLst>
              <a:ext uri="{FF2B5EF4-FFF2-40B4-BE49-F238E27FC236}">
                <a16:creationId xmlns:a16="http://schemas.microsoft.com/office/drawing/2014/main" id="{FF9C901D-5655-0332-BD80-87F1544EF522}"/>
              </a:ext>
            </a:extLst>
          </p:cNvPr>
          <p:cNvSpPr>
            <a:spLocks noGrp="1"/>
          </p:cNvSpPr>
          <p:nvPr>
            <p:ph type="body" sz="quarter" idx="23"/>
          </p:nvPr>
        </p:nvSpPr>
        <p:spPr/>
        <p:txBody>
          <a:bodyPr/>
          <a:lstStyle/>
          <a:p>
            <a:r>
              <a:rPr lang="en-US"/>
              <a:t>Identify guiding principles for responsible AI </a:t>
            </a:r>
          </a:p>
          <a:p>
            <a:endParaRPr lang="en-US"/>
          </a:p>
        </p:txBody>
      </p:sp>
      <p:sp>
        <p:nvSpPr>
          <p:cNvPr id="209" name="Text Placeholder 208">
            <a:extLst>
              <a:ext uri="{FF2B5EF4-FFF2-40B4-BE49-F238E27FC236}">
                <a16:creationId xmlns:a16="http://schemas.microsoft.com/office/drawing/2014/main" id="{19891016-6301-88F3-8EDF-C7146E4AA962}"/>
              </a:ext>
            </a:extLst>
          </p:cNvPr>
          <p:cNvSpPr>
            <a:spLocks noGrp="1"/>
          </p:cNvSpPr>
          <p:nvPr>
            <p:ph type="body" sz="quarter" idx="24"/>
          </p:nvPr>
        </p:nvSpPr>
        <p:spPr/>
        <p:txBody>
          <a:bodyPr/>
          <a:lstStyle/>
          <a:p>
            <a:r>
              <a:rPr lang="en-US"/>
              <a:t>Introduction to AI technology for business leaders</a:t>
            </a:r>
          </a:p>
          <a:p>
            <a:endParaRPr lang="en-US"/>
          </a:p>
        </p:txBody>
      </p:sp>
      <p:sp>
        <p:nvSpPr>
          <p:cNvPr id="210" name="Text Placeholder 209">
            <a:extLst>
              <a:ext uri="{FF2B5EF4-FFF2-40B4-BE49-F238E27FC236}">
                <a16:creationId xmlns:a16="http://schemas.microsoft.com/office/drawing/2014/main" id="{6757CA84-4123-FE70-1E30-15BC41EF015F}"/>
              </a:ext>
            </a:extLst>
          </p:cNvPr>
          <p:cNvSpPr>
            <a:spLocks noGrp="1"/>
          </p:cNvSpPr>
          <p:nvPr>
            <p:ph type="body" sz="quarter" idx="25"/>
          </p:nvPr>
        </p:nvSpPr>
        <p:spPr/>
        <p:txBody>
          <a:bodyPr/>
          <a:lstStyle/>
          <a:p>
            <a:r>
              <a:rPr lang="en-US"/>
              <a:t>Scale AI in your organization</a:t>
            </a:r>
          </a:p>
          <a:p>
            <a:endParaRPr lang="en-US"/>
          </a:p>
        </p:txBody>
      </p:sp>
      <p:sp>
        <p:nvSpPr>
          <p:cNvPr id="211" name="Text Placeholder 210">
            <a:extLst>
              <a:ext uri="{FF2B5EF4-FFF2-40B4-BE49-F238E27FC236}">
                <a16:creationId xmlns:a16="http://schemas.microsoft.com/office/drawing/2014/main" id="{867D8882-F2C6-B245-5917-68FA7AEF26B4}"/>
              </a:ext>
            </a:extLst>
          </p:cNvPr>
          <p:cNvSpPr>
            <a:spLocks noGrp="1"/>
          </p:cNvSpPr>
          <p:nvPr>
            <p:ph type="body" sz="quarter" idx="26"/>
          </p:nvPr>
        </p:nvSpPr>
        <p:spPr>
          <a:xfrm>
            <a:off x="10013950" y="4560138"/>
            <a:ext cx="1789673" cy="492443"/>
          </a:xfrm>
        </p:spPr>
        <p:txBody>
          <a:bodyPr/>
          <a:lstStyle/>
          <a:p>
            <a:r>
              <a:rPr lang="en-US"/>
              <a:t>Enable AI business users with </a:t>
            </a:r>
          </a:p>
        </p:txBody>
      </p:sp>
      <p:sp>
        <p:nvSpPr>
          <p:cNvPr id="199" name="Text Placeholder 198">
            <a:extLst>
              <a:ext uri="{FF2B5EF4-FFF2-40B4-BE49-F238E27FC236}">
                <a16:creationId xmlns:a16="http://schemas.microsoft.com/office/drawing/2014/main" id="{0D56A3A2-AE8E-28F5-54F1-4967789B4056}"/>
              </a:ext>
            </a:extLst>
          </p:cNvPr>
          <p:cNvSpPr>
            <a:spLocks noGrp="1"/>
          </p:cNvSpPr>
          <p:nvPr>
            <p:ph type="body" sz="quarter" idx="28"/>
          </p:nvPr>
        </p:nvSpPr>
        <p:spPr/>
        <p:txBody>
          <a:bodyPr/>
          <a:lstStyle/>
          <a:p>
            <a:r>
              <a:rPr lang="en-US" dirty="0"/>
              <a:t>Learn more at microsoft.com/ai-business-school</a:t>
            </a:r>
          </a:p>
        </p:txBody>
      </p:sp>
      <p:sp>
        <p:nvSpPr>
          <p:cNvPr id="200" name="Text Placeholder 199">
            <a:extLst>
              <a:ext uri="{FF2B5EF4-FFF2-40B4-BE49-F238E27FC236}">
                <a16:creationId xmlns:a16="http://schemas.microsoft.com/office/drawing/2014/main" id="{603B937E-40EF-ECBC-5708-FE223649B119}"/>
              </a:ext>
            </a:extLst>
          </p:cNvPr>
          <p:cNvSpPr>
            <a:spLocks noGrp="1"/>
          </p:cNvSpPr>
          <p:nvPr>
            <p:ph type="body" sz="quarter" idx="29"/>
          </p:nvPr>
        </p:nvSpPr>
        <p:spPr/>
        <p:txBody>
          <a:bodyPr/>
          <a:lstStyle/>
          <a:p>
            <a:r>
              <a:rPr lang="en-US"/>
              <a:t>In partnership with </a:t>
            </a:r>
          </a:p>
          <a:p>
            <a:endParaRPr lang="en-US"/>
          </a:p>
        </p:txBody>
      </p:sp>
      <p:cxnSp>
        <p:nvCxnSpPr>
          <p:cNvPr id="57" name="Straight Connector 56">
            <a:extLst>
              <a:ext uri="{FF2B5EF4-FFF2-40B4-BE49-F238E27FC236}">
                <a16:creationId xmlns:a16="http://schemas.microsoft.com/office/drawing/2014/main" id="{F265CC8C-4E67-65A9-87F7-0094DD6845EB}"/>
              </a:ext>
              <a:ext uri="{C183D7F6-B498-43B3-948B-1728B52AA6E4}">
                <adec:decorative xmlns:adec="http://schemas.microsoft.com/office/drawing/2017/decorative" val="1"/>
              </a:ext>
            </a:extLst>
          </p:cNvPr>
          <p:cNvCxnSpPr>
            <a:cxnSpLocks/>
          </p:cNvCxnSpPr>
          <p:nvPr/>
        </p:nvCxnSpPr>
        <p:spPr>
          <a:xfrm flipH="1" flipV="1">
            <a:off x="2648936" y="3784019"/>
            <a:ext cx="543551" cy="1"/>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8" name="Group 57">
            <a:extLst>
              <a:ext uri="{FF2B5EF4-FFF2-40B4-BE49-F238E27FC236}">
                <a16:creationId xmlns:a16="http://schemas.microsoft.com/office/drawing/2014/main" id="{F1EDF55D-D372-1D28-AAEE-04F61EFCA34C}"/>
              </a:ext>
              <a:ext uri="{C183D7F6-B498-43B3-948B-1728B52AA6E4}">
                <adec:decorative xmlns:adec="http://schemas.microsoft.com/office/drawing/2017/decorative" val="1"/>
              </a:ext>
            </a:extLst>
          </p:cNvPr>
          <p:cNvGrpSpPr/>
          <p:nvPr/>
        </p:nvGrpSpPr>
        <p:grpSpPr>
          <a:xfrm>
            <a:off x="1451600" y="3235354"/>
            <a:ext cx="1193055" cy="1163115"/>
            <a:chOff x="1072066" y="1987356"/>
            <a:chExt cx="1461405" cy="1441644"/>
          </a:xfrm>
          <a:solidFill>
            <a:srgbClr val="0D0D0D"/>
          </a:solidFill>
        </p:grpSpPr>
        <p:sp>
          <p:nvSpPr>
            <p:cNvPr id="59" name="Oval 58">
              <a:extLst>
                <a:ext uri="{FF2B5EF4-FFF2-40B4-BE49-F238E27FC236}">
                  <a16:creationId xmlns:a16="http://schemas.microsoft.com/office/drawing/2014/main" id="{FF631E9A-F30E-19AD-D1FB-F718B5B1569A}"/>
                </a:ext>
              </a:extLst>
            </p:cNvPr>
            <p:cNvSpPr/>
            <p:nvPr/>
          </p:nvSpPr>
          <p:spPr bwMode="auto">
            <a:xfrm>
              <a:off x="1072066" y="1987356"/>
              <a:ext cx="1461405" cy="144164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60" name="strategy" title="Icon of two circles and a curved arrow winding between three exes connecting them">
              <a:extLst>
                <a:ext uri="{FF2B5EF4-FFF2-40B4-BE49-F238E27FC236}">
                  <a16:creationId xmlns:a16="http://schemas.microsoft.com/office/drawing/2014/main" id="{B9A91798-C027-338F-8002-D054FBE08036}"/>
                </a:ext>
              </a:extLst>
            </p:cNvPr>
            <p:cNvSpPr>
              <a:spLocks noChangeAspect="1" noEditPoints="1"/>
            </p:cNvSpPr>
            <p:nvPr/>
          </p:nvSpPr>
          <p:spPr bwMode="auto">
            <a:xfrm>
              <a:off x="1497834" y="2263242"/>
              <a:ext cx="570928" cy="786931"/>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solidFill>
              <a:schemeClr val="bg1"/>
            </a:solidFill>
            <a:ln w="38100">
              <a:solidFill>
                <a:schemeClr val="tx1">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3070E959-D12D-156A-D339-08526181B936}"/>
              </a:ext>
              <a:ext uri="{C183D7F6-B498-43B3-948B-1728B52AA6E4}">
                <adec:decorative xmlns:adec="http://schemas.microsoft.com/office/drawing/2017/decorative" val="1"/>
              </a:ext>
            </a:extLst>
          </p:cNvPr>
          <p:cNvGrpSpPr/>
          <p:nvPr/>
        </p:nvGrpSpPr>
        <p:grpSpPr>
          <a:xfrm>
            <a:off x="4939999" y="3200742"/>
            <a:ext cx="1191397" cy="1171084"/>
            <a:chOff x="6664040" y="1719809"/>
            <a:chExt cx="1709190" cy="1709190"/>
          </a:xfrm>
          <a:solidFill>
            <a:srgbClr val="0D0D0D"/>
          </a:solidFill>
        </p:grpSpPr>
        <p:sp>
          <p:nvSpPr>
            <p:cNvPr id="64" name="Oval 63">
              <a:extLst>
                <a:ext uri="{FF2B5EF4-FFF2-40B4-BE49-F238E27FC236}">
                  <a16:creationId xmlns:a16="http://schemas.microsoft.com/office/drawing/2014/main" id="{C3AA075A-885E-F94E-3311-1ABD9A2D67B9}"/>
                </a:ext>
              </a:extLst>
            </p:cNvPr>
            <p:cNvSpPr/>
            <p:nvPr/>
          </p:nvSpPr>
          <p:spPr bwMode="auto">
            <a:xfrm>
              <a:off x="6664040" y="1719809"/>
              <a:ext cx="1709190" cy="1709190"/>
            </a:xfrm>
            <a:prstGeom prst="ellipse">
              <a:avLst/>
            </a:prstGeom>
            <a:solidFill>
              <a:schemeClr val="bg1"/>
            </a:solidFill>
            <a:ln w="3175">
              <a:solidFill>
                <a:schemeClr val="tx1">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65" name="Compare_F057">
              <a:extLst>
                <a:ext uri="{FF2B5EF4-FFF2-40B4-BE49-F238E27FC236}">
                  <a16:creationId xmlns:a16="http://schemas.microsoft.com/office/drawing/2014/main" id="{1641A15C-F105-E28F-4881-C93EFC7C96B7}"/>
                </a:ext>
              </a:extLst>
            </p:cNvPr>
            <p:cNvSpPr>
              <a:spLocks noChangeAspect="1" noEditPoints="1"/>
            </p:cNvSpPr>
            <p:nvPr/>
          </p:nvSpPr>
          <p:spPr bwMode="auto">
            <a:xfrm>
              <a:off x="7120040" y="2158690"/>
              <a:ext cx="790854" cy="816668"/>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28575">
              <a:solidFill>
                <a:schemeClr val="tx1">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nvGrpSpPr>
          <p:cNvPr id="66" name="Group 65">
            <a:extLst>
              <a:ext uri="{FF2B5EF4-FFF2-40B4-BE49-F238E27FC236}">
                <a16:creationId xmlns:a16="http://schemas.microsoft.com/office/drawing/2014/main" id="{2E126BE2-6DF5-8E59-29F7-0261E40360EA}"/>
              </a:ext>
              <a:ext uri="{C183D7F6-B498-43B3-948B-1728B52AA6E4}">
                <adec:decorative xmlns:adec="http://schemas.microsoft.com/office/drawing/2017/decorative" val="1"/>
              </a:ext>
            </a:extLst>
          </p:cNvPr>
          <p:cNvGrpSpPr/>
          <p:nvPr/>
        </p:nvGrpSpPr>
        <p:grpSpPr>
          <a:xfrm>
            <a:off x="3191913" y="3203813"/>
            <a:ext cx="1191397" cy="1171084"/>
            <a:chOff x="1324132" y="1755991"/>
            <a:chExt cx="1709190" cy="1709190"/>
          </a:xfrm>
          <a:solidFill>
            <a:srgbClr val="0D0D0D"/>
          </a:solidFill>
        </p:grpSpPr>
        <p:sp>
          <p:nvSpPr>
            <p:cNvPr id="67" name="Oval 66">
              <a:extLst>
                <a:ext uri="{FF2B5EF4-FFF2-40B4-BE49-F238E27FC236}">
                  <a16:creationId xmlns:a16="http://schemas.microsoft.com/office/drawing/2014/main" id="{856B142E-49DF-FC08-1083-AD0201C3B7B1}"/>
                </a:ext>
              </a:extLst>
            </p:cNvPr>
            <p:cNvSpPr/>
            <p:nvPr/>
          </p:nvSpPr>
          <p:spPr bwMode="auto">
            <a:xfrm>
              <a:off x="1324132" y="1755991"/>
              <a:ext cx="1709190" cy="1709190"/>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68" name="people_12" title="Icon of three people">
              <a:extLst>
                <a:ext uri="{FF2B5EF4-FFF2-40B4-BE49-F238E27FC236}">
                  <a16:creationId xmlns:a16="http://schemas.microsoft.com/office/drawing/2014/main" id="{51E7F80E-02D0-90FF-2A8C-AC7A26375BF2}"/>
                </a:ext>
              </a:extLst>
            </p:cNvPr>
            <p:cNvSpPr>
              <a:spLocks noChangeAspect="1" noEditPoints="1"/>
            </p:cNvSpPr>
            <p:nvPr/>
          </p:nvSpPr>
          <p:spPr bwMode="auto">
            <a:xfrm>
              <a:off x="1787652" y="2259347"/>
              <a:ext cx="823368" cy="702480"/>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solidFill>
              <a:schemeClr val="bg1"/>
            </a:solidFill>
            <a:ln w="28575">
              <a:solidFill>
                <a:schemeClr val="tx1">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nvGrpSpPr>
          <p:cNvPr id="94" name="Group 93">
            <a:extLst>
              <a:ext uri="{FF2B5EF4-FFF2-40B4-BE49-F238E27FC236}">
                <a16:creationId xmlns:a16="http://schemas.microsoft.com/office/drawing/2014/main" id="{07E22F44-5C1A-30C1-9F53-D9A1BFABD72C}"/>
              </a:ext>
              <a:ext uri="{C183D7F6-B498-43B3-948B-1728B52AA6E4}">
                <adec:decorative xmlns:adec="http://schemas.microsoft.com/office/drawing/2017/decorative" val="1"/>
              </a:ext>
            </a:extLst>
          </p:cNvPr>
          <p:cNvGrpSpPr/>
          <p:nvPr/>
        </p:nvGrpSpPr>
        <p:grpSpPr>
          <a:xfrm>
            <a:off x="8442858" y="5997390"/>
            <a:ext cx="2715890" cy="655984"/>
            <a:chOff x="4355645" y="6575885"/>
            <a:chExt cx="3078007" cy="743449"/>
          </a:xfrm>
        </p:grpSpPr>
        <p:pic>
          <p:nvPicPr>
            <p:cNvPr id="95" name="Picture 94">
              <a:extLst>
                <a:ext uri="{FF2B5EF4-FFF2-40B4-BE49-F238E27FC236}">
                  <a16:creationId xmlns:a16="http://schemas.microsoft.com/office/drawing/2014/main" id="{2AC775FF-2E5A-1243-8E1D-5AA8F180C8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50106" y="6575885"/>
              <a:ext cx="1583546" cy="743449"/>
            </a:xfrm>
            <a:prstGeom prst="rect">
              <a:avLst/>
            </a:prstGeom>
          </p:spPr>
        </p:pic>
        <p:sp>
          <p:nvSpPr>
            <p:cNvPr id="96" name="TextBox 95">
              <a:extLst>
                <a:ext uri="{FF2B5EF4-FFF2-40B4-BE49-F238E27FC236}">
                  <a16:creationId xmlns:a16="http://schemas.microsoft.com/office/drawing/2014/main" id="{65A2FC1F-669A-898D-655E-3F19F8999D79}"/>
                </a:ext>
              </a:extLst>
            </p:cNvPr>
            <p:cNvSpPr txBox="1"/>
            <p:nvPr/>
          </p:nvSpPr>
          <p:spPr>
            <a:xfrm>
              <a:off x="4355645" y="6809110"/>
              <a:ext cx="1494433" cy="289370"/>
            </a:xfrm>
            <a:prstGeom prst="rect">
              <a:avLst/>
            </a:prstGeom>
            <a:noFill/>
          </p:spPr>
          <p:txBody>
            <a:bodyPr wrap="square" lIns="0" rIns="0" rtlCol="0">
              <a:sp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US" sz="1059" b="0" i="0" u="none" strike="noStrike" kern="1200" cap="none" spc="0" normalizeH="0" baseline="0" noProof="0">
                <a:ln>
                  <a:noFill/>
                </a:ln>
                <a:solidFill>
                  <a:srgbClr val="E6E6E6"/>
                </a:solidFill>
                <a:effectLst/>
                <a:uLnTx/>
                <a:uFillTx/>
                <a:latin typeface="Segoe UI Semibold" panose="020B0702040204020203" pitchFamily="34" charset="0"/>
                <a:ea typeface="+mn-ea"/>
                <a:cs typeface="Segoe UI Semibold" panose="020B0702040204020203" pitchFamily="34" charset="0"/>
              </a:endParaRPr>
            </a:p>
          </p:txBody>
        </p:sp>
      </p:grpSp>
      <p:cxnSp>
        <p:nvCxnSpPr>
          <p:cNvPr id="100" name="Straight Connector 99">
            <a:extLst>
              <a:ext uri="{FF2B5EF4-FFF2-40B4-BE49-F238E27FC236}">
                <a16:creationId xmlns:a16="http://schemas.microsoft.com/office/drawing/2014/main" id="{36493B1C-8EFF-5507-3F55-E01588F104FD}"/>
              </a:ext>
              <a:ext uri="{C183D7F6-B498-43B3-948B-1728B52AA6E4}">
                <adec:decorative xmlns:adec="http://schemas.microsoft.com/office/drawing/2017/decorative" val="1"/>
              </a:ext>
            </a:extLst>
          </p:cNvPr>
          <p:cNvCxnSpPr>
            <a:cxnSpLocks/>
          </p:cNvCxnSpPr>
          <p:nvPr/>
        </p:nvCxnSpPr>
        <p:spPr>
          <a:xfrm flipH="1" flipV="1">
            <a:off x="4396773" y="3784019"/>
            <a:ext cx="543551" cy="1"/>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5C65C24D-4A9C-3A3F-9028-2A2D69F8F9A9}"/>
              </a:ext>
              <a:ext uri="{C183D7F6-B498-43B3-948B-1728B52AA6E4}">
                <adec:decorative xmlns:adec="http://schemas.microsoft.com/office/drawing/2017/decorative" val="1"/>
              </a:ext>
            </a:extLst>
          </p:cNvPr>
          <p:cNvCxnSpPr>
            <a:cxnSpLocks/>
          </p:cNvCxnSpPr>
          <p:nvPr/>
        </p:nvCxnSpPr>
        <p:spPr>
          <a:xfrm flipH="1" flipV="1">
            <a:off x="6130323" y="3784019"/>
            <a:ext cx="543551" cy="1"/>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9E124636-CADB-B5A1-C0F5-25C421A6F9B9}"/>
              </a:ext>
              <a:ext uri="{C183D7F6-B498-43B3-948B-1728B52AA6E4}">
                <adec:decorative xmlns:adec="http://schemas.microsoft.com/office/drawing/2017/decorative" val="1"/>
              </a:ext>
            </a:extLst>
          </p:cNvPr>
          <p:cNvGrpSpPr/>
          <p:nvPr/>
        </p:nvGrpSpPr>
        <p:grpSpPr>
          <a:xfrm>
            <a:off x="6690918" y="3198374"/>
            <a:ext cx="1185467" cy="1150776"/>
            <a:chOff x="10254477" y="3170206"/>
            <a:chExt cx="1372372" cy="1352059"/>
          </a:xfrm>
        </p:grpSpPr>
        <p:sp>
          <p:nvSpPr>
            <p:cNvPr id="72" name="Oval 71">
              <a:extLst>
                <a:ext uri="{FF2B5EF4-FFF2-40B4-BE49-F238E27FC236}">
                  <a16:creationId xmlns:a16="http://schemas.microsoft.com/office/drawing/2014/main" id="{05BBF957-D6E9-FA54-6B8D-91B6014F87E7}"/>
                </a:ext>
              </a:extLst>
            </p:cNvPr>
            <p:cNvSpPr/>
            <p:nvPr/>
          </p:nvSpPr>
          <p:spPr bwMode="auto">
            <a:xfrm>
              <a:off x="10254477" y="3170206"/>
              <a:ext cx="1372372" cy="1352059"/>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nvGrpSpPr>
            <p:cNvPr id="73" name="Group 72">
              <a:extLst>
                <a:ext uri="{FF2B5EF4-FFF2-40B4-BE49-F238E27FC236}">
                  <a16:creationId xmlns:a16="http://schemas.microsoft.com/office/drawing/2014/main" id="{6AAFE07A-71EE-A66D-9852-4CD99BBAFE84}"/>
                </a:ext>
              </a:extLst>
            </p:cNvPr>
            <p:cNvGrpSpPr/>
            <p:nvPr/>
          </p:nvGrpSpPr>
          <p:grpSpPr>
            <a:xfrm>
              <a:off x="10583643" y="3544397"/>
              <a:ext cx="685298" cy="679876"/>
              <a:chOff x="8473695" y="605939"/>
              <a:chExt cx="740076" cy="740076"/>
            </a:xfrm>
          </p:grpSpPr>
          <p:sp>
            <p:nvSpPr>
              <p:cNvPr id="74" name="Rectangle 73">
                <a:extLst>
                  <a:ext uri="{FF2B5EF4-FFF2-40B4-BE49-F238E27FC236}">
                    <a16:creationId xmlns:a16="http://schemas.microsoft.com/office/drawing/2014/main" id="{FE5A206A-C5FC-84E2-2C90-2A583D6B3D80}"/>
                  </a:ext>
                </a:extLst>
              </p:cNvPr>
              <p:cNvSpPr/>
              <p:nvPr/>
            </p:nvSpPr>
            <p:spPr bwMode="auto">
              <a:xfrm>
                <a:off x="8473695" y="605939"/>
                <a:ext cx="740076" cy="740076"/>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76" name="Rectangle: Rounded Corners 75">
                <a:extLst>
                  <a:ext uri="{FF2B5EF4-FFF2-40B4-BE49-F238E27FC236}">
                    <a16:creationId xmlns:a16="http://schemas.microsoft.com/office/drawing/2014/main" id="{D1230C09-8C7C-463F-B8A3-562A4DDF0090}"/>
                  </a:ext>
                </a:extLst>
              </p:cNvPr>
              <p:cNvSpPr/>
              <p:nvPr/>
            </p:nvSpPr>
            <p:spPr bwMode="auto">
              <a:xfrm>
                <a:off x="8537916" y="670160"/>
                <a:ext cx="611634" cy="611634"/>
              </a:xfrm>
              <a:prstGeom prst="roundRect">
                <a:avLst>
                  <a:gd name="adj" fmla="val 7498"/>
                </a:avLst>
              </a:prstGeom>
              <a:solidFill>
                <a:schemeClr val="bg1"/>
              </a:solidFill>
              <a:ln w="19050">
                <a:solidFill>
                  <a:schemeClr val="tx1">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77" name="Freeform: Shape 76">
                <a:extLst>
                  <a:ext uri="{FF2B5EF4-FFF2-40B4-BE49-F238E27FC236}">
                    <a16:creationId xmlns:a16="http://schemas.microsoft.com/office/drawing/2014/main" id="{70B601E7-6F12-1BDF-D36E-AF981EB7FE9F}"/>
                  </a:ext>
                </a:extLst>
              </p:cNvPr>
              <p:cNvSpPr/>
              <p:nvPr/>
            </p:nvSpPr>
            <p:spPr bwMode="auto">
              <a:xfrm>
                <a:off x="8540162" y="675660"/>
                <a:ext cx="240182" cy="363937"/>
              </a:xfrm>
              <a:custGeom>
                <a:avLst/>
                <a:gdLst>
                  <a:gd name="connsiteX0" fmla="*/ 0 w 291754"/>
                  <a:gd name="connsiteY0" fmla="*/ 441189 h 444747"/>
                  <a:gd name="connsiteX1" fmla="*/ 128087 w 291754"/>
                  <a:gd name="connsiteY1" fmla="*/ 444747 h 444747"/>
                  <a:gd name="connsiteX2" fmla="*/ 131645 w 291754"/>
                  <a:gd name="connsiteY2" fmla="*/ 149435 h 444747"/>
                  <a:gd name="connsiteX3" fmla="*/ 291754 w 291754"/>
                  <a:gd name="connsiteY3" fmla="*/ 156551 h 444747"/>
                  <a:gd name="connsiteX4" fmla="*/ 288196 w 291754"/>
                  <a:gd name="connsiteY4" fmla="*/ 0 h 444747"/>
                  <a:gd name="connsiteX0" fmla="*/ 0 w 291754"/>
                  <a:gd name="connsiteY0" fmla="*/ 441189 h 444747"/>
                  <a:gd name="connsiteX1" fmla="*/ 128087 w 291754"/>
                  <a:gd name="connsiteY1" fmla="*/ 444747 h 444747"/>
                  <a:gd name="connsiteX2" fmla="*/ 131645 w 291754"/>
                  <a:gd name="connsiteY2" fmla="*/ 152993 h 444747"/>
                  <a:gd name="connsiteX3" fmla="*/ 291754 w 291754"/>
                  <a:gd name="connsiteY3" fmla="*/ 156551 h 444747"/>
                  <a:gd name="connsiteX4" fmla="*/ 288196 w 291754"/>
                  <a:gd name="connsiteY4" fmla="*/ 0 h 444747"/>
                  <a:gd name="connsiteX0" fmla="*/ 0 w 291754"/>
                  <a:gd name="connsiteY0" fmla="*/ 441189 h 444747"/>
                  <a:gd name="connsiteX1" fmla="*/ 128087 w 291754"/>
                  <a:gd name="connsiteY1" fmla="*/ 444747 h 444747"/>
                  <a:gd name="connsiteX2" fmla="*/ 128087 w 291754"/>
                  <a:gd name="connsiteY2" fmla="*/ 156551 h 444747"/>
                  <a:gd name="connsiteX3" fmla="*/ 291754 w 291754"/>
                  <a:gd name="connsiteY3" fmla="*/ 156551 h 444747"/>
                  <a:gd name="connsiteX4" fmla="*/ 288196 w 291754"/>
                  <a:gd name="connsiteY4" fmla="*/ 0 h 444747"/>
                  <a:gd name="connsiteX0" fmla="*/ 0 w 288196"/>
                  <a:gd name="connsiteY0" fmla="*/ 444747 h 444747"/>
                  <a:gd name="connsiteX1" fmla="*/ 124529 w 288196"/>
                  <a:gd name="connsiteY1" fmla="*/ 444747 h 444747"/>
                  <a:gd name="connsiteX2" fmla="*/ 124529 w 288196"/>
                  <a:gd name="connsiteY2" fmla="*/ 156551 h 444747"/>
                  <a:gd name="connsiteX3" fmla="*/ 288196 w 288196"/>
                  <a:gd name="connsiteY3" fmla="*/ 156551 h 444747"/>
                  <a:gd name="connsiteX4" fmla="*/ 284638 w 288196"/>
                  <a:gd name="connsiteY4" fmla="*/ 0 h 444747"/>
                  <a:gd name="connsiteX0" fmla="*/ 0 w 288196"/>
                  <a:gd name="connsiteY0" fmla="*/ 444747 h 444747"/>
                  <a:gd name="connsiteX1" fmla="*/ 124529 w 288196"/>
                  <a:gd name="connsiteY1" fmla="*/ 444747 h 444747"/>
                  <a:gd name="connsiteX2" fmla="*/ 124529 w 288196"/>
                  <a:gd name="connsiteY2" fmla="*/ 156551 h 444747"/>
                  <a:gd name="connsiteX3" fmla="*/ 288196 w 288196"/>
                  <a:gd name="connsiteY3" fmla="*/ 156551 h 444747"/>
                  <a:gd name="connsiteX4" fmla="*/ 288196 w 288196"/>
                  <a:gd name="connsiteY4" fmla="*/ 0 h 444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196" h="444747">
                    <a:moveTo>
                      <a:pt x="0" y="444747"/>
                    </a:moveTo>
                    <a:lnTo>
                      <a:pt x="124529" y="444747"/>
                    </a:lnTo>
                    <a:lnTo>
                      <a:pt x="124529" y="156551"/>
                    </a:lnTo>
                    <a:lnTo>
                      <a:pt x="288196" y="156551"/>
                    </a:lnTo>
                    <a:lnTo>
                      <a:pt x="288196" y="0"/>
                    </a:ln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nvGrpSpPr>
              <p:cNvPr id="78" name="Group 77">
                <a:extLst>
                  <a:ext uri="{FF2B5EF4-FFF2-40B4-BE49-F238E27FC236}">
                    <a16:creationId xmlns:a16="http://schemas.microsoft.com/office/drawing/2014/main" id="{DFC9BBEF-37B4-9F4C-5970-2F0F3D3668BF}"/>
                  </a:ext>
                </a:extLst>
              </p:cNvPr>
              <p:cNvGrpSpPr/>
              <p:nvPr/>
            </p:nvGrpSpPr>
            <p:grpSpPr>
              <a:xfrm>
                <a:off x="8828863" y="983703"/>
                <a:ext cx="188912" cy="298091"/>
                <a:chOff x="1480118" y="2085812"/>
                <a:chExt cx="251442" cy="396759"/>
              </a:xfrm>
            </p:grpSpPr>
            <p:sp>
              <p:nvSpPr>
                <p:cNvPr id="91" name="Freeform: Shape 90">
                  <a:extLst>
                    <a:ext uri="{FF2B5EF4-FFF2-40B4-BE49-F238E27FC236}">
                      <a16:creationId xmlns:a16="http://schemas.microsoft.com/office/drawing/2014/main" id="{1C18BDD8-182B-F898-A3B4-BBF4B8138CB3}"/>
                    </a:ext>
                  </a:extLst>
                </p:cNvPr>
                <p:cNvSpPr/>
                <p:nvPr/>
              </p:nvSpPr>
              <p:spPr bwMode="auto">
                <a:xfrm>
                  <a:off x="1480118" y="2124085"/>
                  <a:ext cx="160109" cy="358486"/>
                </a:xfrm>
                <a:custGeom>
                  <a:avLst/>
                  <a:gdLst>
                    <a:gd name="connsiteX0" fmla="*/ 3558 w 160109"/>
                    <a:gd name="connsiteY0" fmla="*/ 362914 h 362914"/>
                    <a:gd name="connsiteX1" fmla="*/ 0 w 160109"/>
                    <a:gd name="connsiteY1" fmla="*/ 0 h 362914"/>
                    <a:gd name="connsiteX2" fmla="*/ 160109 w 160109"/>
                    <a:gd name="connsiteY2" fmla="*/ 0 h 362914"/>
                    <a:gd name="connsiteX0" fmla="*/ 28 w 160109"/>
                    <a:gd name="connsiteY0" fmla="*/ 362914 h 362914"/>
                    <a:gd name="connsiteX1" fmla="*/ 0 w 160109"/>
                    <a:gd name="connsiteY1" fmla="*/ 0 h 362914"/>
                    <a:gd name="connsiteX2" fmla="*/ 160109 w 160109"/>
                    <a:gd name="connsiteY2" fmla="*/ 0 h 362914"/>
                  </a:gdLst>
                  <a:ahLst/>
                  <a:cxnLst>
                    <a:cxn ang="0">
                      <a:pos x="connsiteX0" y="connsiteY0"/>
                    </a:cxn>
                    <a:cxn ang="0">
                      <a:pos x="connsiteX1" y="connsiteY1"/>
                    </a:cxn>
                    <a:cxn ang="0">
                      <a:pos x="connsiteX2" y="connsiteY2"/>
                    </a:cxn>
                  </a:cxnLst>
                  <a:rect l="l" t="t" r="r" b="b"/>
                  <a:pathLst>
                    <a:path w="160109" h="362914">
                      <a:moveTo>
                        <a:pt x="28" y="362914"/>
                      </a:moveTo>
                      <a:cubicBezTo>
                        <a:pt x="19" y="241943"/>
                        <a:pt x="9" y="120971"/>
                        <a:pt x="0" y="0"/>
                      </a:cubicBezTo>
                      <a:lnTo>
                        <a:pt x="160109" y="0"/>
                      </a:ln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92" name="Oval 91">
                  <a:extLst>
                    <a:ext uri="{FF2B5EF4-FFF2-40B4-BE49-F238E27FC236}">
                      <a16:creationId xmlns:a16="http://schemas.microsoft.com/office/drawing/2014/main" id="{04C1ED96-B9AC-8273-769B-D3FB0404712E}"/>
                    </a:ext>
                  </a:extLst>
                </p:cNvPr>
                <p:cNvSpPr/>
                <p:nvPr/>
              </p:nvSpPr>
              <p:spPr bwMode="auto">
                <a:xfrm rot="10394378" flipH="1">
                  <a:off x="1646113" y="2085812"/>
                  <a:ext cx="85447" cy="85447"/>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nvGrpSpPr>
              <p:cNvPr id="79" name="Group 78">
                <a:extLst>
                  <a:ext uri="{FF2B5EF4-FFF2-40B4-BE49-F238E27FC236}">
                    <a16:creationId xmlns:a16="http://schemas.microsoft.com/office/drawing/2014/main" id="{79D8177A-97EA-4275-C3AA-44B0B02C6548}"/>
                  </a:ext>
                </a:extLst>
              </p:cNvPr>
              <p:cNvGrpSpPr/>
              <p:nvPr/>
            </p:nvGrpSpPr>
            <p:grpSpPr>
              <a:xfrm>
                <a:off x="8958110" y="1156643"/>
                <a:ext cx="125618" cy="119525"/>
                <a:chOff x="1564364" y="2085812"/>
                <a:chExt cx="167196" cy="159088"/>
              </a:xfrm>
            </p:grpSpPr>
            <p:sp>
              <p:nvSpPr>
                <p:cNvPr id="89" name="Freeform: Shape 88">
                  <a:extLst>
                    <a:ext uri="{FF2B5EF4-FFF2-40B4-BE49-F238E27FC236}">
                      <a16:creationId xmlns:a16="http://schemas.microsoft.com/office/drawing/2014/main" id="{4824B674-9946-053C-A9B7-5BB38CDFC994}"/>
                    </a:ext>
                  </a:extLst>
                </p:cNvPr>
                <p:cNvSpPr/>
                <p:nvPr/>
              </p:nvSpPr>
              <p:spPr bwMode="auto">
                <a:xfrm>
                  <a:off x="1564364" y="2124085"/>
                  <a:ext cx="93932" cy="120815"/>
                </a:xfrm>
                <a:custGeom>
                  <a:avLst/>
                  <a:gdLst>
                    <a:gd name="connsiteX0" fmla="*/ 3558 w 160109"/>
                    <a:gd name="connsiteY0" fmla="*/ 362914 h 362914"/>
                    <a:gd name="connsiteX1" fmla="*/ 0 w 160109"/>
                    <a:gd name="connsiteY1" fmla="*/ 0 h 362914"/>
                    <a:gd name="connsiteX2" fmla="*/ 160109 w 160109"/>
                    <a:gd name="connsiteY2" fmla="*/ 0 h 362914"/>
                    <a:gd name="connsiteX0" fmla="*/ 0 w 168778"/>
                    <a:gd name="connsiteY0" fmla="*/ 362914 h 362914"/>
                    <a:gd name="connsiteX1" fmla="*/ 8669 w 168778"/>
                    <a:gd name="connsiteY1" fmla="*/ 0 h 362914"/>
                    <a:gd name="connsiteX2" fmla="*/ 168778 w 168778"/>
                    <a:gd name="connsiteY2" fmla="*/ 0 h 362914"/>
                    <a:gd name="connsiteX0" fmla="*/ 0 w 162663"/>
                    <a:gd name="connsiteY0" fmla="*/ 362914 h 362914"/>
                    <a:gd name="connsiteX1" fmla="*/ 2554 w 162663"/>
                    <a:gd name="connsiteY1" fmla="*/ 0 h 362914"/>
                    <a:gd name="connsiteX2" fmla="*/ 162663 w 162663"/>
                    <a:gd name="connsiteY2" fmla="*/ 0 h 362914"/>
                  </a:gdLst>
                  <a:ahLst/>
                  <a:cxnLst>
                    <a:cxn ang="0">
                      <a:pos x="connsiteX0" y="connsiteY0"/>
                    </a:cxn>
                    <a:cxn ang="0">
                      <a:pos x="connsiteX1" y="connsiteY1"/>
                    </a:cxn>
                    <a:cxn ang="0">
                      <a:pos x="connsiteX2" y="connsiteY2"/>
                    </a:cxn>
                  </a:cxnLst>
                  <a:rect l="l" t="t" r="r" b="b"/>
                  <a:pathLst>
                    <a:path w="162663" h="362914">
                      <a:moveTo>
                        <a:pt x="0" y="362914"/>
                      </a:moveTo>
                      <a:cubicBezTo>
                        <a:pt x="851" y="241943"/>
                        <a:pt x="1703" y="120971"/>
                        <a:pt x="2554" y="0"/>
                      </a:cubicBezTo>
                      <a:lnTo>
                        <a:pt x="162663" y="0"/>
                      </a:ln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90" name="Oval 89">
                  <a:extLst>
                    <a:ext uri="{FF2B5EF4-FFF2-40B4-BE49-F238E27FC236}">
                      <a16:creationId xmlns:a16="http://schemas.microsoft.com/office/drawing/2014/main" id="{41DB9FD2-2D1B-AC30-0B18-E836F8A702CC}"/>
                    </a:ext>
                  </a:extLst>
                </p:cNvPr>
                <p:cNvSpPr/>
                <p:nvPr/>
              </p:nvSpPr>
              <p:spPr bwMode="auto">
                <a:xfrm rot="10394378" flipH="1">
                  <a:off x="1646113" y="2085812"/>
                  <a:ext cx="85447" cy="85447"/>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nvGrpSpPr>
              <p:cNvPr id="80" name="Group 79">
                <a:extLst>
                  <a:ext uri="{FF2B5EF4-FFF2-40B4-BE49-F238E27FC236}">
                    <a16:creationId xmlns:a16="http://schemas.microsoft.com/office/drawing/2014/main" id="{EDFD58A9-E4E6-ADB4-97C8-9573A25AFEE5}"/>
                  </a:ext>
                </a:extLst>
              </p:cNvPr>
              <p:cNvGrpSpPr/>
              <p:nvPr/>
            </p:nvGrpSpPr>
            <p:grpSpPr>
              <a:xfrm flipH="1">
                <a:off x="8590339" y="1092967"/>
                <a:ext cx="177163" cy="182953"/>
                <a:chOff x="1495756" y="2085812"/>
                <a:chExt cx="235804" cy="243510"/>
              </a:xfrm>
            </p:grpSpPr>
            <p:sp>
              <p:nvSpPr>
                <p:cNvPr id="87" name="Freeform: Shape 86">
                  <a:extLst>
                    <a:ext uri="{FF2B5EF4-FFF2-40B4-BE49-F238E27FC236}">
                      <a16:creationId xmlns:a16="http://schemas.microsoft.com/office/drawing/2014/main" id="{A39E2DDE-7A09-833D-8282-162B0D94ED1A}"/>
                    </a:ext>
                  </a:extLst>
                </p:cNvPr>
                <p:cNvSpPr/>
                <p:nvPr/>
              </p:nvSpPr>
              <p:spPr bwMode="auto">
                <a:xfrm>
                  <a:off x="1495756" y="2124085"/>
                  <a:ext cx="144472" cy="205237"/>
                </a:xfrm>
                <a:custGeom>
                  <a:avLst/>
                  <a:gdLst>
                    <a:gd name="connsiteX0" fmla="*/ 3558 w 160109"/>
                    <a:gd name="connsiteY0" fmla="*/ 362914 h 362914"/>
                    <a:gd name="connsiteX1" fmla="*/ 0 w 160109"/>
                    <a:gd name="connsiteY1" fmla="*/ 0 h 362914"/>
                    <a:gd name="connsiteX2" fmla="*/ 160109 w 160109"/>
                    <a:gd name="connsiteY2" fmla="*/ 0 h 362914"/>
                    <a:gd name="connsiteX0" fmla="*/ 28 w 160109"/>
                    <a:gd name="connsiteY0" fmla="*/ 362914 h 362914"/>
                    <a:gd name="connsiteX1" fmla="*/ 0 w 160109"/>
                    <a:gd name="connsiteY1" fmla="*/ 0 h 362914"/>
                    <a:gd name="connsiteX2" fmla="*/ 160109 w 160109"/>
                    <a:gd name="connsiteY2" fmla="*/ 0 h 362914"/>
                  </a:gdLst>
                  <a:ahLst/>
                  <a:cxnLst>
                    <a:cxn ang="0">
                      <a:pos x="connsiteX0" y="connsiteY0"/>
                    </a:cxn>
                    <a:cxn ang="0">
                      <a:pos x="connsiteX1" y="connsiteY1"/>
                    </a:cxn>
                    <a:cxn ang="0">
                      <a:pos x="connsiteX2" y="connsiteY2"/>
                    </a:cxn>
                  </a:cxnLst>
                  <a:rect l="l" t="t" r="r" b="b"/>
                  <a:pathLst>
                    <a:path w="160109" h="362914">
                      <a:moveTo>
                        <a:pt x="28" y="362914"/>
                      </a:moveTo>
                      <a:cubicBezTo>
                        <a:pt x="19" y="241943"/>
                        <a:pt x="9" y="120971"/>
                        <a:pt x="0" y="0"/>
                      </a:cubicBezTo>
                      <a:lnTo>
                        <a:pt x="160109" y="0"/>
                      </a:ln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88" name="Oval 87">
                  <a:extLst>
                    <a:ext uri="{FF2B5EF4-FFF2-40B4-BE49-F238E27FC236}">
                      <a16:creationId xmlns:a16="http://schemas.microsoft.com/office/drawing/2014/main" id="{81E137EF-A92C-38E4-C601-B928E497CDA5}"/>
                    </a:ext>
                  </a:extLst>
                </p:cNvPr>
                <p:cNvSpPr/>
                <p:nvPr/>
              </p:nvSpPr>
              <p:spPr bwMode="auto">
                <a:xfrm rot="10394378" flipH="1">
                  <a:off x="1646113" y="2085812"/>
                  <a:ext cx="85447" cy="85447"/>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sp>
            <p:nvSpPr>
              <p:cNvPr id="81" name="Freeform: Shape 80">
                <a:extLst>
                  <a:ext uri="{FF2B5EF4-FFF2-40B4-BE49-F238E27FC236}">
                    <a16:creationId xmlns:a16="http://schemas.microsoft.com/office/drawing/2014/main" id="{9D3A736A-A632-ADA6-7BCC-BC71E2851FAC}"/>
                  </a:ext>
                </a:extLst>
              </p:cNvPr>
              <p:cNvSpPr/>
              <p:nvPr/>
            </p:nvSpPr>
            <p:spPr bwMode="auto">
              <a:xfrm flipH="1" flipV="1">
                <a:off x="8766938" y="674873"/>
                <a:ext cx="79323" cy="237994"/>
              </a:xfrm>
              <a:custGeom>
                <a:avLst/>
                <a:gdLst>
                  <a:gd name="connsiteX0" fmla="*/ 3558 w 160109"/>
                  <a:gd name="connsiteY0" fmla="*/ 362914 h 362914"/>
                  <a:gd name="connsiteX1" fmla="*/ 0 w 160109"/>
                  <a:gd name="connsiteY1" fmla="*/ 0 h 362914"/>
                  <a:gd name="connsiteX2" fmla="*/ 160109 w 160109"/>
                  <a:gd name="connsiteY2" fmla="*/ 0 h 362914"/>
                  <a:gd name="connsiteX0" fmla="*/ 28 w 160109"/>
                  <a:gd name="connsiteY0" fmla="*/ 362914 h 362914"/>
                  <a:gd name="connsiteX1" fmla="*/ 0 w 160109"/>
                  <a:gd name="connsiteY1" fmla="*/ 0 h 362914"/>
                  <a:gd name="connsiteX2" fmla="*/ 160109 w 160109"/>
                  <a:gd name="connsiteY2" fmla="*/ 0 h 362914"/>
                </a:gdLst>
                <a:ahLst/>
                <a:cxnLst>
                  <a:cxn ang="0">
                    <a:pos x="connsiteX0" y="connsiteY0"/>
                  </a:cxn>
                  <a:cxn ang="0">
                    <a:pos x="connsiteX1" y="connsiteY1"/>
                  </a:cxn>
                  <a:cxn ang="0">
                    <a:pos x="connsiteX2" y="connsiteY2"/>
                  </a:cxn>
                </a:cxnLst>
                <a:rect l="l" t="t" r="r" b="b"/>
                <a:pathLst>
                  <a:path w="160109" h="362914">
                    <a:moveTo>
                      <a:pt x="28" y="362914"/>
                    </a:moveTo>
                    <a:cubicBezTo>
                      <a:pt x="19" y="241943"/>
                      <a:pt x="9" y="120971"/>
                      <a:pt x="0" y="0"/>
                    </a:cubicBezTo>
                    <a:lnTo>
                      <a:pt x="160109" y="0"/>
                    </a:ln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82" name="Oval 81">
                <a:extLst>
                  <a:ext uri="{FF2B5EF4-FFF2-40B4-BE49-F238E27FC236}">
                    <a16:creationId xmlns:a16="http://schemas.microsoft.com/office/drawing/2014/main" id="{DB3A5ED2-FAB4-8DFC-378B-0FF94B1EDA61}"/>
                  </a:ext>
                </a:extLst>
              </p:cNvPr>
              <p:cNvSpPr/>
              <p:nvPr/>
            </p:nvSpPr>
            <p:spPr bwMode="auto">
              <a:xfrm rot="10394378" flipV="1">
                <a:off x="8698320" y="877426"/>
                <a:ext cx="64198" cy="64198"/>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sp>
            <p:nvSpPr>
              <p:cNvPr id="83" name="Oval 82">
                <a:extLst>
                  <a:ext uri="{FF2B5EF4-FFF2-40B4-BE49-F238E27FC236}">
                    <a16:creationId xmlns:a16="http://schemas.microsoft.com/office/drawing/2014/main" id="{35C513A2-753F-85D4-BABC-1FD986CD0B3F}"/>
                  </a:ext>
                </a:extLst>
              </p:cNvPr>
              <p:cNvSpPr/>
              <p:nvPr/>
            </p:nvSpPr>
            <p:spPr bwMode="auto">
              <a:xfrm rot="10394378" flipV="1">
                <a:off x="9032209" y="763540"/>
                <a:ext cx="64198" cy="64198"/>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cxnSp>
            <p:nvCxnSpPr>
              <p:cNvPr id="84" name="Straight Connector 83">
                <a:extLst>
                  <a:ext uri="{FF2B5EF4-FFF2-40B4-BE49-F238E27FC236}">
                    <a16:creationId xmlns:a16="http://schemas.microsoft.com/office/drawing/2014/main" id="{5946D8F4-68A2-123E-907F-FB68838CC307}"/>
                  </a:ext>
                </a:extLst>
              </p:cNvPr>
              <p:cNvCxnSpPr>
                <a:cxnSpLocks/>
              </p:cNvCxnSpPr>
              <p:nvPr/>
            </p:nvCxnSpPr>
            <p:spPr>
              <a:xfrm>
                <a:off x="8918419" y="674873"/>
                <a:ext cx="0" cy="172866"/>
              </a:xfrm>
              <a:prstGeom prst="lin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cxnSp>
          <p:cxnSp>
            <p:nvCxnSpPr>
              <p:cNvPr id="85" name="Straight Connector 84">
                <a:extLst>
                  <a:ext uri="{FF2B5EF4-FFF2-40B4-BE49-F238E27FC236}">
                    <a16:creationId xmlns:a16="http://schemas.microsoft.com/office/drawing/2014/main" id="{62DA46FE-A204-3B56-C5DB-3018F4CC0E96}"/>
                  </a:ext>
                </a:extLst>
              </p:cNvPr>
              <p:cNvCxnSpPr>
                <a:cxnSpLocks/>
                <a:endCxn id="83" idx="0"/>
              </p:cNvCxnSpPr>
              <p:nvPr/>
            </p:nvCxnSpPr>
            <p:spPr>
              <a:xfrm>
                <a:off x="9060529" y="671884"/>
                <a:ext cx="0" cy="91878"/>
              </a:xfrm>
              <a:prstGeom prst="lin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cxnSp>
          <p:sp>
            <p:nvSpPr>
              <p:cNvPr id="86" name="Freeform: Shape 85">
                <a:extLst>
                  <a:ext uri="{FF2B5EF4-FFF2-40B4-BE49-F238E27FC236}">
                    <a16:creationId xmlns:a16="http://schemas.microsoft.com/office/drawing/2014/main" id="{13B8800E-BC9C-7936-080F-AEEEB204474C}"/>
                  </a:ext>
                </a:extLst>
              </p:cNvPr>
              <p:cNvSpPr/>
              <p:nvPr/>
            </p:nvSpPr>
            <p:spPr bwMode="auto">
              <a:xfrm>
                <a:off x="8894877" y="672528"/>
                <a:ext cx="200548" cy="608283"/>
              </a:xfrm>
              <a:custGeom>
                <a:avLst/>
                <a:gdLst>
                  <a:gd name="connsiteX0" fmla="*/ 0 w 266700"/>
                  <a:gd name="connsiteY0" fmla="*/ 809625 h 809625"/>
                  <a:gd name="connsiteX1" fmla="*/ 0 w 266700"/>
                  <a:gd name="connsiteY1" fmla="*/ 557212 h 809625"/>
                  <a:gd name="connsiteX2" fmla="*/ 264318 w 266700"/>
                  <a:gd name="connsiteY2" fmla="*/ 561975 h 809625"/>
                  <a:gd name="connsiteX3" fmla="*/ 266700 w 266700"/>
                  <a:gd name="connsiteY3" fmla="*/ 352425 h 809625"/>
                  <a:gd name="connsiteX4" fmla="*/ 119062 w 266700"/>
                  <a:gd name="connsiteY4" fmla="*/ 352425 h 809625"/>
                  <a:gd name="connsiteX5" fmla="*/ 126206 w 266700"/>
                  <a:gd name="connsiteY5" fmla="*/ 0 h 809625"/>
                  <a:gd name="connsiteX0" fmla="*/ 0 w 266700"/>
                  <a:gd name="connsiteY0" fmla="*/ 809625 h 809625"/>
                  <a:gd name="connsiteX1" fmla="*/ 0 w 266700"/>
                  <a:gd name="connsiteY1" fmla="*/ 557212 h 809625"/>
                  <a:gd name="connsiteX2" fmla="*/ 264318 w 266700"/>
                  <a:gd name="connsiteY2" fmla="*/ 561975 h 809625"/>
                  <a:gd name="connsiteX3" fmla="*/ 266700 w 266700"/>
                  <a:gd name="connsiteY3" fmla="*/ 352425 h 809625"/>
                  <a:gd name="connsiteX4" fmla="*/ 119062 w 266700"/>
                  <a:gd name="connsiteY4" fmla="*/ 352425 h 809625"/>
                  <a:gd name="connsiteX5" fmla="*/ 121443 w 266700"/>
                  <a:gd name="connsiteY5" fmla="*/ 0 h 809625"/>
                  <a:gd name="connsiteX0" fmla="*/ 0 w 266700"/>
                  <a:gd name="connsiteY0" fmla="*/ 809625 h 809625"/>
                  <a:gd name="connsiteX1" fmla="*/ 0 w 266700"/>
                  <a:gd name="connsiteY1" fmla="*/ 557212 h 809625"/>
                  <a:gd name="connsiteX2" fmla="*/ 264318 w 266700"/>
                  <a:gd name="connsiteY2" fmla="*/ 561975 h 809625"/>
                  <a:gd name="connsiteX3" fmla="*/ 266700 w 266700"/>
                  <a:gd name="connsiteY3" fmla="*/ 352425 h 809625"/>
                  <a:gd name="connsiteX4" fmla="*/ 119062 w 266700"/>
                  <a:gd name="connsiteY4" fmla="*/ 352425 h 809625"/>
                  <a:gd name="connsiteX5" fmla="*/ 119062 w 266700"/>
                  <a:gd name="connsiteY5" fmla="*/ 0 h 809625"/>
                  <a:gd name="connsiteX0" fmla="*/ 0 w 266700"/>
                  <a:gd name="connsiteY0" fmla="*/ 809625 h 809625"/>
                  <a:gd name="connsiteX1" fmla="*/ 0 w 266700"/>
                  <a:gd name="connsiteY1" fmla="*/ 557212 h 809625"/>
                  <a:gd name="connsiteX2" fmla="*/ 266699 w 266700"/>
                  <a:gd name="connsiteY2" fmla="*/ 559594 h 809625"/>
                  <a:gd name="connsiteX3" fmla="*/ 266700 w 266700"/>
                  <a:gd name="connsiteY3" fmla="*/ 352425 h 809625"/>
                  <a:gd name="connsiteX4" fmla="*/ 119062 w 266700"/>
                  <a:gd name="connsiteY4" fmla="*/ 352425 h 809625"/>
                  <a:gd name="connsiteX5" fmla="*/ 119062 w 266700"/>
                  <a:gd name="connsiteY5" fmla="*/ 0 h 809625"/>
                  <a:gd name="connsiteX0" fmla="*/ 0 w 266700"/>
                  <a:gd name="connsiteY0" fmla="*/ 809625 h 809625"/>
                  <a:gd name="connsiteX1" fmla="*/ 0 w 266700"/>
                  <a:gd name="connsiteY1" fmla="*/ 557212 h 809625"/>
                  <a:gd name="connsiteX2" fmla="*/ 266699 w 266700"/>
                  <a:gd name="connsiteY2" fmla="*/ 559594 h 809625"/>
                  <a:gd name="connsiteX3" fmla="*/ 266700 w 266700"/>
                  <a:gd name="connsiteY3" fmla="*/ 352425 h 809625"/>
                  <a:gd name="connsiteX4" fmla="*/ 119062 w 266700"/>
                  <a:gd name="connsiteY4" fmla="*/ 352425 h 809625"/>
                  <a:gd name="connsiteX5" fmla="*/ 119062 w 266700"/>
                  <a:gd name="connsiteY5" fmla="*/ 0 h 809625"/>
                  <a:gd name="connsiteX0" fmla="*/ 0 w 266700"/>
                  <a:gd name="connsiteY0" fmla="*/ 809625 h 809625"/>
                  <a:gd name="connsiteX1" fmla="*/ 0 w 266700"/>
                  <a:gd name="connsiteY1" fmla="*/ 557212 h 809625"/>
                  <a:gd name="connsiteX2" fmla="*/ 266699 w 266700"/>
                  <a:gd name="connsiteY2" fmla="*/ 559594 h 809625"/>
                  <a:gd name="connsiteX3" fmla="*/ 266700 w 266700"/>
                  <a:gd name="connsiteY3" fmla="*/ 352425 h 809625"/>
                  <a:gd name="connsiteX4" fmla="*/ 119062 w 266700"/>
                  <a:gd name="connsiteY4" fmla="*/ 352425 h 809625"/>
                  <a:gd name="connsiteX5" fmla="*/ 119062 w 266700"/>
                  <a:gd name="connsiteY5" fmla="*/ 0 h 809625"/>
                  <a:gd name="connsiteX0" fmla="*/ 0 w 266700"/>
                  <a:gd name="connsiteY0" fmla="*/ 809625 h 809625"/>
                  <a:gd name="connsiteX1" fmla="*/ 2381 w 266700"/>
                  <a:gd name="connsiteY1" fmla="*/ 559593 h 809625"/>
                  <a:gd name="connsiteX2" fmla="*/ 266699 w 266700"/>
                  <a:gd name="connsiteY2" fmla="*/ 559594 h 809625"/>
                  <a:gd name="connsiteX3" fmla="*/ 266700 w 266700"/>
                  <a:gd name="connsiteY3" fmla="*/ 352425 h 809625"/>
                  <a:gd name="connsiteX4" fmla="*/ 119062 w 266700"/>
                  <a:gd name="connsiteY4" fmla="*/ 352425 h 809625"/>
                  <a:gd name="connsiteX5" fmla="*/ 119062 w 266700"/>
                  <a:gd name="connsiteY5" fmla="*/ 0 h 809625"/>
                  <a:gd name="connsiteX0" fmla="*/ 229 w 266929"/>
                  <a:gd name="connsiteY0" fmla="*/ 809625 h 809625"/>
                  <a:gd name="connsiteX1" fmla="*/ 229 w 266929"/>
                  <a:gd name="connsiteY1" fmla="*/ 559593 h 809625"/>
                  <a:gd name="connsiteX2" fmla="*/ 266928 w 266929"/>
                  <a:gd name="connsiteY2" fmla="*/ 559594 h 809625"/>
                  <a:gd name="connsiteX3" fmla="*/ 266929 w 266929"/>
                  <a:gd name="connsiteY3" fmla="*/ 352425 h 809625"/>
                  <a:gd name="connsiteX4" fmla="*/ 119291 w 266929"/>
                  <a:gd name="connsiteY4" fmla="*/ 352425 h 809625"/>
                  <a:gd name="connsiteX5" fmla="*/ 119291 w 266929"/>
                  <a:gd name="connsiteY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929" h="809625">
                    <a:moveTo>
                      <a:pt x="229" y="809625"/>
                    </a:moveTo>
                    <a:cubicBezTo>
                      <a:pt x="1023" y="726281"/>
                      <a:pt x="-565" y="642937"/>
                      <a:pt x="229" y="559593"/>
                    </a:cubicBezTo>
                    <a:lnTo>
                      <a:pt x="266928" y="559594"/>
                    </a:lnTo>
                    <a:cubicBezTo>
                      <a:pt x="266928" y="490538"/>
                      <a:pt x="266929" y="421481"/>
                      <a:pt x="266929" y="352425"/>
                    </a:cubicBezTo>
                    <a:lnTo>
                      <a:pt x="119291" y="352425"/>
                    </a:lnTo>
                    <a:cubicBezTo>
                      <a:pt x="120085" y="234950"/>
                      <a:pt x="118497" y="117475"/>
                      <a:pt x="119291" y="0"/>
                    </a:cubicBezTo>
                  </a:path>
                </a:pathLst>
              </a:cu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grpSp>
      </p:grpSp>
      <p:cxnSp>
        <p:nvCxnSpPr>
          <p:cNvPr id="102" name="Straight Connector 101">
            <a:extLst>
              <a:ext uri="{FF2B5EF4-FFF2-40B4-BE49-F238E27FC236}">
                <a16:creationId xmlns:a16="http://schemas.microsoft.com/office/drawing/2014/main" id="{5D13A6F9-3853-10CB-444C-E5CDFF226040}"/>
              </a:ext>
              <a:ext uri="{C183D7F6-B498-43B3-948B-1728B52AA6E4}">
                <adec:decorative xmlns:adec="http://schemas.microsoft.com/office/drawing/2017/decorative" val="1"/>
              </a:ext>
            </a:extLst>
          </p:cNvPr>
          <p:cNvCxnSpPr>
            <a:cxnSpLocks/>
          </p:cNvCxnSpPr>
          <p:nvPr/>
        </p:nvCxnSpPr>
        <p:spPr>
          <a:xfrm flipH="1" flipV="1">
            <a:off x="7863873" y="3784019"/>
            <a:ext cx="543551" cy="1"/>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D3650FB-1EF5-49BB-B9CA-D845D2E1BAA4}"/>
              </a:ext>
              <a:ext uri="{C183D7F6-B498-43B3-948B-1728B52AA6E4}">
                <adec:decorative xmlns:adec="http://schemas.microsoft.com/office/drawing/2017/decorative" val="1"/>
              </a:ext>
            </a:extLst>
          </p:cNvPr>
          <p:cNvCxnSpPr>
            <a:cxnSpLocks/>
          </p:cNvCxnSpPr>
          <p:nvPr/>
        </p:nvCxnSpPr>
        <p:spPr>
          <a:xfrm flipH="1" flipV="1">
            <a:off x="9611711" y="3784019"/>
            <a:ext cx="543551" cy="1"/>
          </a:xfrm>
          <a:prstGeom prst="line">
            <a:avLst/>
          </a:prstGeom>
          <a:ln w="12700">
            <a:solidFill>
              <a:schemeClr val="bg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8" name="Groupe 13">
            <a:extLst>
              <a:ext uri="{FF2B5EF4-FFF2-40B4-BE49-F238E27FC236}">
                <a16:creationId xmlns:a16="http://schemas.microsoft.com/office/drawing/2014/main" id="{5D6494EA-4E40-39C7-B402-C9D627F5933F}"/>
              </a:ext>
              <a:ext uri="{C183D7F6-B498-43B3-948B-1728B52AA6E4}">
                <adec:decorative xmlns:adec="http://schemas.microsoft.com/office/drawing/2017/decorative" val="1"/>
              </a:ext>
            </a:extLst>
          </p:cNvPr>
          <p:cNvGrpSpPr/>
          <p:nvPr/>
        </p:nvGrpSpPr>
        <p:grpSpPr>
          <a:xfrm>
            <a:off x="10183844" y="3209096"/>
            <a:ext cx="1191397" cy="1171084"/>
            <a:chOff x="8407097" y="3205503"/>
            <a:chExt cx="1191397" cy="1171084"/>
          </a:xfrm>
        </p:grpSpPr>
        <p:sp>
          <p:nvSpPr>
            <p:cNvPr id="119" name="Oval 118">
              <a:extLst>
                <a:ext uri="{FF2B5EF4-FFF2-40B4-BE49-F238E27FC236}">
                  <a16:creationId xmlns:a16="http://schemas.microsoft.com/office/drawing/2014/main" id="{694C3515-5B4F-C328-7738-2B1785AC84CF}"/>
                </a:ext>
              </a:extLst>
            </p:cNvPr>
            <p:cNvSpPr/>
            <p:nvPr/>
          </p:nvSpPr>
          <p:spPr bwMode="auto">
            <a:xfrm>
              <a:off x="8407097" y="3205503"/>
              <a:ext cx="1191397" cy="11710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pic>
          <p:nvPicPr>
            <p:cNvPr id="120" name="Graphic 7" descr="Connexions">
              <a:extLst>
                <a:ext uri="{FF2B5EF4-FFF2-40B4-BE49-F238E27FC236}">
                  <a16:creationId xmlns:a16="http://schemas.microsoft.com/office/drawing/2014/main" id="{4DC6E2D0-72A0-4CCD-3197-6C481EC7655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543026" y="3345611"/>
              <a:ext cx="900023" cy="885646"/>
            </a:xfrm>
            <a:prstGeom prst="rect">
              <a:avLst/>
            </a:prstGeom>
          </p:spPr>
        </p:pic>
      </p:grpSp>
      <p:grpSp>
        <p:nvGrpSpPr>
          <p:cNvPr id="121" name="Groupe 14">
            <a:extLst>
              <a:ext uri="{FF2B5EF4-FFF2-40B4-BE49-F238E27FC236}">
                <a16:creationId xmlns:a16="http://schemas.microsoft.com/office/drawing/2014/main" id="{71EA2536-0B9B-B0E7-6FC7-DDDCE38E461C}"/>
              </a:ext>
              <a:ext uri="{C183D7F6-B498-43B3-948B-1728B52AA6E4}">
                <adec:decorative xmlns:adec="http://schemas.microsoft.com/office/drawing/2017/decorative" val="1"/>
              </a:ext>
            </a:extLst>
          </p:cNvPr>
          <p:cNvGrpSpPr/>
          <p:nvPr/>
        </p:nvGrpSpPr>
        <p:grpSpPr>
          <a:xfrm>
            <a:off x="8287588" y="3198374"/>
            <a:ext cx="1448745" cy="2177917"/>
            <a:chOff x="6538439" y="3205503"/>
            <a:chExt cx="1448745" cy="2177917"/>
          </a:xfrm>
        </p:grpSpPr>
        <p:sp>
          <p:nvSpPr>
            <p:cNvPr id="122" name="Rectangle 121">
              <a:extLst>
                <a:ext uri="{FF2B5EF4-FFF2-40B4-BE49-F238E27FC236}">
                  <a16:creationId xmlns:a16="http://schemas.microsoft.com/office/drawing/2014/main" id="{7B18EF5C-1A0A-527A-50A7-CC334CB70F88}"/>
                </a:ext>
              </a:extLst>
            </p:cNvPr>
            <p:cNvSpPr/>
            <p:nvPr/>
          </p:nvSpPr>
          <p:spPr bwMode="auto">
            <a:xfrm>
              <a:off x="6538439" y="4522739"/>
              <a:ext cx="1448745" cy="860681"/>
            </a:xfrm>
            <a:prstGeom prst="rect">
              <a:avLst/>
            </a:prstGeom>
            <a:ln>
              <a:noFill/>
            </a:ln>
          </p:spPr>
          <p:style>
            <a:lnRef idx="1">
              <a:schemeClr val="accent1"/>
            </a:lnRef>
            <a:fillRef idx="0">
              <a:schemeClr val="accent1"/>
            </a:fillRef>
            <a:effectRef idx="0">
              <a:schemeClr val="accent1"/>
            </a:effectRef>
            <a:fontRef idx="minor">
              <a:schemeClr val="tx1"/>
            </a:fontRef>
          </p:style>
          <p:txBody>
            <a:bodyPr lIns="0" tIns="0" rIns="0" bIns="0" rtlCol="0" anchor="t"/>
            <a:lstStyle/>
            <a:p>
              <a:pPr marL="0" marR="0" lvl="0" indent="0" algn="ctr" defTabSz="665641" rtl="0" eaLnBrk="1" fontAlgn="auto" latinLnBrk="0" hangingPunct="1">
                <a:lnSpc>
                  <a:spcPct val="100000"/>
                </a:lnSpc>
                <a:spcBef>
                  <a:spcPts val="146"/>
                </a:spcBef>
                <a:spcAft>
                  <a:spcPts val="291"/>
                </a:spcAft>
                <a:buClrTx/>
                <a:buSzTx/>
                <a:buFontTx/>
                <a:buNone/>
                <a:tabLst/>
                <a:defRPr/>
              </a:pPr>
              <a:endParaRPr kumimoji="0" lang="en-US" sz="1800" b="0" i="0" u="none" strike="noStrike" kern="1200" cap="none" spc="0" normalizeH="0" baseline="0" noProof="0">
                <a:ln>
                  <a:noFill/>
                </a:ln>
                <a:solidFill>
                  <a:srgbClr val="50E6FF"/>
                </a:solidFill>
                <a:effectLst/>
                <a:uLnTx/>
                <a:uFillTx/>
                <a:latin typeface="Segoe UI"/>
                <a:ea typeface="+mn-ea"/>
                <a:cs typeface="+mn-cs"/>
              </a:endParaRPr>
            </a:p>
          </p:txBody>
        </p:sp>
        <p:grpSp>
          <p:nvGrpSpPr>
            <p:cNvPr id="123" name="Groupe 12">
              <a:extLst>
                <a:ext uri="{FF2B5EF4-FFF2-40B4-BE49-F238E27FC236}">
                  <a16:creationId xmlns:a16="http://schemas.microsoft.com/office/drawing/2014/main" id="{43F13FE8-FB46-F109-240D-E04A2F03730D}"/>
                </a:ext>
              </a:extLst>
            </p:cNvPr>
            <p:cNvGrpSpPr/>
            <p:nvPr/>
          </p:nvGrpSpPr>
          <p:grpSpPr>
            <a:xfrm>
              <a:off x="6673548" y="3205503"/>
              <a:ext cx="1191397" cy="1171084"/>
              <a:chOff x="6673548" y="3205503"/>
              <a:chExt cx="1191397" cy="1171084"/>
            </a:xfrm>
          </p:grpSpPr>
          <p:sp>
            <p:nvSpPr>
              <p:cNvPr id="124" name="Oval 123">
                <a:extLst>
                  <a:ext uri="{FF2B5EF4-FFF2-40B4-BE49-F238E27FC236}">
                    <a16:creationId xmlns:a16="http://schemas.microsoft.com/office/drawing/2014/main" id="{138CC686-8131-C1F5-16D2-C5F3F8624350}"/>
                  </a:ext>
                </a:extLst>
              </p:cNvPr>
              <p:cNvSpPr/>
              <p:nvPr/>
            </p:nvSpPr>
            <p:spPr bwMode="auto">
              <a:xfrm>
                <a:off x="6673548" y="3205503"/>
                <a:ext cx="1191397" cy="11710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254000" algn="ctr" rotWithShape="0">
                  <a:schemeClr val="accent2"/>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50E6FF">
                      <a:lumMod val="60000"/>
                      <a:lumOff val="40000"/>
                    </a:srgbClr>
                  </a:solidFill>
                  <a:effectLst/>
                  <a:uLnTx/>
                  <a:uFillTx/>
                  <a:latin typeface="Segoe UI"/>
                  <a:ea typeface="+mn-ea"/>
                  <a:cs typeface="Segoe UI" pitchFamily="34" charset="0"/>
                </a:endParaRPr>
              </a:p>
            </p:txBody>
          </p:sp>
          <p:pic>
            <p:nvPicPr>
              <p:cNvPr id="125" name="Graphic 12" descr="Produits chimiques">
                <a:extLst>
                  <a:ext uri="{FF2B5EF4-FFF2-40B4-BE49-F238E27FC236}">
                    <a16:creationId xmlns:a16="http://schemas.microsoft.com/office/drawing/2014/main" id="{8C6EE8C7-B994-127B-28D6-651AD6CEC6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03366" y="3345611"/>
                <a:ext cx="914400" cy="914400"/>
              </a:xfrm>
              <a:prstGeom prst="rect">
                <a:avLst/>
              </a:prstGeom>
            </p:spPr>
          </p:pic>
        </p:grpSp>
      </p:grpSp>
    </p:spTree>
    <p:extLst>
      <p:ext uri="{BB962C8B-B14F-4D97-AF65-F5344CB8AC3E}">
        <p14:creationId xmlns:p14="http://schemas.microsoft.com/office/powerpoint/2010/main" val="335617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4">
            <a:extLst>
              <a:ext uri="{FF2B5EF4-FFF2-40B4-BE49-F238E27FC236}">
                <a16:creationId xmlns:a16="http://schemas.microsoft.com/office/drawing/2014/main" id="{47985182-DA4A-DD28-D52C-3D79F2B2096A}"/>
              </a:ext>
            </a:extLst>
          </p:cNvPr>
          <p:cNvSpPr txBox="1">
            <a:spLocks/>
          </p:cNvSpPr>
          <p:nvPr/>
        </p:nvSpPr>
        <p:spPr>
          <a:xfrm>
            <a:off x="3353809" y="809747"/>
            <a:ext cx="5484386" cy="553998"/>
          </a:xfrm>
          <a:prstGeom prst="rect">
            <a:avLst/>
          </a:prstGeom>
          <a:noFill/>
          <a:ln>
            <a:noFill/>
            <a:prstDash/>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pPr>
            <a:r>
              <a:rPr lang="en-MU" sz="3600">
                <a:latin typeface="Segoe UI Semibold"/>
              </a:rPr>
              <a:t>Preparing for the era of </a:t>
            </a:r>
            <a:r>
              <a:rPr lang="en-MU" sz="3600">
                <a:gradFill flip="none" rotWithShape="1">
                  <a:gsLst>
                    <a:gs pos="50000">
                      <a:srgbClr val="8661C5"/>
                    </a:gs>
                    <a:gs pos="0">
                      <a:srgbClr val="3E76D4"/>
                    </a:gs>
                    <a:gs pos="100000">
                      <a:srgbClr val="C73ECC"/>
                    </a:gs>
                  </a:gsLst>
                  <a:lin ang="2700000" scaled="1"/>
                  <a:tileRect/>
                </a:gradFill>
                <a:latin typeface="Segoe UI Semibold"/>
              </a:rPr>
              <a:t>AI</a:t>
            </a:r>
            <a:endParaRPr lang="en-US" sz="3600">
              <a:gradFill flip="none" rotWithShape="1">
                <a:gsLst>
                  <a:gs pos="50000">
                    <a:srgbClr val="8661C5"/>
                  </a:gs>
                  <a:gs pos="0">
                    <a:srgbClr val="3E76D4"/>
                  </a:gs>
                  <a:gs pos="100000">
                    <a:srgbClr val="C73ECC"/>
                  </a:gs>
                </a:gsLst>
                <a:lin ang="2700000" scaled="1"/>
                <a:tileRect/>
              </a:gradFill>
              <a:latin typeface="Segoe UI Semibold"/>
            </a:endParaRPr>
          </a:p>
        </p:txBody>
      </p:sp>
      <p:sp>
        <p:nvSpPr>
          <p:cNvPr id="3" name="Freeform 8">
            <a:extLst>
              <a:ext uri="{FF2B5EF4-FFF2-40B4-BE49-F238E27FC236}">
                <a16:creationId xmlns:a16="http://schemas.microsoft.com/office/drawing/2014/main" id="{7BFFF40F-79C7-42F9-5A91-8015BD373826}"/>
              </a:ext>
            </a:extLst>
          </p:cNvPr>
          <p:cNvSpPr/>
          <p:nvPr/>
        </p:nvSpPr>
        <p:spPr bwMode="auto">
          <a:xfrm>
            <a:off x="7357067" y="3354306"/>
            <a:ext cx="1912194" cy="1082695"/>
          </a:xfrm>
          <a:prstGeom prst="roundRect">
            <a:avLst>
              <a:gd name="adj" fmla="val 4362"/>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600">
                <a:solidFill>
                  <a:schemeClr val="tx1"/>
                </a:solidFill>
                <a:latin typeface="Segoe UI" panose="020B0502040204020203" pitchFamily="34" charset="0"/>
                <a:cs typeface="Segoe UI" panose="020B0502040204020203" pitchFamily="34" charset="0"/>
              </a:rPr>
              <a:t>Does your organization have a </a:t>
            </a:r>
            <a:r>
              <a:rPr lang="en-US" sz="1600" b="1">
                <a:solidFill>
                  <a:schemeClr val="tx1"/>
                </a:solidFill>
                <a:latin typeface="Segoe UI" panose="020B0502040204020203" pitchFamily="34" charset="0"/>
                <a:cs typeface="Segoe UI" panose="020B0502040204020203" pitchFamily="34" charset="0"/>
              </a:rPr>
              <a:t>data strategy </a:t>
            </a:r>
            <a:br>
              <a:rPr lang="en-US" sz="1600" b="1">
                <a:solidFill>
                  <a:schemeClr val="tx1"/>
                </a:solidFill>
                <a:latin typeface="Segoe UI" panose="020B0502040204020203" pitchFamily="34" charset="0"/>
                <a:cs typeface="Segoe UI" panose="020B0502040204020203" pitchFamily="34" charset="0"/>
              </a:rPr>
            </a:br>
            <a:r>
              <a:rPr lang="en-US" sz="1600">
                <a:solidFill>
                  <a:schemeClr val="tx1"/>
                </a:solidFill>
                <a:latin typeface="Segoe UI" panose="020B0502040204020203" pitchFamily="34" charset="0"/>
                <a:cs typeface="Segoe UI" panose="020B0502040204020203" pitchFamily="34" charset="0"/>
              </a:rPr>
              <a:t>in place?</a:t>
            </a:r>
          </a:p>
        </p:txBody>
      </p:sp>
      <p:sp>
        <p:nvSpPr>
          <p:cNvPr id="4" name="Freeform 1">
            <a:extLst>
              <a:ext uri="{FF2B5EF4-FFF2-40B4-BE49-F238E27FC236}">
                <a16:creationId xmlns:a16="http://schemas.microsoft.com/office/drawing/2014/main" id="{DAEAD387-57D4-3878-DA65-0464D9CFF7AC}"/>
              </a:ext>
            </a:extLst>
          </p:cNvPr>
          <p:cNvSpPr/>
          <p:nvPr/>
        </p:nvSpPr>
        <p:spPr bwMode="auto">
          <a:xfrm>
            <a:off x="9650566" y="3354306"/>
            <a:ext cx="1725872" cy="1910941"/>
          </a:xfrm>
          <a:prstGeom prst="roundRect">
            <a:avLst>
              <a:gd name="adj" fmla="val 3952"/>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600">
                <a:solidFill>
                  <a:schemeClr val="tx1"/>
                </a:solidFill>
                <a:latin typeface="Segoe UI" panose="020B0502040204020203" pitchFamily="34" charset="0"/>
                <a:cs typeface="Segoe UI" panose="020B0502040204020203" pitchFamily="34" charset="0"/>
              </a:rPr>
              <a:t>Does your organization have the necessary </a:t>
            </a:r>
            <a:r>
              <a:rPr lang="en-US" sz="1600" b="1">
                <a:solidFill>
                  <a:schemeClr val="tx1"/>
                </a:solidFill>
                <a:latin typeface="Segoe UI" panose="020B0502040204020203" pitchFamily="34" charset="0"/>
                <a:cs typeface="Segoe UI" panose="020B0502040204020203" pitchFamily="34" charset="0"/>
              </a:rPr>
              <a:t>infrastructure and resources </a:t>
            </a:r>
            <a:br>
              <a:rPr lang="en-US" sz="1600" b="1">
                <a:solidFill>
                  <a:schemeClr val="tx1"/>
                </a:solidFill>
                <a:latin typeface="Segoe UI" panose="020B0502040204020203" pitchFamily="34" charset="0"/>
                <a:cs typeface="Segoe UI" panose="020B0502040204020203" pitchFamily="34" charset="0"/>
              </a:rPr>
            </a:br>
            <a:r>
              <a:rPr lang="en-US" sz="1600">
                <a:solidFill>
                  <a:schemeClr val="tx1"/>
                </a:solidFill>
                <a:latin typeface="Segoe UI" panose="020B0502040204020203" pitchFamily="34" charset="0"/>
                <a:cs typeface="Segoe UI" panose="020B0502040204020203" pitchFamily="34" charset="0"/>
              </a:rPr>
              <a:t>to support AI initiatives?</a:t>
            </a:r>
          </a:p>
        </p:txBody>
      </p:sp>
      <p:sp>
        <p:nvSpPr>
          <p:cNvPr id="5" name="Rectangle: Rounded Corners 4">
            <a:extLst>
              <a:ext uri="{FF2B5EF4-FFF2-40B4-BE49-F238E27FC236}">
                <a16:creationId xmlns:a16="http://schemas.microsoft.com/office/drawing/2014/main" id="{49698BB4-9CCF-3797-46B3-E4F38EEC06F1}"/>
              </a:ext>
            </a:extLst>
          </p:cNvPr>
          <p:cNvSpPr/>
          <p:nvPr/>
        </p:nvSpPr>
        <p:spPr>
          <a:xfrm>
            <a:off x="896655" y="3354306"/>
            <a:ext cx="1510054" cy="1092967"/>
          </a:xfrm>
          <a:prstGeom prst="roundRect">
            <a:avLst>
              <a:gd name="adj" fmla="val 6003"/>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600">
                <a:solidFill>
                  <a:schemeClr val="tx1"/>
                </a:solidFill>
                <a:latin typeface="Segoe UI" panose="020B0502040204020203" pitchFamily="34" charset="0"/>
                <a:cs typeface="Segoe UI" panose="020B0502040204020203" pitchFamily="34" charset="0"/>
              </a:rPr>
              <a:t>What are your organization's </a:t>
            </a:r>
            <a:r>
              <a:rPr lang="en-US" sz="1600" b="1">
                <a:solidFill>
                  <a:schemeClr val="tx1"/>
                </a:solidFill>
                <a:latin typeface="Segoe UI" panose="020B0502040204020203" pitchFamily="34" charset="0"/>
                <a:cs typeface="Segoe UI" panose="020B0502040204020203" pitchFamily="34" charset="0"/>
              </a:rPr>
              <a:t>goals</a:t>
            </a:r>
            <a:r>
              <a:rPr lang="en-US" sz="1600">
                <a:solidFill>
                  <a:schemeClr val="tx1"/>
                </a:solidFill>
                <a:latin typeface="Segoe UI" panose="020B0502040204020203" pitchFamily="34" charset="0"/>
                <a:cs typeface="Segoe UI" panose="020B0502040204020203" pitchFamily="34" charset="0"/>
              </a:rPr>
              <a:t> </a:t>
            </a:r>
            <a:br>
              <a:rPr lang="en-US" sz="1600">
                <a:solidFill>
                  <a:schemeClr val="tx1"/>
                </a:solidFill>
                <a:latin typeface="Segoe UI" panose="020B0502040204020203" pitchFamily="34" charset="0"/>
                <a:cs typeface="Segoe UI" panose="020B0502040204020203" pitchFamily="34" charset="0"/>
              </a:rPr>
            </a:br>
            <a:r>
              <a:rPr lang="en-US" sz="1600">
                <a:solidFill>
                  <a:schemeClr val="tx1"/>
                </a:solidFill>
                <a:latin typeface="Segoe UI" panose="020B0502040204020203" pitchFamily="34" charset="0"/>
                <a:cs typeface="Segoe UI" panose="020B0502040204020203" pitchFamily="34" charset="0"/>
              </a:rPr>
              <a:t>for using AI?</a:t>
            </a:r>
          </a:p>
        </p:txBody>
      </p:sp>
      <p:sp>
        <p:nvSpPr>
          <p:cNvPr id="6" name="Freeform 3">
            <a:extLst>
              <a:ext uri="{FF2B5EF4-FFF2-40B4-BE49-F238E27FC236}">
                <a16:creationId xmlns:a16="http://schemas.microsoft.com/office/drawing/2014/main" id="{D838A6E9-65AD-870B-13AA-7E28BCF48E17}"/>
              </a:ext>
            </a:extLst>
          </p:cNvPr>
          <p:cNvSpPr/>
          <p:nvPr/>
        </p:nvSpPr>
        <p:spPr bwMode="auto">
          <a:xfrm>
            <a:off x="2912749" y="3354306"/>
            <a:ext cx="1932177" cy="1082695"/>
          </a:xfrm>
          <a:prstGeom prst="roundRect">
            <a:avLst>
              <a:gd name="adj" fmla="val 4772"/>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600">
                <a:solidFill>
                  <a:schemeClr val="tx1"/>
                </a:solidFill>
                <a:latin typeface="Segoe UI" panose="020B0502040204020203" pitchFamily="34" charset="0"/>
                <a:cs typeface="Segoe UI" panose="020B0502040204020203" pitchFamily="34" charset="0"/>
              </a:rPr>
              <a:t>What are your organization’s </a:t>
            </a:r>
            <a:br>
              <a:rPr lang="en-US" sz="1600">
                <a:solidFill>
                  <a:schemeClr val="tx1"/>
                </a:solidFill>
                <a:latin typeface="Segoe UI" panose="020B0502040204020203" pitchFamily="34" charset="0"/>
                <a:cs typeface="Segoe UI" panose="020B0502040204020203" pitchFamily="34" charset="0"/>
              </a:rPr>
            </a:br>
            <a:r>
              <a:rPr lang="en-US" sz="1600" b="1">
                <a:solidFill>
                  <a:schemeClr val="tx1"/>
                </a:solidFill>
                <a:latin typeface="Segoe UI" panose="020B0502040204020203" pitchFamily="34" charset="0"/>
                <a:cs typeface="Segoe UI" panose="020B0502040204020203" pitchFamily="34" charset="0"/>
              </a:rPr>
              <a:t>pain points </a:t>
            </a:r>
            <a:br>
              <a:rPr lang="en-US" sz="1600" b="1">
                <a:solidFill>
                  <a:schemeClr val="tx1"/>
                </a:solidFill>
                <a:latin typeface="Segoe UI" panose="020B0502040204020203" pitchFamily="34" charset="0"/>
                <a:cs typeface="Segoe UI" panose="020B0502040204020203" pitchFamily="34" charset="0"/>
              </a:rPr>
            </a:br>
            <a:r>
              <a:rPr lang="en-US" sz="1600">
                <a:solidFill>
                  <a:schemeClr val="tx1"/>
                </a:solidFill>
                <a:latin typeface="Segoe UI" panose="020B0502040204020203" pitchFamily="34" charset="0"/>
                <a:cs typeface="Segoe UI" panose="020B0502040204020203" pitchFamily="34" charset="0"/>
              </a:rPr>
              <a:t>that AI can address?</a:t>
            </a:r>
          </a:p>
        </p:txBody>
      </p:sp>
      <p:sp>
        <p:nvSpPr>
          <p:cNvPr id="7" name="Freeform 1">
            <a:extLst>
              <a:ext uri="{FF2B5EF4-FFF2-40B4-BE49-F238E27FC236}">
                <a16:creationId xmlns:a16="http://schemas.microsoft.com/office/drawing/2014/main" id="{6F341B43-C8A1-6761-A69D-1226CEF6A290}"/>
              </a:ext>
            </a:extLst>
          </p:cNvPr>
          <p:cNvSpPr/>
          <p:nvPr/>
        </p:nvSpPr>
        <p:spPr bwMode="auto">
          <a:xfrm>
            <a:off x="5097201" y="3354306"/>
            <a:ext cx="1997599" cy="1082695"/>
          </a:xfrm>
          <a:prstGeom prst="roundRect">
            <a:avLst>
              <a:gd name="adj" fmla="val 4362"/>
            </a:avLst>
          </a:prstGeom>
          <a:noFill/>
          <a:ln>
            <a:noFill/>
          </a:ln>
          <a:effectLst>
            <a:outerShdw blurRad="215900" dist="38100" dir="2700000" sx="103000" sy="103000" algn="tl" rotWithShape="0">
              <a:schemeClr val="accent5">
                <a:lumMod val="50000"/>
                <a:alpha val="25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lnSpc>
                <a:spcPct val="110000"/>
              </a:lnSpc>
            </a:pPr>
            <a:r>
              <a:rPr lang="en-US" sz="1600">
                <a:solidFill>
                  <a:schemeClr val="tx1"/>
                </a:solidFill>
                <a:latin typeface="Segoe UI" panose="020B0502040204020203" pitchFamily="34" charset="0"/>
                <a:cs typeface="Segoe UI" panose="020B0502040204020203" pitchFamily="34" charset="0"/>
              </a:rPr>
              <a:t>What are your organization's </a:t>
            </a:r>
            <a:r>
              <a:rPr lang="en-US" sz="1600" b="1">
                <a:solidFill>
                  <a:schemeClr val="tx1"/>
                </a:solidFill>
                <a:latin typeface="Segoe UI" panose="020B0502040204020203" pitchFamily="34" charset="0"/>
                <a:cs typeface="Segoe UI" panose="020B0502040204020203" pitchFamily="34" charset="0"/>
              </a:rPr>
              <a:t>current capabilities</a:t>
            </a:r>
            <a:r>
              <a:rPr lang="en-US" sz="1600">
                <a:solidFill>
                  <a:schemeClr val="tx1"/>
                </a:solidFill>
                <a:latin typeface="Segoe UI" panose="020B0502040204020203" pitchFamily="34" charset="0"/>
                <a:cs typeface="Segoe UI" panose="020B0502040204020203" pitchFamily="34" charset="0"/>
              </a:rPr>
              <a:t> in terms of AI?</a:t>
            </a:r>
          </a:p>
        </p:txBody>
      </p:sp>
      <p:sp>
        <p:nvSpPr>
          <p:cNvPr id="8" name="Graphic 41">
            <a:extLst>
              <a:ext uri="{FF2B5EF4-FFF2-40B4-BE49-F238E27FC236}">
                <a16:creationId xmlns:a16="http://schemas.microsoft.com/office/drawing/2014/main" id="{AF94D821-64DE-53C3-3ABA-C4EC715D28FE}"/>
              </a:ext>
            </a:extLst>
          </p:cNvPr>
          <p:cNvSpPr/>
          <p:nvPr/>
        </p:nvSpPr>
        <p:spPr>
          <a:xfrm>
            <a:off x="1381095" y="2570401"/>
            <a:ext cx="541174" cy="541174"/>
          </a:xfrm>
          <a:custGeom>
            <a:avLst/>
            <a:gdLst>
              <a:gd name="connsiteX0" fmla="*/ 457244 w 462330"/>
              <a:gd name="connsiteY0" fmla="*/ 110497 h 462330"/>
              <a:gd name="connsiteX1" fmla="*/ 457228 w 462330"/>
              <a:gd name="connsiteY1" fmla="*/ 85978 h 462330"/>
              <a:gd name="connsiteX2" fmla="*/ 444993 w 462330"/>
              <a:gd name="connsiteY2" fmla="*/ 80908 h 462330"/>
              <a:gd name="connsiteX3" fmla="*/ 381422 w 462330"/>
              <a:gd name="connsiteY3" fmla="*/ 80908 h 462330"/>
              <a:gd name="connsiteX4" fmla="*/ 381422 w 462330"/>
              <a:gd name="connsiteY4" fmla="*/ 17338 h 462330"/>
              <a:gd name="connsiteX5" fmla="*/ 364069 w 462330"/>
              <a:gd name="connsiteY5" fmla="*/ 15 h 462330"/>
              <a:gd name="connsiteX6" fmla="*/ 351833 w 462330"/>
              <a:gd name="connsiteY6" fmla="*/ 5086 h 462330"/>
              <a:gd name="connsiteX7" fmla="*/ 294042 w 462330"/>
              <a:gd name="connsiteY7" fmla="*/ 62877 h 462330"/>
              <a:gd name="connsiteX8" fmla="*/ 288956 w 462330"/>
              <a:gd name="connsiteY8" fmla="*/ 75129 h 462330"/>
              <a:gd name="connsiteX9" fmla="*/ 288956 w 462330"/>
              <a:gd name="connsiteY9" fmla="*/ 140687 h 462330"/>
              <a:gd name="connsiteX10" fmla="*/ 243139 w 462330"/>
              <a:gd name="connsiteY10" fmla="*/ 186504 h 462330"/>
              <a:gd name="connsiteX11" fmla="*/ 186513 w 462330"/>
              <a:gd name="connsiteY11" fmla="*/ 219191 h 462330"/>
              <a:gd name="connsiteX12" fmla="*/ 219200 w 462330"/>
              <a:gd name="connsiteY12" fmla="*/ 275817 h 462330"/>
              <a:gd name="connsiteX13" fmla="*/ 275826 w 462330"/>
              <a:gd name="connsiteY13" fmla="*/ 243130 h 462330"/>
              <a:gd name="connsiteX14" fmla="*/ 275826 w 462330"/>
              <a:gd name="connsiteY14" fmla="*/ 219191 h 462330"/>
              <a:gd name="connsiteX15" fmla="*/ 321643 w 462330"/>
              <a:gd name="connsiteY15" fmla="*/ 173374 h 462330"/>
              <a:gd name="connsiteX16" fmla="*/ 387201 w 462330"/>
              <a:gd name="connsiteY16" fmla="*/ 173374 h 462330"/>
              <a:gd name="connsiteX17" fmla="*/ 399453 w 462330"/>
              <a:gd name="connsiteY17" fmla="*/ 168288 h 462330"/>
              <a:gd name="connsiteX18" fmla="*/ 457244 w 462330"/>
              <a:gd name="connsiteY18" fmla="*/ 110497 h 462330"/>
              <a:gd name="connsiteX19" fmla="*/ 231165 w 462330"/>
              <a:gd name="connsiteY19" fmla="*/ 0 h 462330"/>
              <a:gd name="connsiteX20" fmla="*/ 310316 w 462330"/>
              <a:gd name="connsiteY20" fmla="*/ 13893 h 462330"/>
              <a:gd name="connsiteX21" fmla="*/ 277675 w 462330"/>
              <a:gd name="connsiteY21" fmla="*/ 46534 h 462330"/>
              <a:gd name="connsiteX22" fmla="*/ 273722 w 462330"/>
              <a:gd name="connsiteY22" fmla="*/ 51157 h 462330"/>
              <a:gd name="connsiteX23" fmla="*/ 51235 w 462330"/>
              <a:gd name="connsiteY23" fmla="*/ 188631 h 462330"/>
              <a:gd name="connsiteX24" fmla="*/ 188709 w 462330"/>
              <a:gd name="connsiteY24" fmla="*/ 411118 h 462330"/>
              <a:gd name="connsiteX25" fmla="*/ 411196 w 462330"/>
              <a:gd name="connsiteY25" fmla="*/ 273644 h 462330"/>
              <a:gd name="connsiteX26" fmla="*/ 411196 w 462330"/>
              <a:gd name="connsiteY26" fmla="*/ 188631 h 462330"/>
              <a:gd name="connsiteX27" fmla="*/ 415820 w 462330"/>
              <a:gd name="connsiteY27" fmla="*/ 184632 h 462330"/>
              <a:gd name="connsiteX28" fmla="*/ 448414 w 462330"/>
              <a:gd name="connsiteY28" fmla="*/ 152037 h 462330"/>
              <a:gd name="connsiteX29" fmla="*/ 462330 w 462330"/>
              <a:gd name="connsiteY29" fmla="*/ 231165 h 462330"/>
              <a:gd name="connsiteX30" fmla="*/ 231165 w 462330"/>
              <a:gd name="connsiteY30" fmla="*/ 462330 h 462330"/>
              <a:gd name="connsiteX31" fmla="*/ 0 w 462330"/>
              <a:gd name="connsiteY31" fmla="*/ 231165 h 462330"/>
              <a:gd name="connsiteX32" fmla="*/ 231165 w 462330"/>
              <a:gd name="connsiteY32" fmla="*/ 0 h 462330"/>
              <a:gd name="connsiteX33" fmla="*/ 231165 w 462330"/>
              <a:gd name="connsiteY33" fmla="*/ 92466 h 462330"/>
              <a:gd name="connsiteX34" fmla="*/ 265840 w 462330"/>
              <a:gd name="connsiteY34" fmla="*/ 96835 h 462330"/>
              <a:gd name="connsiteX35" fmla="*/ 265840 w 462330"/>
              <a:gd name="connsiteY35" fmla="*/ 131094 h 462330"/>
              <a:gd name="connsiteX36" fmla="*/ 256270 w 462330"/>
              <a:gd name="connsiteY36" fmla="*/ 140687 h 462330"/>
              <a:gd name="connsiteX37" fmla="*/ 255137 w 462330"/>
              <a:gd name="connsiteY37" fmla="*/ 141843 h 462330"/>
              <a:gd name="connsiteX38" fmla="*/ 141825 w 462330"/>
              <a:gd name="connsiteY38" fmla="*/ 207443 h 462330"/>
              <a:gd name="connsiteX39" fmla="*/ 138699 w 462330"/>
              <a:gd name="connsiteY39" fmla="*/ 231165 h 462330"/>
              <a:gd name="connsiteX40" fmla="*/ 231230 w 462330"/>
              <a:gd name="connsiteY40" fmla="*/ 323566 h 462330"/>
              <a:gd name="connsiteX41" fmla="*/ 323631 w 462330"/>
              <a:gd name="connsiteY41" fmla="*/ 231033 h 462330"/>
              <a:gd name="connsiteX42" fmla="*/ 320487 w 462330"/>
              <a:gd name="connsiteY42" fmla="*/ 207193 h 462330"/>
              <a:gd name="connsiteX43" fmla="*/ 321643 w 462330"/>
              <a:gd name="connsiteY43" fmla="*/ 206061 h 462330"/>
              <a:gd name="connsiteX44" fmla="*/ 331213 w 462330"/>
              <a:gd name="connsiteY44" fmla="*/ 196490 h 462330"/>
              <a:gd name="connsiteX45" fmla="*/ 365495 w 462330"/>
              <a:gd name="connsiteY45" fmla="*/ 196490 h 462330"/>
              <a:gd name="connsiteX46" fmla="*/ 265874 w 462330"/>
              <a:gd name="connsiteY46" fmla="*/ 365461 h 462330"/>
              <a:gd name="connsiteX47" fmla="*/ 96906 w 462330"/>
              <a:gd name="connsiteY47" fmla="*/ 265840 h 462330"/>
              <a:gd name="connsiteX48" fmla="*/ 196525 w 462330"/>
              <a:gd name="connsiteY48" fmla="*/ 96871 h 462330"/>
              <a:gd name="connsiteX49" fmla="*/ 231165 w 462330"/>
              <a:gd name="connsiteY49" fmla="*/ 92466 h 4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62330" h="462330">
                <a:moveTo>
                  <a:pt x="457244" y="110497"/>
                </a:moveTo>
                <a:cubicBezTo>
                  <a:pt x="464011" y="103722"/>
                  <a:pt x="464004" y="92745"/>
                  <a:pt x="457228" y="85978"/>
                </a:cubicBezTo>
                <a:cubicBezTo>
                  <a:pt x="453983" y="82735"/>
                  <a:pt x="449581" y="80912"/>
                  <a:pt x="444993" y="80908"/>
                </a:cubicBezTo>
                <a:lnTo>
                  <a:pt x="381422" y="80908"/>
                </a:lnTo>
                <a:lnTo>
                  <a:pt x="381422" y="17338"/>
                </a:lnTo>
                <a:cubicBezTo>
                  <a:pt x="381413" y="7762"/>
                  <a:pt x="373646" y="7"/>
                  <a:pt x="364069" y="15"/>
                </a:cubicBezTo>
                <a:cubicBezTo>
                  <a:pt x="359480" y="19"/>
                  <a:pt x="355081" y="1843"/>
                  <a:pt x="351833" y="5086"/>
                </a:cubicBezTo>
                <a:lnTo>
                  <a:pt x="294042" y="62877"/>
                </a:lnTo>
                <a:cubicBezTo>
                  <a:pt x="290789" y="66125"/>
                  <a:pt x="288961" y="70532"/>
                  <a:pt x="288956" y="75129"/>
                </a:cubicBezTo>
                <a:lnTo>
                  <a:pt x="288956" y="140687"/>
                </a:lnTo>
                <a:lnTo>
                  <a:pt x="243139" y="186504"/>
                </a:lnTo>
                <a:cubicBezTo>
                  <a:pt x="218476" y="179893"/>
                  <a:pt x="193124" y="194528"/>
                  <a:pt x="186513" y="219191"/>
                </a:cubicBezTo>
                <a:cubicBezTo>
                  <a:pt x="179902" y="243854"/>
                  <a:pt x="194537" y="269206"/>
                  <a:pt x="219200" y="275817"/>
                </a:cubicBezTo>
                <a:cubicBezTo>
                  <a:pt x="243863" y="282428"/>
                  <a:pt x="269215" y="267793"/>
                  <a:pt x="275826" y="243130"/>
                </a:cubicBezTo>
                <a:cubicBezTo>
                  <a:pt x="277927" y="235289"/>
                  <a:pt x="277927" y="227032"/>
                  <a:pt x="275826" y="219191"/>
                </a:cubicBezTo>
                <a:lnTo>
                  <a:pt x="321643" y="173374"/>
                </a:lnTo>
                <a:lnTo>
                  <a:pt x="387201" y="173374"/>
                </a:lnTo>
                <a:cubicBezTo>
                  <a:pt x="391797" y="173370"/>
                  <a:pt x="396205" y="171541"/>
                  <a:pt x="399453" y="168288"/>
                </a:cubicBezTo>
                <a:lnTo>
                  <a:pt x="457244" y="110497"/>
                </a:lnTo>
                <a:close/>
                <a:moveTo>
                  <a:pt x="231165" y="0"/>
                </a:moveTo>
                <a:cubicBezTo>
                  <a:pt x="258158" y="-35"/>
                  <a:pt x="284948" y="4667"/>
                  <a:pt x="310316" y="13893"/>
                </a:cubicBezTo>
                <a:lnTo>
                  <a:pt x="277675" y="46534"/>
                </a:lnTo>
                <a:cubicBezTo>
                  <a:pt x="276242" y="47967"/>
                  <a:pt x="274901" y="49539"/>
                  <a:pt x="273722" y="51157"/>
                </a:cubicBezTo>
                <a:cubicBezTo>
                  <a:pt x="174322" y="27681"/>
                  <a:pt x="74711" y="89230"/>
                  <a:pt x="51235" y="188631"/>
                </a:cubicBezTo>
                <a:cubicBezTo>
                  <a:pt x="27759" y="288032"/>
                  <a:pt x="89308" y="387643"/>
                  <a:pt x="188709" y="411118"/>
                </a:cubicBezTo>
                <a:cubicBezTo>
                  <a:pt x="288110" y="434595"/>
                  <a:pt x="387721" y="373045"/>
                  <a:pt x="411196" y="273644"/>
                </a:cubicBezTo>
                <a:cubicBezTo>
                  <a:pt x="417798" y="245692"/>
                  <a:pt x="417798" y="216583"/>
                  <a:pt x="411196" y="188631"/>
                </a:cubicBezTo>
                <a:cubicBezTo>
                  <a:pt x="412814" y="187429"/>
                  <a:pt x="414363" y="186088"/>
                  <a:pt x="415820" y="184632"/>
                </a:cubicBezTo>
                <a:lnTo>
                  <a:pt x="448414" y="152037"/>
                </a:lnTo>
                <a:cubicBezTo>
                  <a:pt x="457644" y="177397"/>
                  <a:pt x="462353" y="204179"/>
                  <a:pt x="462330" y="231165"/>
                </a:cubicBezTo>
                <a:cubicBezTo>
                  <a:pt x="462330" y="358838"/>
                  <a:pt x="358837" y="462330"/>
                  <a:pt x="231165" y="462330"/>
                </a:cubicBezTo>
                <a:cubicBezTo>
                  <a:pt x="103493" y="462330"/>
                  <a:pt x="0" y="358838"/>
                  <a:pt x="0" y="231165"/>
                </a:cubicBezTo>
                <a:cubicBezTo>
                  <a:pt x="0" y="103493"/>
                  <a:pt x="103493" y="0"/>
                  <a:pt x="231165" y="0"/>
                </a:cubicBezTo>
                <a:close/>
                <a:moveTo>
                  <a:pt x="231165" y="92466"/>
                </a:moveTo>
                <a:cubicBezTo>
                  <a:pt x="243139" y="92466"/>
                  <a:pt x="254744" y="93992"/>
                  <a:pt x="265840" y="96835"/>
                </a:cubicBezTo>
                <a:lnTo>
                  <a:pt x="265840" y="131094"/>
                </a:lnTo>
                <a:lnTo>
                  <a:pt x="256270" y="140687"/>
                </a:lnTo>
                <a:cubicBezTo>
                  <a:pt x="255886" y="141066"/>
                  <a:pt x="255507" y="141451"/>
                  <a:pt x="255137" y="141843"/>
                </a:cubicBezTo>
                <a:cubicBezTo>
                  <a:pt x="205732" y="128668"/>
                  <a:pt x="155001" y="158037"/>
                  <a:pt x="141825" y="207443"/>
                </a:cubicBezTo>
                <a:cubicBezTo>
                  <a:pt x="139761" y="215180"/>
                  <a:pt x="138711" y="223155"/>
                  <a:pt x="138699" y="231165"/>
                </a:cubicBezTo>
                <a:cubicBezTo>
                  <a:pt x="138735" y="282232"/>
                  <a:pt x="180163" y="323601"/>
                  <a:pt x="231230" y="323566"/>
                </a:cubicBezTo>
                <a:cubicBezTo>
                  <a:pt x="282299" y="323529"/>
                  <a:pt x="323668" y="282102"/>
                  <a:pt x="323631" y="231033"/>
                </a:cubicBezTo>
                <a:cubicBezTo>
                  <a:pt x="323626" y="222984"/>
                  <a:pt x="322568" y="214970"/>
                  <a:pt x="320487" y="207193"/>
                </a:cubicBezTo>
                <a:lnTo>
                  <a:pt x="321643" y="206061"/>
                </a:lnTo>
                <a:lnTo>
                  <a:pt x="331213" y="196490"/>
                </a:lnTo>
                <a:lnTo>
                  <a:pt x="365495" y="196490"/>
                </a:lnTo>
                <a:cubicBezTo>
                  <a:pt x="384645" y="270660"/>
                  <a:pt x="340044" y="346309"/>
                  <a:pt x="265874" y="365461"/>
                </a:cubicBezTo>
                <a:cubicBezTo>
                  <a:pt x="191705" y="384610"/>
                  <a:pt x="116056" y="340009"/>
                  <a:pt x="96906" y="265840"/>
                </a:cubicBezTo>
                <a:cubicBezTo>
                  <a:pt x="77755" y="191671"/>
                  <a:pt x="122357" y="116021"/>
                  <a:pt x="196525" y="96871"/>
                </a:cubicBezTo>
                <a:cubicBezTo>
                  <a:pt x="207840" y="93949"/>
                  <a:pt x="219480" y="92469"/>
                  <a:pt x="231165" y="92466"/>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Variable Display Semibold" pitchFamily="2" charset="0"/>
              <a:cs typeface="Segoe UI" pitchFamily="34" charset="0"/>
            </a:endParaRPr>
          </a:p>
        </p:txBody>
      </p:sp>
      <p:sp>
        <p:nvSpPr>
          <p:cNvPr id="9" name="Graphic 67">
            <a:extLst>
              <a:ext uri="{FF2B5EF4-FFF2-40B4-BE49-F238E27FC236}">
                <a16:creationId xmlns:a16="http://schemas.microsoft.com/office/drawing/2014/main" id="{CC8ADD83-EB6C-0F25-35BC-4028E6423FF9}"/>
              </a:ext>
            </a:extLst>
          </p:cNvPr>
          <p:cNvSpPr/>
          <p:nvPr/>
        </p:nvSpPr>
        <p:spPr>
          <a:xfrm>
            <a:off x="3600409" y="2565978"/>
            <a:ext cx="556856" cy="550020"/>
          </a:xfrm>
          <a:custGeom>
            <a:avLst/>
            <a:gdLst>
              <a:gd name="connsiteX0" fmla="*/ 25784 w 509032"/>
              <a:gd name="connsiteY0" fmla="*/ 0 h 502783"/>
              <a:gd name="connsiteX1" fmla="*/ 0 w 509032"/>
              <a:gd name="connsiteY1" fmla="*/ 25784 h 502783"/>
              <a:gd name="connsiteX2" fmla="*/ 0 w 509032"/>
              <a:gd name="connsiteY2" fmla="*/ 167594 h 502783"/>
              <a:gd name="connsiteX3" fmla="*/ 44090 w 509032"/>
              <a:gd name="connsiteY3" fmla="*/ 279419 h 502783"/>
              <a:gd name="connsiteX4" fmla="*/ 128919 w 509032"/>
              <a:gd name="connsiteY4" fmla="*/ 320466 h 502783"/>
              <a:gd name="connsiteX5" fmla="*/ 128919 w 509032"/>
              <a:gd name="connsiteY5" fmla="*/ 341635 h 502783"/>
              <a:gd name="connsiteX6" fmla="*/ 290067 w 509032"/>
              <a:gd name="connsiteY6" fmla="*/ 502783 h 502783"/>
              <a:gd name="connsiteX7" fmla="*/ 451216 w 509032"/>
              <a:gd name="connsiteY7" fmla="*/ 341635 h 502783"/>
              <a:gd name="connsiteX8" fmla="*/ 451216 w 509032"/>
              <a:gd name="connsiteY8" fmla="*/ 324695 h 502783"/>
              <a:gd name="connsiteX9" fmla="*/ 504859 w 509032"/>
              <a:gd name="connsiteY9" fmla="*/ 218943 h 502783"/>
              <a:gd name="connsiteX10" fmla="*/ 425432 w 509032"/>
              <a:gd name="connsiteY10" fmla="*/ 161148 h 502783"/>
              <a:gd name="connsiteX11" fmla="*/ 341581 w 509032"/>
              <a:gd name="connsiteY11" fmla="*/ 244891 h 502783"/>
              <a:gd name="connsiteX12" fmla="*/ 399648 w 509032"/>
              <a:gd name="connsiteY12" fmla="*/ 324695 h 502783"/>
              <a:gd name="connsiteX13" fmla="*/ 399648 w 509032"/>
              <a:gd name="connsiteY13" fmla="*/ 341635 h 502783"/>
              <a:gd name="connsiteX14" fmla="*/ 290067 w 509032"/>
              <a:gd name="connsiteY14" fmla="*/ 451216 h 502783"/>
              <a:gd name="connsiteX15" fmla="*/ 180486 w 509032"/>
              <a:gd name="connsiteY15" fmla="*/ 341635 h 502783"/>
              <a:gd name="connsiteX16" fmla="*/ 180486 w 509032"/>
              <a:gd name="connsiteY16" fmla="*/ 320466 h 502783"/>
              <a:gd name="connsiteX17" fmla="*/ 265315 w 509032"/>
              <a:gd name="connsiteY17" fmla="*/ 279419 h 502783"/>
              <a:gd name="connsiteX18" fmla="*/ 309405 w 509032"/>
              <a:gd name="connsiteY18" fmla="*/ 167594 h 502783"/>
              <a:gd name="connsiteX19" fmla="*/ 309405 w 509032"/>
              <a:gd name="connsiteY19" fmla="*/ 25784 h 502783"/>
              <a:gd name="connsiteX20" fmla="*/ 283621 w 509032"/>
              <a:gd name="connsiteY20" fmla="*/ 0 h 502783"/>
              <a:gd name="connsiteX21" fmla="*/ 232105 w 509032"/>
              <a:gd name="connsiteY21" fmla="*/ 0 h 502783"/>
              <a:gd name="connsiteX22" fmla="*/ 206322 w 509032"/>
              <a:gd name="connsiteY22" fmla="*/ 25784 h 502783"/>
              <a:gd name="connsiteX23" fmla="*/ 232105 w 509032"/>
              <a:gd name="connsiteY23" fmla="*/ 51568 h 502783"/>
              <a:gd name="connsiteX24" fmla="*/ 257838 w 509032"/>
              <a:gd name="connsiteY24" fmla="*/ 51568 h 502783"/>
              <a:gd name="connsiteX25" fmla="*/ 257838 w 509032"/>
              <a:gd name="connsiteY25" fmla="*/ 167594 h 502783"/>
              <a:gd name="connsiteX26" fmla="*/ 229089 w 509032"/>
              <a:gd name="connsiteY26" fmla="*/ 242702 h 502783"/>
              <a:gd name="connsiteX27" fmla="*/ 154703 w 509032"/>
              <a:gd name="connsiteY27" fmla="*/ 270729 h 502783"/>
              <a:gd name="connsiteX28" fmla="*/ 80316 w 509032"/>
              <a:gd name="connsiteY28" fmla="*/ 242702 h 502783"/>
              <a:gd name="connsiteX29" fmla="*/ 51568 w 509032"/>
              <a:gd name="connsiteY29" fmla="*/ 167594 h 502783"/>
              <a:gd name="connsiteX30" fmla="*/ 51568 w 509032"/>
              <a:gd name="connsiteY30" fmla="*/ 51568 h 502783"/>
              <a:gd name="connsiteX31" fmla="*/ 77351 w 509032"/>
              <a:gd name="connsiteY31" fmla="*/ 51568 h 502783"/>
              <a:gd name="connsiteX32" fmla="*/ 103135 w 509032"/>
              <a:gd name="connsiteY32" fmla="*/ 25784 h 502783"/>
              <a:gd name="connsiteX33" fmla="*/ 77351 w 509032"/>
              <a:gd name="connsiteY33" fmla="*/ 0 h 502783"/>
              <a:gd name="connsiteX34" fmla="*/ 25784 w 509032"/>
              <a:gd name="connsiteY34" fmla="*/ 0 h 502783"/>
              <a:gd name="connsiteX35" fmla="*/ 425432 w 509032"/>
              <a:gd name="connsiteY35" fmla="*/ 212716 h 502783"/>
              <a:gd name="connsiteX36" fmla="*/ 457662 w 509032"/>
              <a:gd name="connsiteY36" fmla="*/ 244946 h 502783"/>
              <a:gd name="connsiteX37" fmla="*/ 425432 w 509032"/>
              <a:gd name="connsiteY37" fmla="*/ 277175 h 502783"/>
              <a:gd name="connsiteX38" fmla="*/ 393202 w 509032"/>
              <a:gd name="connsiteY38" fmla="*/ 244946 h 502783"/>
              <a:gd name="connsiteX39" fmla="*/ 425432 w 509032"/>
              <a:gd name="connsiteY39" fmla="*/ 212716 h 50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09032" h="502783">
                <a:moveTo>
                  <a:pt x="25784" y="0"/>
                </a:moveTo>
                <a:cubicBezTo>
                  <a:pt x="11544" y="0"/>
                  <a:pt x="0" y="11544"/>
                  <a:pt x="0" y="25784"/>
                </a:cubicBezTo>
                <a:lnTo>
                  <a:pt x="0" y="167594"/>
                </a:lnTo>
                <a:cubicBezTo>
                  <a:pt x="0" y="212484"/>
                  <a:pt x="15831" y="251546"/>
                  <a:pt x="44090" y="279419"/>
                </a:cubicBezTo>
                <a:cubicBezTo>
                  <a:pt x="66599" y="301593"/>
                  <a:pt x="95916" y="315670"/>
                  <a:pt x="128919" y="320466"/>
                </a:cubicBezTo>
                <a:lnTo>
                  <a:pt x="128919" y="341635"/>
                </a:lnTo>
                <a:cubicBezTo>
                  <a:pt x="128919" y="430635"/>
                  <a:pt x="201067" y="502783"/>
                  <a:pt x="290067" y="502783"/>
                </a:cubicBezTo>
                <a:cubicBezTo>
                  <a:pt x="379068" y="502783"/>
                  <a:pt x="451216" y="430635"/>
                  <a:pt x="451216" y="341635"/>
                </a:cubicBezTo>
                <a:lnTo>
                  <a:pt x="451216" y="324695"/>
                </a:lnTo>
                <a:cubicBezTo>
                  <a:pt x="495231" y="310305"/>
                  <a:pt x="519249" y="262958"/>
                  <a:pt x="504859" y="218943"/>
                </a:cubicBezTo>
                <a:cubicBezTo>
                  <a:pt x="493620" y="184563"/>
                  <a:pt x="461601" y="161265"/>
                  <a:pt x="425432" y="161148"/>
                </a:cubicBezTo>
                <a:cubicBezTo>
                  <a:pt x="379153" y="161119"/>
                  <a:pt x="341611" y="198612"/>
                  <a:pt x="341581" y="244891"/>
                </a:cubicBezTo>
                <a:cubicBezTo>
                  <a:pt x="341557" y="281278"/>
                  <a:pt x="365018" y="313523"/>
                  <a:pt x="399648" y="324695"/>
                </a:cubicBezTo>
                <a:lnTo>
                  <a:pt x="399648" y="341635"/>
                </a:lnTo>
                <a:cubicBezTo>
                  <a:pt x="399648" y="402154"/>
                  <a:pt x="350587" y="451216"/>
                  <a:pt x="290067" y="451216"/>
                </a:cubicBezTo>
                <a:cubicBezTo>
                  <a:pt x="229548" y="451216"/>
                  <a:pt x="180486" y="402154"/>
                  <a:pt x="180486" y="341635"/>
                </a:cubicBezTo>
                <a:lnTo>
                  <a:pt x="180486" y="320466"/>
                </a:lnTo>
                <a:cubicBezTo>
                  <a:pt x="213489" y="315670"/>
                  <a:pt x="242806" y="301593"/>
                  <a:pt x="265315" y="279419"/>
                </a:cubicBezTo>
                <a:cubicBezTo>
                  <a:pt x="293548" y="251572"/>
                  <a:pt x="309405" y="212484"/>
                  <a:pt x="309405" y="167594"/>
                </a:cubicBezTo>
                <a:lnTo>
                  <a:pt x="309405" y="25784"/>
                </a:lnTo>
                <a:cubicBezTo>
                  <a:pt x="309405" y="11544"/>
                  <a:pt x="297862" y="0"/>
                  <a:pt x="283621" y="0"/>
                </a:cubicBezTo>
                <a:lnTo>
                  <a:pt x="232105" y="0"/>
                </a:lnTo>
                <a:cubicBezTo>
                  <a:pt x="217865" y="0"/>
                  <a:pt x="206322" y="11544"/>
                  <a:pt x="206322" y="25784"/>
                </a:cubicBezTo>
                <a:cubicBezTo>
                  <a:pt x="206322" y="40024"/>
                  <a:pt x="217865" y="51568"/>
                  <a:pt x="232105" y="51568"/>
                </a:cubicBezTo>
                <a:lnTo>
                  <a:pt x="257838" y="51568"/>
                </a:lnTo>
                <a:lnTo>
                  <a:pt x="257838" y="167594"/>
                </a:lnTo>
                <a:cubicBezTo>
                  <a:pt x="257838" y="200056"/>
                  <a:pt x="246596" y="225453"/>
                  <a:pt x="229089" y="242702"/>
                </a:cubicBezTo>
                <a:cubicBezTo>
                  <a:pt x="211556" y="260003"/>
                  <a:pt x="186030" y="270729"/>
                  <a:pt x="154703" y="270729"/>
                </a:cubicBezTo>
                <a:cubicBezTo>
                  <a:pt x="123349" y="270729"/>
                  <a:pt x="97875" y="260003"/>
                  <a:pt x="80316" y="242702"/>
                </a:cubicBezTo>
                <a:cubicBezTo>
                  <a:pt x="62783" y="225427"/>
                  <a:pt x="51568" y="200056"/>
                  <a:pt x="51568" y="167594"/>
                </a:cubicBezTo>
                <a:lnTo>
                  <a:pt x="51568" y="51568"/>
                </a:lnTo>
                <a:lnTo>
                  <a:pt x="77351" y="51568"/>
                </a:lnTo>
                <a:cubicBezTo>
                  <a:pt x="91591" y="51568"/>
                  <a:pt x="103135" y="40024"/>
                  <a:pt x="103135" y="25784"/>
                </a:cubicBezTo>
                <a:cubicBezTo>
                  <a:pt x="103135" y="11544"/>
                  <a:pt x="91591" y="0"/>
                  <a:pt x="77351" y="0"/>
                </a:cubicBezTo>
                <a:lnTo>
                  <a:pt x="25784" y="0"/>
                </a:lnTo>
                <a:close/>
                <a:moveTo>
                  <a:pt x="425432" y="212716"/>
                </a:moveTo>
                <a:cubicBezTo>
                  <a:pt x="443233" y="212716"/>
                  <a:pt x="457662" y="227145"/>
                  <a:pt x="457662" y="244946"/>
                </a:cubicBezTo>
                <a:cubicBezTo>
                  <a:pt x="457662" y="262747"/>
                  <a:pt x="443233" y="277175"/>
                  <a:pt x="425432" y="277175"/>
                </a:cubicBezTo>
                <a:cubicBezTo>
                  <a:pt x="407631" y="277175"/>
                  <a:pt x="393202" y="262747"/>
                  <a:pt x="393202" y="244946"/>
                </a:cubicBezTo>
                <a:cubicBezTo>
                  <a:pt x="393202" y="227145"/>
                  <a:pt x="407631" y="212716"/>
                  <a:pt x="425432" y="212716"/>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Variable Display Semibold" pitchFamily="2" charset="0"/>
              <a:cs typeface="Segoe UI" pitchFamily="34" charset="0"/>
            </a:endParaRPr>
          </a:p>
        </p:txBody>
      </p:sp>
      <p:sp>
        <p:nvSpPr>
          <p:cNvPr id="10" name="Graphic 70">
            <a:extLst>
              <a:ext uri="{FF2B5EF4-FFF2-40B4-BE49-F238E27FC236}">
                <a16:creationId xmlns:a16="http://schemas.microsoft.com/office/drawing/2014/main" id="{ABA72BB2-39A8-E46E-40BD-69C8DE4214DE}"/>
              </a:ext>
            </a:extLst>
          </p:cNvPr>
          <p:cNvSpPr/>
          <p:nvPr/>
        </p:nvSpPr>
        <p:spPr>
          <a:xfrm>
            <a:off x="5879531" y="2570401"/>
            <a:ext cx="432938" cy="541174"/>
          </a:xfrm>
          <a:custGeom>
            <a:avLst/>
            <a:gdLst>
              <a:gd name="connsiteX0" fmla="*/ 225386 w 369864"/>
              <a:gd name="connsiteY0" fmla="*/ 0 h 462330"/>
              <a:gd name="connsiteX1" fmla="*/ 144478 w 369864"/>
              <a:gd name="connsiteY1" fmla="*/ 0 h 462330"/>
              <a:gd name="connsiteX2" fmla="*/ 92790 w 369864"/>
              <a:gd name="connsiteY2" fmla="*/ 46233 h 462330"/>
              <a:gd name="connsiteX3" fmla="*/ 52012 w 369864"/>
              <a:gd name="connsiteY3" fmla="*/ 46233 h 462330"/>
              <a:gd name="connsiteX4" fmla="*/ 0 w 369864"/>
              <a:gd name="connsiteY4" fmla="*/ 98245 h 462330"/>
              <a:gd name="connsiteX5" fmla="*/ 0 w 369864"/>
              <a:gd name="connsiteY5" fmla="*/ 410318 h 462330"/>
              <a:gd name="connsiteX6" fmla="*/ 52012 w 369864"/>
              <a:gd name="connsiteY6" fmla="*/ 462330 h 462330"/>
              <a:gd name="connsiteX7" fmla="*/ 317852 w 369864"/>
              <a:gd name="connsiteY7" fmla="*/ 462330 h 462330"/>
              <a:gd name="connsiteX8" fmla="*/ 369864 w 369864"/>
              <a:gd name="connsiteY8" fmla="*/ 410318 h 462330"/>
              <a:gd name="connsiteX9" fmla="*/ 369864 w 369864"/>
              <a:gd name="connsiteY9" fmla="*/ 98245 h 462330"/>
              <a:gd name="connsiteX10" fmla="*/ 317852 w 369864"/>
              <a:gd name="connsiteY10" fmla="*/ 46233 h 462330"/>
              <a:gd name="connsiteX11" fmla="*/ 277074 w 369864"/>
              <a:gd name="connsiteY11" fmla="*/ 46233 h 462330"/>
              <a:gd name="connsiteX12" fmla="*/ 225386 w 369864"/>
              <a:gd name="connsiteY12" fmla="*/ 0 h 462330"/>
              <a:gd name="connsiteX13" fmla="*/ 144478 w 369864"/>
              <a:gd name="connsiteY13" fmla="*/ 34675 h 462330"/>
              <a:gd name="connsiteX14" fmla="*/ 225386 w 369864"/>
              <a:gd name="connsiteY14" fmla="*/ 34675 h 462330"/>
              <a:gd name="connsiteX15" fmla="*/ 242723 w 369864"/>
              <a:gd name="connsiteY15" fmla="*/ 52012 h 462330"/>
              <a:gd name="connsiteX16" fmla="*/ 225386 w 369864"/>
              <a:gd name="connsiteY16" fmla="*/ 69350 h 462330"/>
              <a:gd name="connsiteX17" fmla="*/ 144478 w 369864"/>
              <a:gd name="connsiteY17" fmla="*/ 69350 h 462330"/>
              <a:gd name="connsiteX18" fmla="*/ 127141 w 369864"/>
              <a:gd name="connsiteY18" fmla="*/ 52012 h 462330"/>
              <a:gd name="connsiteX19" fmla="*/ 144478 w 369864"/>
              <a:gd name="connsiteY19" fmla="*/ 34675 h 462330"/>
              <a:gd name="connsiteX20" fmla="*/ 306987 w 369864"/>
              <a:gd name="connsiteY20" fmla="*/ 155343 h 462330"/>
              <a:gd name="connsiteX21" fmla="*/ 306987 w 369864"/>
              <a:gd name="connsiteY21" fmla="*/ 179846 h 462330"/>
              <a:gd name="connsiteX22" fmla="*/ 260754 w 369864"/>
              <a:gd name="connsiteY22" fmla="*/ 226079 h 462330"/>
              <a:gd name="connsiteX23" fmla="*/ 236251 w 369864"/>
              <a:gd name="connsiteY23" fmla="*/ 226079 h 462330"/>
              <a:gd name="connsiteX24" fmla="*/ 213134 w 369864"/>
              <a:gd name="connsiteY24" fmla="*/ 202963 h 462330"/>
              <a:gd name="connsiteX25" fmla="*/ 212270 w 369864"/>
              <a:gd name="connsiteY25" fmla="*/ 178459 h 462330"/>
              <a:gd name="connsiteX26" fmla="*/ 236773 w 369864"/>
              <a:gd name="connsiteY26" fmla="*/ 177594 h 462330"/>
              <a:gd name="connsiteX27" fmla="*/ 237638 w 369864"/>
              <a:gd name="connsiteY27" fmla="*/ 178459 h 462330"/>
              <a:gd name="connsiteX28" fmla="*/ 248502 w 369864"/>
              <a:gd name="connsiteY28" fmla="*/ 189324 h 462330"/>
              <a:gd name="connsiteX29" fmla="*/ 282484 w 369864"/>
              <a:gd name="connsiteY29" fmla="*/ 155343 h 462330"/>
              <a:gd name="connsiteX30" fmla="*/ 306987 w 369864"/>
              <a:gd name="connsiteY30" fmla="*/ 155343 h 462330"/>
              <a:gd name="connsiteX31" fmla="*/ 306987 w 369864"/>
              <a:gd name="connsiteY31" fmla="*/ 306987 h 462330"/>
              <a:gd name="connsiteX32" fmla="*/ 260754 w 369864"/>
              <a:gd name="connsiteY32" fmla="*/ 353220 h 462330"/>
              <a:gd name="connsiteX33" fmla="*/ 236251 w 369864"/>
              <a:gd name="connsiteY33" fmla="*/ 353220 h 462330"/>
              <a:gd name="connsiteX34" fmla="*/ 213134 w 369864"/>
              <a:gd name="connsiteY34" fmla="*/ 330104 h 462330"/>
              <a:gd name="connsiteX35" fmla="*/ 212270 w 369864"/>
              <a:gd name="connsiteY35" fmla="*/ 305600 h 462330"/>
              <a:gd name="connsiteX36" fmla="*/ 236773 w 369864"/>
              <a:gd name="connsiteY36" fmla="*/ 304736 h 462330"/>
              <a:gd name="connsiteX37" fmla="*/ 237638 w 369864"/>
              <a:gd name="connsiteY37" fmla="*/ 305600 h 462330"/>
              <a:gd name="connsiteX38" fmla="*/ 248502 w 369864"/>
              <a:gd name="connsiteY38" fmla="*/ 316465 h 462330"/>
              <a:gd name="connsiteX39" fmla="*/ 282484 w 369864"/>
              <a:gd name="connsiteY39" fmla="*/ 282484 h 462330"/>
              <a:gd name="connsiteX40" fmla="*/ 306987 w 369864"/>
              <a:gd name="connsiteY40" fmla="*/ 281619 h 462330"/>
              <a:gd name="connsiteX41" fmla="*/ 307852 w 369864"/>
              <a:gd name="connsiteY41" fmla="*/ 306123 h 462330"/>
              <a:gd name="connsiteX42" fmla="*/ 306987 w 369864"/>
              <a:gd name="connsiteY42" fmla="*/ 306987 h 462330"/>
              <a:gd name="connsiteX43" fmla="*/ 69350 w 369864"/>
              <a:gd name="connsiteY43" fmla="*/ 190711 h 462330"/>
              <a:gd name="connsiteX44" fmla="*/ 86687 w 369864"/>
              <a:gd name="connsiteY44" fmla="*/ 173374 h 462330"/>
              <a:gd name="connsiteX45" fmla="*/ 167595 w 369864"/>
              <a:gd name="connsiteY45" fmla="*/ 173374 h 462330"/>
              <a:gd name="connsiteX46" fmla="*/ 184932 w 369864"/>
              <a:gd name="connsiteY46" fmla="*/ 190711 h 462330"/>
              <a:gd name="connsiteX47" fmla="*/ 167595 w 369864"/>
              <a:gd name="connsiteY47" fmla="*/ 208049 h 462330"/>
              <a:gd name="connsiteX48" fmla="*/ 86687 w 369864"/>
              <a:gd name="connsiteY48" fmla="*/ 208049 h 462330"/>
              <a:gd name="connsiteX49" fmla="*/ 69350 w 369864"/>
              <a:gd name="connsiteY49" fmla="*/ 190711 h 462330"/>
              <a:gd name="connsiteX50" fmla="*/ 86687 w 369864"/>
              <a:gd name="connsiteY50" fmla="*/ 300515 h 462330"/>
              <a:gd name="connsiteX51" fmla="*/ 167595 w 369864"/>
              <a:gd name="connsiteY51" fmla="*/ 300515 h 462330"/>
              <a:gd name="connsiteX52" fmla="*/ 184932 w 369864"/>
              <a:gd name="connsiteY52" fmla="*/ 317852 h 462330"/>
              <a:gd name="connsiteX53" fmla="*/ 167595 w 369864"/>
              <a:gd name="connsiteY53" fmla="*/ 335189 h 462330"/>
              <a:gd name="connsiteX54" fmla="*/ 86687 w 369864"/>
              <a:gd name="connsiteY54" fmla="*/ 335189 h 462330"/>
              <a:gd name="connsiteX55" fmla="*/ 69350 w 369864"/>
              <a:gd name="connsiteY55" fmla="*/ 317852 h 462330"/>
              <a:gd name="connsiteX56" fmla="*/ 86687 w 369864"/>
              <a:gd name="connsiteY56" fmla="*/ 300515 h 4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9864" h="462330">
                <a:moveTo>
                  <a:pt x="225386" y="0"/>
                </a:moveTo>
                <a:lnTo>
                  <a:pt x="144478" y="0"/>
                </a:lnTo>
                <a:cubicBezTo>
                  <a:pt x="117990" y="1"/>
                  <a:pt x="95733" y="19908"/>
                  <a:pt x="92790" y="46233"/>
                </a:cubicBezTo>
                <a:lnTo>
                  <a:pt x="52012" y="46233"/>
                </a:lnTo>
                <a:cubicBezTo>
                  <a:pt x="23287" y="46233"/>
                  <a:pt x="0" y="69520"/>
                  <a:pt x="0" y="98245"/>
                </a:cubicBezTo>
                <a:lnTo>
                  <a:pt x="0" y="410318"/>
                </a:lnTo>
                <a:cubicBezTo>
                  <a:pt x="0" y="439042"/>
                  <a:pt x="23287" y="462330"/>
                  <a:pt x="52012" y="462330"/>
                </a:cubicBezTo>
                <a:lnTo>
                  <a:pt x="317852" y="462330"/>
                </a:lnTo>
                <a:cubicBezTo>
                  <a:pt x="346576" y="462330"/>
                  <a:pt x="369864" y="439042"/>
                  <a:pt x="369864" y="410318"/>
                </a:cubicBezTo>
                <a:lnTo>
                  <a:pt x="369864" y="98245"/>
                </a:lnTo>
                <a:cubicBezTo>
                  <a:pt x="369864" y="69520"/>
                  <a:pt x="346576" y="46233"/>
                  <a:pt x="317852" y="46233"/>
                </a:cubicBezTo>
                <a:lnTo>
                  <a:pt x="277074" y="46233"/>
                </a:lnTo>
                <a:cubicBezTo>
                  <a:pt x="274132" y="19908"/>
                  <a:pt x="251875" y="1"/>
                  <a:pt x="225386" y="0"/>
                </a:cubicBezTo>
                <a:close/>
                <a:moveTo>
                  <a:pt x="144478" y="34675"/>
                </a:moveTo>
                <a:lnTo>
                  <a:pt x="225386" y="34675"/>
                </a:lnTo>
                <a:cubicBezTo>
                  <a:pt x="234961" y="34675"/>
                  <a:pt x="242723" y="42437"/>
                  <a:pt x="242723" y="52012"/>
                </a:cubicBezTo>
                <a:cubicBezTo>
                  <a:pt x="242723" y="61587"/>
                  <a:pt x="234961" y="69350"/>
                  <a:pt x="225386" y="69350"/>
                </a:cubicBezTo>
                <a:lnTo>
                  <a:pt x="144478" y="69350"/>
                </a:lnTo>
                <a:cubicBezTo>
                  <a:pt x="134903" y="69350"/>
                  <a:pt x="127141" y="61587"/>
                  <a:pt x="127141" y="52012"/>
                </a:cubicBezTo>
                <a:cubicBezTo>
                  <a:pt x="127141" y="42437"/>
                  <a:pt x="134903" y="34675"/>
                  <a:pt x="144478" y="34675"/>
                </a:cubicBezTo>
                <a:close/>
                <a:moveTo>
                  <a:pt x="306987" y="155343"/>
                </a:moveTo>
                <a:cubicBezTo>
                  <a:pt x="313749" y="162112"/>
                  <a:pt x="313749" y="173077"/>
                  <a:pt x="306987" y="179846"/>
                </a:cubicBezTo>
                <a:lnTo>
                  <a:pt x="260754" y="226079"/>
                </a:lnTo>
                <a:cubicBezTo>
                  <a:pt x="253986" y="232841"/>
                  <a:pt x="243019" y="232841"/>
                  <a:pt x="236251" y="226079"/>
                </a:cubicBezTo>
                <a:lnTo>
                  <a:pt x="213134" y="202963"/>
                </a:lnTo>
                <a:cubicBezTo>
                  <a:pt x="206130" y="196435"/>
                  <a:pt x="205741" y="185464"/>
                  <a:pt x="212270" y="178459"/>
                </a:cubicBezTo>
                <a:cubicBezTo>
                  <a:pt x="218798" y="171454"/>
                  <a:pt x="229766" y="171067"/>
                  <a:pt x="236773" y="177594"/>
                </a:cubicBezTo>
                <a:cubicBezTo>
                  <a:pt x="237071" y="177872"/>
                  <a:pt x="237360" y="178161"/>
                  <a:pt x="237638" y="178459"/>
                </a:cubicBezTo>
                <a:lnTo>
                  <a:pt x="248502" y="189324"/>
                </a:lnTo>
                <a:lnTo>
                  <a:pt x="282484" y="155343"/>
                </a:lnTo>
                <a:cubicBezTo>
                  <a:pt x="289252" y="148582"/>
                  <a:pt x="300219" y="148582"/>
                  <a:pt x="306987" y="155343"/>
                </a:cubicBezTo>
                <a:close/>
                <a:moveTo>
                  <a:pt x="306987" y="306987"/>
                </a:moveTo>
                <a:lnTo>
                  <a:pt x="260754" y="353220"/>
                </a:lnTo>
                <a:cubicBezTo>
                  <a:pt x="253986" y="359982"/>
                  <a:pt x="243019" y="359982"/>
                  <a:pt x="236251" y="353220"/>
                </a:cubicBezTo>
                <a:lnTo>
                  <a:pt x="213134" y="330104"/>
                </a:lnTo>
                <a:cubicBezTo>
                  <a:pt x="206130" y="323576"/>
                  <a:pt x="205741" y="312604"/>
                  <a:pt x="212270" y="305600"/>
                </a:cubicBezTo>
                <a:cubicBezTo>
                  <a:pt x="218798" y="298596"/>
                  <a:pt x="229766" y="298207"/>
                  <a:pt x="236773" y="304736"/>
                </a:cubicBezTo>
                <a:cubicBezTo>
                  <a:pt x="237071" y="305013"/>
                  <a:pt x="237360" y="305302"/>
                  <a:pt x="237638" y="305600"/>
                </a:cubicBezTo>
                <a:lnTo>
                  <a:pt x="248502" y="316465"/>
                </a:lnTo>
                <a:lnTo>
                  <a:pt x="282484" y="282484"/>
                </a:lnTo>
                <a:cubicBezTo>
                  <a:pt x="289012" y="275479"/>
                  <a:pt x="299983" y="275091"/>
                  <a:pt x="306987" y="281619"/>
                </a:cubicBezTo>
                <a:cubicBezTo>
                  <a:pt x="313991" y="288147"/>
                  <a:pt x="314380" y="299116"/>
                  <a:pt x="307852" y="306123"/>
                </a:cubicBezTo>
                <a:cubicBezTo>
                  <a:pt x="307574" y="306421"/>
                  <a:pt x="307285" y="306710"/>
                  <a:pt x="306987" y="306987"/>
                </a:cubicBezTo>
                <a:close/>
                <a:moveTo>
                  <a:pt x="69350" y="190711"/>
                </a:moveTo>
                <a:cubicBezTo>
                  <a:pt x="69350" y="181136"/>
                  <a:pt x="77112" y="173374"/>
                  <a:pt x="86687" y="173374"/>
                </a:cubicBezTo>
                <a:lnTo>
                  <a:pt x="167595" y="173374"/>
                </a:lnTo>
                <a:cubicBezTo>
                  <a:pt x="177169" y="173374"/>
                  <a:pt x="184932" y="181136"/>
                  <a:pt x="184932" y="190711"/>
                </a:cubicBezTo>
                <a:cubicBezTo>
                  <a:pt x="184932" y="200286"/>
                  <a:pt x="177169" y="208049"/>
                  <a:pt x="167595" y="208049"/>
                </a:cubicBezTo>
                <a:lnTo>
                  <a:pt x="86687" y="208049"/>
                </a:lnTo>
                <a:cubicBezTo>
                  <a:pt x="77112" y="208049"/>
                  <a:pt x="69350" y="200286"/>
                  <a:pt x="69350" y="190711"/>
                </a:cubicBezTo>
                <a:close/>
                <a:moveTo>
                  <a:pt x="86687" y="300515"/>
                </a:moveTo>
                <a:lnTo>
                  <a:pt x="167595" y="300515"/>
                </a:lnTo>
                <a:cubicBezTo>
                  <a:pt x="177169" y="300515"/>
                  <a:pt x="184932" y="308277"/>
                  <a:pt x="184932" y="317852"/>
                </a:cubicBezTo>
                <a:cubicBezTo>
                  <a:pt x="184932" y="327427"/>
                  <a:pt x="177169" y="335189"/>
                  <a:pt x="167595" y="335189"/>
                </a:cubicBezTo>
                <a:lnTo>
                  <a:pt x="86687" y="335189"/>
                </a:lnTo>
                <a:cubicBezTo>
                  <a:pt x="77112" y="335189"/>
                  <a:pt x="69350" y="327427"/>
                  <a:pt x="69350" y="317852"/>
                </a:cubicBezTo>
                <a:cubicBezTo>
                  <a:pt x="69350" y="308277"/>
                  <a:pt x="77112" y="300515"/>
                  <a:pt x="86687" y="300515"/>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Variable Display Semibold" pitchFamily="2" charset="0"/>
              <a:cs typeface="Segoe UI" pitchFamily="34" charset="0"/>
            </a:endParaRPr>
          </a:p>
        </p:txBody>
      </p:sp>
      <p:sp>
        <p:nvSpPr>
          <p:cNvPr id="11" name="Freeform 80">
            <a:extLst>
              <a:ext uri="{FF2B5EF4-FFF2-40B4-BE49-F238E27FC236}">
                <a16:creationId xmlns:a16="http://schemas.microsoft.com/office/drawing/2014/main" id="{8A2D09E6-E32A-3C16-F9E3-D217A7289A40}"/>
              </a:ext>
            </a:extLst>
          </p:cNvPr>
          <p:cNvSpPr/>
          <p:nvPr/>
        </p:nvSpPr>
        <p:spPr>
          <a:xfrm>
            <a:off x="10270734" y="2577989"/>
            <a:ext cx="485536" cy="526000"/>
          </a:xfrm>
          <a:custGeom>
            <a:avLst/>
            <a:gdLst>
              <a:gd name="connsiteX0" fmla="*/ 92177 w 414798"/>
              <a:gd name="connsiteY0" fmla="*/ 345665 h 449365"/>
              <a:gd name="connsiteX1" fmla="*/ 115222 w 414798"/>
              <a:gd name="connsiteY1" fmla="*/ 368709 h 449365"/>
              <a:gd name="connsiteX2" fmla="*/ 92177 w 414798"/>
              <a:gd name="connsiteY2" fmla="*/ 391754 h 449365"/>
              <a:gd name="connsiteX3" fmla="*/ 69133 w 414798"/>
              <a:gd name="connsiteY3" fmla="*/ 368709 h 449365"/>
              <a:gd name="connsiteX4" fmla="*/ 92177 w 414798"/>
              <a:gd name="connsiteY4" fmla="*/ 345665 h 449365"/>
              <a:gd name="connsiteX5" fmla="*/ 322621 w 414798"/>
              <a:gd name="connsiteY5" fmla="*/ 276532 h 449365"/>
              <a:gd name="connsiteX6" fmla="*/ 299576 w 414798"/>
              <a:gd name="connsiteY6" fmla="*/ 299576 h 449365"/>
              <a:gd name="connsiteX7" fmla="*/ 322621 w 414798"/>
              <a:gd name="connsiteY7" fmla="*/ 322621 h 449365"/>
              <a:gd name="connsiteX8" fmla="*/ 345665 w 414798"/>
              <a:gd name="connsiteY8" fmla="*/ 299576 h 449365"/>
              <a:gd name="connsiteX9" fmla="*/ 322621 w 414798"/>
              <a:gd name="connsiteY9" fmla="*/ 276532 h 449365"/>
              <a:gd name="connsiteX10" fmla="*/ 253488 w 414798"/>
              <a:gd name="connsiteY10" fmla="*/ 276532 h 449365"/>
              <a:gd name="connsiteX11" fmla="*/ 230443 w 414798"/>
              <a:gd name="connsiteY11" fmla="*/ 299576 h 449365"/>
              <a:gd name="connsiteX12" fmla="*/ 253488 w 414798"/>
              <a:gd name="connsiteY12" fmla="*/ 322621 h 449365"/>
              <a:gd name="connsiteX13" fmla="*/ 276532 w 414798"/>
              <a:gd name="connsiteY13" fmla="*/ 299576 h 449365"/>
              <a:gd name="connsiteX14" fmla="*/ 253488 w 414798"/>
              <a:gd name="connsiteY14" fmla="*/ 276532 h 449365"/>
              <a:gd name="connsiteX15" fmla="*/ 92177 w 414798"/>
              <a:gd name="connsiteY15" fmla="*/ 276532 h 449365"/>
              <a:gd name="connsiteX16" fmla="*/ 115222 w 414798"/>
              <a:gd name="connsiteY16" fmla="*/ 299576 h 449365"/>
              <a:gd name="connsiteX17" fmla="*/ 92177 w 414798"/>
              <a:gd name="connsiteY17" fmla="*/ 322621 h 449365"/>
              <a:gd name="connsiteX18" fmla="*/ 69133 w 414798"/>
              <a:gd name="connsiteY18" fmla="*/ 299576 h 449365"/>
              <a:gd name="connsiteX19" fmla="*/ 92177 w 414798"/>
              <a:gd name="connsiteY19" fmla="*/ 276532 h 449365"/>
              <a:gd name="connsiteX20" fmla="*/ 322621 w 414798"/>
              <a:gd name="connsiteY20" fmla="*/ 207399 h 449365"/>
              <a:gd name="connsiteX21" fmla="*/ 299576 w 414798"/>
              <a:gd name="connsiteY21" fmla="*/ 230443 h 449365"/>
              <a:gd name="connsiteX22" fmla="*/ 322621 w 414798"/>
              <a:gd name="connsiteY22" fmla="*/ 253488 h 449365"/>
              <a:gd name="connsiteX23" fmla="*/ 345665 w 414798"/>
              <a:gd name="connsiteY23" fmla="*/ 230443 h 449365"/>
              <a:gd name="connsiteX24" fmla="*/ 322621 w 414798"/>
              <a:gd name="connsiteY24" fmla="*/ 207399 h 449365"/>
              <a:gd name="connsiteX25" fmla="*/ 253488 w 414798"/>
              <a:gd name="connsiteY25" fmla="*/ 207399 h 449365"/>
              <a:gd name="connsiteX26" fmla="*/ 230443 w 414798"/>
              <a:gd name="connsiteY26" fmla="*/ 230443 h 449365"/>
              <a:gd name="connsiteX27" fmla="*/ 253488 w 414798"/>
              <a:gd name="connsiteY27" fmla="*/ 253488 h 449365"/>
              <a:gd name="connsiteX28" fmla="*/ 276532 w 414798"/>
              <a:gd name="connsiteY28" fmla="*/ 230443 h 449365"/>
              <a:gd name="connsiteX29" fmla="*/ 253488 w 414798"/>
              <a:gd name="connsiteY29" fmla="*/ 207399 h 449365"/>
              <a:gd name="connsiteX30" fmla="*/ 92177 w 414798"/>
              <a:gd name="connsiteY30" fmla="*/ 207399 h 449365"/>
              <a:gd name="connsiteX31" fmla="*/ 115222 w 414798"/>
              <a:gd name="connsiteY31" fmla="*/ 230443 h 449365"/>
              <a:gd name="connsiteX32" fmla="*/ 92177 w 414798"/>
              <a:gd name="connsiteY32" fmla="*/ 253488 h 449365"/>
              <a:gd name="connsiteX33" fmla="*/ 69133 w 414798"/>
              <a:gd name="connsiteY33" fmla="*/ 230443 h 449365"/>
              <a:gd name="connsiteX34" fmla="*/ 92177 w 414798"/>
              <a:gd name="connsiteY34" fmla="*/ 207399 h 449365"/>
              <a:gd name="connsiteX35" fmla="*/ 322621 w 414798"/>
              <a:gd name="connsiteY35" fmla="*/ 138266 h 449365"/>
              <a:gd name="connsiteX36" fmla="*/ 299576 w 414798"/>
              <a:gd name="connsiteY36" fmla="*/ 161310 h 449365"/>
              <a:gd name="connsiteX37" fmla="*/ 322621 w 414798"/>
              <a:gd name="connsiteY37" fmla="*/ 184355 h 449365"/>
              <a:gd name="connsiteX38" fmla="*/ 345665 w 414798"/>
              <a:gd name="connsiteY38" fmla="*/ 161310 h 449365"/>
              <a:gd name="connsiteX39" fmla="*/ 322621 w 414798"/>
              <a:gd name="connsiteY39" fmla="*/ 138266 h 449365"/>
              <a:gd name="connsiteX40" fmla="*/ 253488 w 414798"/>
              <a:gd name="connsiteY40" fmla="*/ 138266 h 449365"/>
              <a:gd name="connsiteX41" fmla="*/ 230443 w 414798"/>
              <a:gd name="connsiteY41" fmla="*/ 161310 h 449365"/>
              <a:gd name="connsiteX42" fmla="*/ 253488 w 414798"/>
              <a:gd name="connsiteY42" fmla="*/ 184355 h 449365"/>
              <a:gd name="connsiteX43" fmla="*/ 276532 w 414798"/>
              <a:gd name="connsiteY43" fmla="*/ 161310 h 449365"/>
              <a:gd name="connsiteX44" fmla="*/ 253488 w 414798"/>
              <a:gd name="connsiteY44" fmla="*/ 138266 h 449365"/>
              <a:gd name="connsiteX45" fmla="*/ 92177 w 414798"/>
              <a:gd name="connsiteY45" fmla="*/ 138266 h 449365"/>
              <a:gd name="connsiteX46" fmla="*/ 115222 w 414798"/>
              <a:gd name="connsiteY46" fmla="*/ 161310 h 449365"/>
              <a:gd name="connsiteX47" fmla="*/ 92177 w 414798"/>
              <a:gd name="connsiteY47" fmla="*/ 184355 h 449365"/>
              <a:gd name="connsiteX48" fmla="*/ 69133 w 414798"/>
              <a:gd name="connsiteY48" fmla="*/ 161310 h 449365"/>
              <a:gd name="connsiteX49" fmla="*/ 92177 w 414798"/>
              <a:gd name="connsiteY49" fmla="*/ 138266 h 449365"/>
              <a:gd name="connsiteX50" fmla="*/ 92177 w 414798"/>
              <a:gd name="connsiteY50" fmla="*/ 69133 h 449365"/>
              <a:gd name="connsiteX51" fmla="*/ 115222 w 414798"/>
              <a:gd name="connsiteY51" fmla="*/ 92177 h 449365"/>
              <a:gd name="connsiteX52" fmla="*/ 92177 w 414798"/>
              <a:gd name="connsiteY52" fmla="*/ 115222 h 449365"/>
              <a:gd name="connsiteX53" fmla="*/ 69133 w 414798"/>
              <a:gd name="connsiteY53" fmla="*/ 92177 h 449365"/>
              <a:gd name="connsiteX54" fmla="*/ 92177 w 414798"/>
              <a:gd name="connsiteY54" fmla="*/ 69133 h 449365"/>
              <a:gd name="connsiteX55" fmla="*/ 51850 w 414798"/>
              <a:gd name="connsiteY55" fmla="*/ 34567 h 449365"/>
              <a:gd name="connsiteX56" fmla="*/ 34567 w 414798"/>
              <a:gd name="connsiteY56" fmla="*/ 51850 h 449365"/>
              <a:gd name="connsiteX57" fmla="*/ 34567 w 414798"/>
              <a:gd name="connsiteY57" fmla="*/ 414798 h 449365"/>
              <a:gd name="connsiteX58" fmla="*/ 161310 w 414798"/>
              <a:gd name="connsiteY58" fmla="*/ 414798 h 449365"/>
              <a:gd name="connsiteX59" fmla="*/ 161310 w 414798"/>
              <a:gd name="connsiteY59" fmla="*/ 120983 h 449365"/>
              <a:gd name="connsiteX60" fmla="*/ 213160 w 414798"/>
              <a:gd name="connsiteY60" fmla="*/ 69133 h 449365"/>
              <a:gd name="connsiteX61" fmla="*/ 218921 w 414798"/>
              <a:gd name="connsiteY61" fmla="*/ 69133 h 449365"/>
              <a:gd name="connsiteX62" fmla="*/ 218921 w 414798"/>
              <a:gd name="connsiteY62" fmla="*/ 51850 h 449365"/>
              <a:gd name="connsiteX63" fmla="*/ 201638 w 414798"/>
              <a:gd name="connsiteY63" fmla="*/ 34567 h 449365"/>
              <a:gd name="connsiteX64" fmla="*/ 51850 w 414798"/>
              <a:gd name="connsiteY64" fmla="*/ 0 h 449365"/>
              <a:gd name="connsiteX65" fmla="*/ 201638 w 414798"/>
              <a:gd name="connsiteY65" fmla="*/ 0 h 449365"/>
              <a:gd name="connsiteX66" fmla="*/ 253488 w 414798"/>
              <a:gd name="connsiteY66" fmla="*/ 51850 h 449365"/>
              <a:gd name="connsiteX67" fmla="*/ 253488 w 414798"/>
              <a:gd name="connsiteY67" fmla="*/ 69133 h 449365"/>
              <a:gd name="connsiteX68" fmla="*/ 362948 w 414798"/>
              <a:gd name="connsiteY68" fmla="*/ 69133 h 449365"/>
              <a:gd name="connsiteX69" fmla="*/ 414798 w 414798"/>
              <a:gd name="connsiteY69" fmla="*/ 120983 h 449365"/>
              <a:gd name="connsiteX70" fmla="*/ 414798 w 414798"/>
              <a:gd name="connsiteY70" fmla="*/ 432081 h 449365"/>
              <a:gd name="connsiteX71" fmla="*/ 397515 w 414798"/>
              <a:gd name="connsiteY71" fmla="*/ 449365 h 449365"/>
              <a:gd name="connsiteX72" fmla="*/ 339904 w 414798"/>
              <a:gd name="connsiteY72" fmla="*/ 449365 h 449365"/>
              <a:gd name="connsiteX73" fmla="*/ 328382 w 414798"/>
              <a:gd name="connsiteY73" fmla="*/ 437842 h 449365"/>
              <a:gd name="connsiteX74" fmla="*/ 328382 w 414798"/>
              <a:gd name="connsiteY74" fmla="*/ 385993 h 449365"/>
              <a:gd name="connsiteX75" fmla="*/ 316860 w 414798"/>
              <a:gd name="connsiteY75" fmla="*/ 374470 h 449365"/>
              <a:gd name="connsiteX76" fmla="*/ 259249 w 414798"/>
              <a:gd name="connsiteY76" fmla="*/ 374470 h 449365"/>
              <a:gd name="connsiteX77" fmla="*/ 247727 w 414798"/>
              <a:gd name="connsiteY77" fmla="*/ 385993 h 449365"/>
              <a:gd name="connsiteX78" fmla="*/ 247727 w 414798"/>
              <a:gd name="connsiteY78" fmla="*/ 437842 h 449365"/>
              <a:gd name="connsiteX79" fmla="*/ 236204 w 414798"/>
              <a:gd name="connsiteY79" fmla="*/ 449365 h 449365"/>
              <a:gd name="connsiteX80" fmla="*/ 17283 w 414798"/>
              <a:gd name="connsiteY80" fmla="*/ 449365 h 449365"/>
              <a:gd name="connsiteX81" fmla="*/ 0 w 414798"/>
              <a:gd name="connsiteY81" fmla="*/ 432081 h 449365"/>
              <a:gd name="connsiteX82" fmla="*/ 0 w 414798"/>
              <a:gd name="connsiteY82" fmla="*/ 51850 h 449365"/>
              <a:gd name="connsiteX83" fmla="*/ 51850 w 414798"/>
              <a:gd name="connsiteY83" fmla="*/ 0 h 44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414798" h="449365">
                <a:moveTo>
                  <a:pt x="92177" y="345665"/>
                </a:moveTo>
                <a:cubicBezTo>
                  <a:pt x="104904" y="345665"/>
                  <a:pt x="115222" y="355982"/>
                  <a:pt x="115222" y="368709"/>
                </a:cubicBezTo>
                <a:cubicBezTo>
                  <a:pt x="115222" y="381437"/>
                  <a:pt x="104904" y="391754"/>
                  <a:pt x="92177" y="391754"/>
                </a:cubicBezTo>
                <a:cubicBezTo>
                  <a:pt x="79450" y="391754"/>
                  <a:pt x="69133" y="381437"/>
                  <a:pt x="69133" y="368709"/>
                </a:cubicBezTo>
                <a:cubicBezTo>
                  <a:pt x="69133" y="355982"/>
                  <a:pt x="79450" y="345665"/>
                  <a:pt x="92177" y="345665"/>
                </a:cubicBezTo>
                <a:close/>
                <a:moveTo>
                  <a:pt x="322621" y="276532"/>
                </a:moveTo>
                <a:cubicBezTo>
                  <a:pt x="309893" y="276532"/>
                  <a:pt x="299576" y="286849"/>
                  <a:pt x="299576" y="299576"/>
                </a:cubicBezTo>
                <a:cubicBezTo>
                  <a:pt x="299576" y="312304"/>
                  <a:pt x="309893" y="322621"/>
                  <a:pt x="322621" y="322621"/>
                </a:cubicBezTo>
                <a:cubicBezTo>
                  <a:pt x="335348" y="322621"/>
                  <a:pt x="345665" y="312304"/>
                  <a:pt x="345665" y="299576"/>
                </a:cubicBezTo>
                <a:cubicBezTo>
                  <a:pt x="345665" y="286849"/>
                  <a:pt x="335348" y="276532"/>
                  <a:pt x="322621" y="276532"/>
                </a:cubicBezTo>
                <a:close/>
                <a:moveTo>
                  <a:pt x="253488" y="276532"/>
                </a:moveTo>
                <a:cubicBezTo>
                  <a:pt x="240760" y="276532"/>
                  <a:pt x="230443" y="286849"/>
                  <a:pt x="230443" y="299576"/>
                </a:cubicBezTo>
                <a:cubicBezTo>
                  <a:pt x="230443" y="312304"/>
                  <a:pt x="240760" y="322621"/>
                  <a:pt x="253488" y="322621"/>
                </a:cubicBezTo>
                <a:cubicBezTo>
                  <a:pt x="266215" y="322621"/>
                  <a:pt x="276532" y="312304"/>
                  <a:pt x="276532" y="299576"/>
                </a:cubicBezTo>
                <a:cubicBezTo>
                  <a:pt x="276532" y="286849"/>
                  <a:pt x="266215" y="276532"/>
                  <a:pt x="253488" y="276532"/>
                </a:cubicBezTo>
                <a:close/>
                <a:moveTo>
                  <a:pt x="92177" y="276532"/>
                </a:moveTo>
                <a:cubicBezTo>
                  <a:pt x="104904" y="276532"/>
                  <a:pt x="115222" y="286849"/>
                  <a:pt x="115222" y="299576"/>
                </a:cubicBezTo>
                <a:cubicBezTo>
                  <a:pt x="115222" y="312304"/>
                  <a:pt x="104904" y="322621"/>
                  <a:pt x="92177" y="322621"/>
                </a:cubicBezTo>
                <a:cubicBezTo>
                  <a:pt x="79450" y="322621"/>
                  <a:pt x="69133" y="312304"/>
                  <a:pt x="69133" y="299576"/>
                </a:cubicBezTo>
                <a:cubicBezTo>
                  <a:pt x="69133" y="286849"/>
                  <a:pt x="79450" y="276532"/>
                  <a:pt x="92177" y="276532"/>
                </a:cubicBezTo>
                <a:close/>
                <a:moveTo>
                  <a:pt x="322621" y="207399"/>
                </a:moveTo>
                <a:cubicBezTo>
                  <a:pt x="309893" y="207399"/>
                  <a:pt x="299576" y="217716"/>
                  <a:pt x="299576" y="230443"/>
                </a:cubicBezTo>
                <a:cubicBezTo>
                  <a:pt x="299576" y="243171"/>
                  <a:pt x="309893" y="253488"/>
                  <a:pt x="322621" y="253488"/>
                </a:cubicBezTo>
                <a:cubicBezTo>
                  <a:pt x="335348" y="253488"/>
                  <a:pt x="345665" y="243171"/>
                  <a:pt x="345665" y="230443"/>
                </a:cubicBezTo>
                <a:cubicBezTo>
                  <a:pt x="345665" y="217716"/>
                  <a:pt x="335348" y="207399"/>
                  <a:pt x="322621" y="207399"/>
                </a:cubicBezTo>
                <a:close/>
                <a:moveTo>
                  <a:pt x="253488" y="207399"/>
                </a:moveTo>
                <a:cubicBezTo>
                  <a:pt x="240760" y="207399"/>
                  <a:pt x="230443" y="217716"/>
                  <a:pt x="230443" y="230443"/>
                </a:cubicBezTo>
                <a:cubicBezTo>
                  <a:pt x="230443" y="243171"/>
                  <a:pt x="240760" y="253488"/>
                  <a:pt x="253488" y="253488"/>
                </a:cubicBezTo>
                <a:cubicBezTo>
                  <a:pt x="266215" y="253488"/>
                  <a:pt x="276532" y="243171"/>
                  <a:pt x="276532" y="230443"/>
                </a:cubicBezTo>
                <a:cubicBezTo>
                  <a:pt x="276532" y="217716"/>
                  <a:pt x="266215" y="207399"/>
                  <a:pt x="253488" y="207399"/>
                </a:cubicBezTo>
                <a:close/>
                <a:moveTo>
                  <a:pt x="92177" y="207399"/>
                </a:moveTo>
                <a:cubicBezTo>
                  <a:pt x="104904" y="207399"/>
                  <a:pt x="115222" y="217716"/>
                  <a:pt x="115222" y="230443"/>
                </a:cubicBezTo>
                <a:cubicBezTo>
                  <a:pt x="115222" y="243171"/>
                  <a:pt x="104904" y="253488"/>
                  <a:pt x="92177" y="253488"/>
                </a:cubicBezTo>
                <a:cubicBezTo>
                  <a:pt x="79450" y="253488"/>
                  <a:pt x="69133" y="243171"/>
                  <a:pt x="69133" y="230443"/>
                </a:cubicBezTo>
                <a:cubicBezTo>
                  <a:pt x="69133" y="217716"/>
                  <a:pt x="79450" y="207399"/>
                  <a:pt x="92177" y="207399"/>
                </a:cubicBezTo>
                <a:close/>
                <a:moveTo>
                  <a:pt x="322621" y="138266"/>
                </a:moveTo>
                <a:cubicBezTo>
                  <a:pt x="309893" y="138266"/>
                  <a:pt x="299576" y="148583"/>
                  <a:pt x="299576" y="161310"/>
                </a:cubicBezTo>
                <a:cubicBezTo>
                  <a:pt x="299576" y="174037"/>
                  <a:pt x="309893" y="184355"/>
                  <a:pt x="322621" y="184355"/>
                </a:cubicBezTo>
                <a:cubicBezTo>
                  <a:pt x="335348" y="184355"/>
                  <a:pt x="345665" y="174037"/>
                  <a:pt x="345665" y="161310"/>
                </a:cubicBezTo>
                <a:cubicBezTo>
                  <a:pt x="345665" y="148583"/>
                  <a:pt x="335348" y="138266"/>
                  <a:pt x="322621" y="138266"/>
                </a:cubicBezTo>
                <a:close/>
                <a:moveTo>
                  <a:pt x="253488" y="138266"/>
                </a:moveTo>
                <a:cubicBezTo>
                  <a:pt x="240760" y="138266"/>
                  <a:pt x="230443" y="148583"/>
                  <a:pt x="230443" y="161310"/>
                </a:cubicBezTo>
                <a:cubicBezTo>
                  <a:pt x="230443" y="174037"/>
                  <a:pt x="240760" y="184355"/>
                  <a:pt x="253488" y="184355"/>
                </a:cubicBezTo>
                <a:cubicBezTo>
                  <a:pt x="266215" y="184355"/>
                  <a:pt x="276532" y="174037"/>
                  <a:pt x="276532" y="161310"/>
                </a:cubicBezTo>
                <a:cubicBezTo>
                  <a:pt x="276532" y="148583"/>
                  <a:pt x="266215" y="138266"/>
                  <a:pt x="253488" y="138266"/>
                </a:cubicBezTo>
                <a:close/>
                <a:moveTo>
                  <a:pt x="92177" y="138266"/>
                </a:moveTo>
                <a:cubicBezTo>
                  <a:pt x="104904" y="138266"/>
                  <a:pt x="115222" y="148583"/>
                  <a:pt x="115222" y="161310"/>
                </a:cubicBezTo>
                <a:cubicBezTo>
                  <a:pt x="115222" y="174037"/>
                  <a:pt x="104904" y="184355"/>
                  <a:pt x="92177" y="184355"/>
                </a:cubicBezTo>
                <a:cubicBezTo>
                  <a:pt x="79450" y="184355"/>
                  <a:pt x="69133" y="174037"/>
                  <a:pt x="69133" y="161310"/>
                </a:cubicBezTo>
                <a:cubicBezTo>
                  <a:pt x="69133" y="148583"/>
                  <a:pt x="79450" y="138266"/>
                  <a:pt x="92177" y="138266"/>
                </a:cubicBezTo>
                <a:close/>
                <a:moveTo>
                  <a:pt x="92177" y="69133"/>
                </a:moveTo>
                <a:cubicBezTo>
                  <a:pt x="104904" y="69133"/>
                  <a:pt x="115222" y="79450"/>
                  <a:pt x="115222" y="92177"/>
                </a:cubicBezTo>
                <a:cubicBezTo>
                  <a:pt x="115222" y="104904"/>
                  <a:pt x="104904" y="115222"/>
                  <a:pt x="92177" y="115222"/>
                </a:cubicBezTo>
                <a:cubicBezTo>
                  <a:pt x="79450" y="115222"/>
                  <a:pt x="69133" y="104904"/>
                  <a:pt x="69133" y="92177"/>
                </a:cubicBezTo>
                <a:cubicBezTo>
                  <a:pt x="69133" y="79450"/>
                  <a:pt x="79450" y="69133"/>
                  <a:pt x="92177" y="69133"/>
                </a:cubicBezTo>
                <a:close/>
                <a:moveTo>
                  <a:pt x="51850" y="34567"/>
                </a:moveTo>
                <a:cubicBezTo>
                  <a:pt x="42305" y="34567"/>
                  <a:pt x="34567" y="42305"/>
                  <a:pt x="34567" y="51850"/>
                </a:cubicBezTo>
                <a:lnTo>
                  <a:pt x="34567" y="414798"/>
                </a:lnTo>
                <a:lnTo>
                  <a:pt x="161310" y="414798"/>
                </a:lnTo>
                <a:lnTo>
                  <a:pt x="161310" y="120983"/>
                </a:lnTo>
                <a:cubicBezTo>
                  <a:pt x="161310" y="92347"/>
                  <a:pt x="184525" y="69133"/>
                  <a:pt x="213160" y="69133"/>
                </a:cubicBezTo>
                <a:lnTo>
                  <a:pt x="218921" y="69133"/>
                </a:lnTo>
                <a:lnTo>
                  <a:pt x="218921" y="51850"/>
                </a:lnTo>
                <a:cubicBezTo>
                  <a:pt x="218921" y="42305"/>
                  <a:pt x="211183" y="34567"/>
                  <a:pt x="201638" y="34567"/>
                </a:cubicBezTo>
                <a:close/>
                <a:moveTo>
                  <a:pt x="51850" y="0"/>
                </a:moveTo>
                <a:lnTo>
                  <a:pt x="201638" y="0"/>
                </a:lnTo>
                <a:cubicBezTo>
                  <a:pt x="230273" y="0"/>
                  <a:pt x="253488" y="23214"/>
                  <a:pt x="253488" y="51850"/>
                </a:cubicBezTo>
                <a:lnTo>
                  <a:pt x="253488" y="69133"/>
                </a:lnTo>
                <a:lnTo>
                  <a:pt x="362948" y="69133"/>
                </a:lnTo>
                <a:cubicBezTo>
                  <a:pt x="391583" y="69133"/>
                  <a:pt x="414798" y="92347"/>
                  <a:pt x="414798" y="120983"/>
                </a:cubicBezTo>
                <a:lnTo>
                  <a:pt x="414798" y="432081"/>
                </a:lnTo>
                <a:cubicBezTo>
                  <a:pt x="414798" y="441626"/>
                  <a:pt x="407060" y="449365"/>
                  <a:pt x="397515" y="449365"/>
                </a:cubicBezTo>
                <a:lnTo>
                  <a:pt x="339904" y="449365"/>
                </a:lnTo>
                <a:cubicBezTo>
                  <a:pt x="333541" y="449365"/>
                  <a:pt x="328382" y="444205"/>
                  <a:pt x="328382" y="437842"/>
                </a:cubicBezTo>
                <a:lnTo>
                  <a:pt x="328382" y="385993"/>
                </a:lnTo>
                <a:cubicBezTo>
                  <a:pt x="328382" y="379630"/>
                  <a:pt x="323222" y="374470"/>
                  <a:pt x="316860" y="374470"/>
                </a:cubicBezTo>
                <a:lnTo>
                  <a:pt x="259249" y="374470"/>
                </a:lnTo>
                <a:cubicBezTo>
                  <a:pt x="252886" y="374470"/>
                  <a:pt x="247727" y="379630"/>
                  <a:pt x="247727" y="385993"/>
                </a:cubicBezTo>
                <a:lnTo>
                  <a:pt x="247727" y="437842"/>
                </a:lnTo>
                <a:cubicBezTo>
                  <a:pt x="247727" y="444205"/>
                  <a:pt x="242567" y="449365"/>
                  <a:pt x="236204" y="449365"/>
                </a:cubicBezTo>
                <a:lnTo>
                  <a:pt x="17283" y="449365"/>
                </a:lnTo>
                <a:cubicBezTo>
                  <a:pt x="7738" y="449365"/>
                  <a:pt x="0" y="441626"/>
                  <a:pt x="0" y="432081"/>
                </a:cubicBezTo>
                <a:lnTo>
                  <a:pt x="0" y="51850"/>
                </a:lnTo>
                <a:cubicBezTo>
                  <a:pt x="0" y="23214"/>
                  <a:pt x="23214" y="0"/>
                  <a:pt x="51850" y="0"/>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Variable Display Semibold" pitchFamily="2" charset="0"/>
              <a:cs typeface="Segoe UI" pitchFamily="34" charset="0"/>
            </a:endParaRPr>
          </a:p>
        </p:txBody>
      </p:sp>
      <p:sp>
        <p:nvSpPr>
          <p:cNvPr id="12" name="Graphic 75">
            <a:extLst>
              <a:ext uri="{FF2B5EF4-FFF2-40B4-BE49-F238E27FC236}">
                <a16:creationId xmlns:a16="http://schemas.microsoft.com/office/drawing/2014/main" id="{8DB3A6F7-1DA0-9D32-95C3-6F4754BA2D72}"/>
              </a:ext>
            </a:extLst>
          </p:cNvPr>
          <p:cNvSpPr/>
          <p:nvPr/>
        </p:nvSpPr>
        <p:spPr>
          <a:xfrm>
            <a:off x="8090770" y="2562996"/>
            <a:ext cx="444786" cy="555984"/>
          </a:xfrm>
          <a:custGeom>
            <a:avLst/>
            <a:gdLst>
              <a:gd name="connsiteX0" fmla="*/ 167144 w 334288"/>
              <a:gd name="connsiteY0" fmla="*/ 167144 h 417860"/>
              <a:gd name="connsiteX1" fmla="*/ 334288 w 334288"/>
              <a:gd name="connsiteY1" fmla="*/ 83572 h 417860"/>
              <a:gd name="connsiteX2" fmla="*/ 167144 w 334288"/>
              <a:gd name="connsiteY2" fmla="*/ 0 h 417860"/>
              <a:gd name="connsiteX3" fmla="*/ 0 w 334288"/>
              <a:gd name="connsiteY3" fmla="*/ 83572 h 417860"/>
              <a:gd name="connsiteX4" fmla="*/ 167144 w 334288"/>
              <a:gd name="connsiteY4" fmla="*/ 167144 h 417860"/>
              <a:gd name="connsiteX5" fmla="*/ 299355 w 334288"/>
              <a:gd name="connsiteY5" fmla="*/ 170696 h 417860"/>
              <a:gd name="connsiteX6" fmla="*/ 334288 w 334288"/>
              <a:gd name="connsiteY6" fmla="*/ 147358 h 417860"/>
              <a:gd name="connsiteX7" fmla="*/ 334288 w 334288"/>
              <a:gd name="connsiteY7" fmla="*/ 334288 h 417860"/>
              <a:gd name="connsiteX8" fmla="*/ 167144 w 334288"/>
              <a:gd name="connsiteY8" fmla="*/ 417860 h 417860"/>
              <a:gd name="connsiteX9" fmla="*/ 0 w 334288"/>
              <a:gd name="connsiteY9" fmla="*/ 334288 h 417860"/>
              <a:gd name="connsiteX10" fmla="*/ 0 w 334288"/>
              <a:gd name="connsiteY10" fmla="*/ 147358 h 417860"/>
              <a:gd name="connsiteX11" fmla="*/ 34933 w 334288"/>
              <a:gd name="connsiteY11" fmla="*/ 170696 h 417860"/>
              <a:gd name="connsiteX12" fmla="*/ 167144 w 334288"/>
              <a:gd name="connsiteY12" fmla="*/ 198484 h 417860"/>
              <a:gd name="connsiteX13" fmla="*/ 299355 w 334288"/>
              <a:gd name="connsiteY13" fmla="*/ 170696 h 41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4288" h="417860">
                <a:moveTo>
                  <a:pt x="167144" y="167144"/>
                </a:moveTo>
                <a:cubicBezTo>
                  <a:pt x="259449" y="167144"/>
                  <a:pt x="334288" y="129746"/>
                  <a:pt x="334288" y="83572"/>
                </a:cubicBezTo>
                <a:cubicBezTo>
                  <a:pt x="334288" y="37398"/>
                  <a:pt x="259449" y="0"/>
                  <a:pt x="167144" y="0"/>
                </a:cubicBezTo>
                <a:cubicBezTo>
                  <a:pt x="74839" y="0"/>
                  <a:pt x="0" y="37398"/>
                  <a:pt x="0" y="83572"/>
                </a:cubicBezTo>
                <a:cubicBezTo>
                  <a:pt x="0" y="129746"/>
                  <a:pt x="74839" y="167144"/>
                  <a:pt x="167144" y="167144"/>
                </a:cubicBezTo>
                <a:close/>
                <a:moveTo>
                  <a:pt x="299355" y="170696"/>
                </a:moveTo>
                <a:cubicBezTo>
                  <a:pt x="311981" y="164496"/>
                  <a:pt x="323727" y="156648"/>
                  <a:pt x="334288" y="147358"/>
                </a:cubicBezTo>
                <a:lnTo>
                  <a:pt x="334288" y="334288"/>
                </a:lnTo>
                <a:cubicBezTo>
                  <a:pt x="334288" y="380462"/>
                  <a:pt x="259449" y="417860"/>
                  <a:pt x="167144" y="417860"/>
                </a:cubicBezTo>
                <a:cubicBezTo>
                  <a:pt x="74839" y="417860"/>
                  <a:pt x="0" y="380462"/>
                  <a:pt x="0" y="334288"/>
                </a:cubicBezTo>
                <a:lnTo>
                  <a:pt x="0" y="147358"/>
                </a:lnTo>
                <a:cubicBezTo>
                  <a:pt x="10561" y="156648"/>
                  <a:pt x="22308" y="164496"/>
                  <a:pt x="34933" y="170696"/>
                </a:cubicBezTo>
                <a:cubicBezTo>
                  <a:pt x="70409" y="188413"/>
                  <a:pt x="117168" y="198484"/>
                  <a:pt x="167144" y="198484"/>
                </a:cubicBezTo>
                <a:cubicBezTo>
                  <a:pt x="217120" y="198484"/>
                  <a:pt x="263879" y="188413"/>
                  <a:pt x="299355" y="170696"/>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367" fontAlgn="base">
              <a:lnSpc>
                <a:spcPct val="90000"/>
              </a:lnSpc>
              <a:spcBef>
                <a:spcPct val="0"/>
              </a:spcBef>
              <a:spcAft>
                <a:spcPct val="0"/>
              </a:spcAft>
            </a:pPr>
            <a:endParaRPr lang="en-US" sz="1600" b="1">
              <a:ln w="3175">
                <a:noFill/>
              </a:ln>
              <a:gradFill>
                <a:gsLst>
                  <a:gs pos="71910">
                    <a:srgbClr val="000000"/>
                  </a:gs>
                  <a:gs pos="53933">
                    <a:srgbClr val="000000"/>
                  </a:gs>
                </a:gsLst>
                <a:path path="circle">
                  <a:fillToRect l="100000" b="100000"/>
                </a:path>
              </a:gradFill>
              <a:latin typeface="Segoe UI Variable Display Semibold" pitchFamily="2" charset="0"/>
              <a:cs typeface="Segoe UI" pitchFamily="34" charset="0"/>
            </a:endParaRPr>
          </a:p>
        </p:txBody>
      </p:sp>
      <p:grpSp>
        <p:nvGrpSpPr>
          <p:cNvPr id="13" name="Group 12">
            <a:extLst>
              <a:ext uri="{FF2B5EF4-FFF2-40B4-BE49-F238E27FC236}">
                <a16:creationId xmlns:a16="http://schemas.microsoft.com/office/drawing/2014/main" id="{E9560077-CCD5-4F87-CA24-0DF92202CAD9}"/>
              </a:ext>
            </a:extLst>
          </p:cNvPr>
          <p:cNvGrpSpPr/>
          <p:nvPr/>
        </p:nvGrpSpPr>
        <p:grpSpPr>
          <a:xfrm>
            <a:off x="0" y="2855934"/>
            <a:ext cx="12192000" cy="0"/>
            <a:chOff x="0" y="2855934"/>
            <a:chExt cx="12192000" cy="0"/>
          </a:xfrm>
        </p:grpSpPr>
        <p:cxnSp>
          <p:nvCxnSpPr>
            <p:cNvPr id="14" name="Straight Connector 13">
              <a:extLst>
                <a:ext uri="{FF2B5EF4-FFF2-40B4-BE49-F238E27FC236}">
                  <a16:creationId xmlns:a16="http://schemas.microsoft.com/office/drawing/2014/main" id="{FD8C73FC-F64E-7732-F755-5A7497C299BE}"/>
                </a:ext>
              </a:extLst>
            </p:cNvPr>
            <p:cNvCxnSpPr/>
            <p:nvPr/>
          </p:nvCxnSpPr>
          <p:spPr>
            <a:xfrm>
              <a:off x="0"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 name="Straight Connector 14">
              <a:extLst>
                <a:ext uri="{FF2B5EF4-FFF2-40B4-BE49-F238E27FC236}">
                  <a16:creationId xmlns:a16="http://schemas.microsoft.com/office/drawing/2014/main" id="{EAF410EE-34E5-8FC5-473F-090F609DE3A7}"/>
                </a:ext>
              </a:extLst>
            </p:cNvPr>
            <p:cNvCxnSpPr/>
            <p:nvPr/>
          </p:nvCxnSpPr>
          <p:spPr>
            <a:xfrm>
              <a:off x="2212932"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6" name="Straight Connector 15">
              <a:extLst>
                <a:ext uri="{FF2B5EF4-FFF2-40B4-BE49-F238E27FC236}">
                  <a16:creationId xmlns:a16="http://schemas.microsoft.com/office/drawing/2014/main" id="{ED90251B-6C1A-836F-A229-910E719E4BC2}"/>
                </a:ext>
              </a:extLst>
            </p:cNvPr>
            <p:cNvCxnSpPr/>
            <p:nvPr/>
          </p:nvCxnSpPr>
          <p:spPr>
            <a:xfrm>
              <a:off x="4425864"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7" name="Straight Connector 16">
              <a:extLst>
                <a:ext uri="{FF2B5EF4-FFF2-40B4-BE49-F238E27FC236}">
                  <a16:creationId xmlns:a16="http://schemas.microsoft.com/office/drawing/2014/main" id="{92FE3058-7319-E426-B08B-1FBBB71EC7B1}"/>
                </a:ext>
              </a:extLst>
            </p:cNvPr>
            <p:cNvCxnSpPr/>
            <p:nvPr/>
          </p:nvCxnSpPr>
          <p:spPr>
            <a:xfrm>
              <a:off x="6638796"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a:extLst>
                <a:ext uri="{FF2B5EF4-FFF2-40B4-BE49-F238E27FC236}">
                  <a16:creationId xmlns:a16="http://schemas.microsoft.com/office/drawing/2014/main" id="{94BC13FB-223B-153B-FEFD-C08A736B194B}"/>
                </a:ext>
              </a:extLst>
            </p:cNvPr>
            <p:cNvCxnSpPr/>
            <p:nvPr/>
          </p:nvCxnSpPr>
          <p:spPr>
            <a:xfrm>
              <a:off x="8851728"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9" name="Straight Connector 18">
              <a:extLst>
                <a:ext uri="{FF2B5EF4-FFF2-40B4-BE49-F238E27FC236}">
                  <a16:creationId xmlns:a16="http://schemas.microsoft.com/office/drawing/2014/main" id="{EEB657AB-D9D1-0FEF-D4AC-09E5D214C6DD}"/>
                </a:ext>
              </a:extLst>
            </p:cNvPr>
            <p:cNvCxnSpPr>
              <a:cxnSpLocks/>
            </p:cNvCxnSpPr>
            <p:nvPr/>
          </p:nvCxnSpPr>
          <p:spPr>
            <a:xfrm>
              <a:off x="11064658" y="2855934"/>
              <a:ext cx="1127342" cy="0"/>
            </a:xfrm>
            <a:prstGeom prst="line">
              <a:avLst/>
            </a:prstGeom>
            <a:noFill/>
            <a:ln>
              <a:gradFill flip="none" rotWithShape="1">
                <a:gsLst>
                  <a:gs pos="0">
                    <a:srgbClr val="1264B1"/>
                  </a:gs>
                  <a:gs pos="100000">
                    <a:srgbClr val="944DCF"/>
                  </a:gs>
                </a:gsLst>
                <a:lin ang="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Tree>
    <p:extLst>
      <p:ext uri="{BB962C8B-B14F-4D97-AF65-F5344CB8AC3E}">
        <p14:creationId xmlns:p14="http://schemas.microsoft.com/office/powerpoint/2010/main" val="21947415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22" presetClass="entr" presetSubtype="8" fill="hold"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wipe(left)">
                                      <p:cBhvr>
                                        <p:cTn id="10" dur="800"/>
                                        <p:tgtEl>
                                          <p:spTgt spid="13"/>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42" presetClass="path" presetSubtype="0" decel="100000" fill="hold" grpId="1" nodeType="withEffect">
                                  <p:stCondLst>
                                    <p:cond delay="300"/>
                                  </p:stCondLst>
                                  <p:childTnLst>
                                    <p:animMotion origin="layout" path="M -3.33333E-6 -4.44444E-6 L -3.33333E-6 0.03542 " pathEditMode="relative" rAng="0" ptsTypes="AA">
                                      <p:cBhvr>
                                        <p:cTn id="15" dur="700" spd="-100000" fill="hold"/>
                                        <p:tgtEl>
                                          <p:spTgt spid="8"/>
                                        </p:tgtEl>
                                        <p:attrNameLst>
                                          <p:attrName>ppt_x</p:attrName>
                                          <p:attrName>ppt_y</p:attrName>
                                        </p:attrNameLst>
                                      </p:cBhvr>
                                      <p:rCtr x="0" y="1759"/>
                                    </p:animMotion>
                                  </p:childTnLst>
                                </p:cTn>
                              </p:par>
                              <p:par>
                                <p:cTn id="16" presetID="10" presetClass="entr" presetSubtype="0" fill="hold" grpId="0" nodeType="withEffect">
                                  <p:stCondLst>
                                    <p:cond delay="3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42" presetClass="path" presetSubtype="0" decel="100000" fill="hold" grpId="1" nodeType="withEffect">
                                  <p:stCondLst>
                                    <p:cond delay="300"/>
                                  </p:stCondLst>
                                  <p:childTnLst>
                                    <p:animMotion origin="layout" path="M 3.33333E-6 0 L 3.33333E-6 0.04282 " pathEditMode="relative" rAng="0" ptsTypes="AA">
                                      <p:cBhvr>
                                        <p:cTn id="20" dur="700" spd="-100000" fill="hold"/>
                                        <p:tgtEl>
                                          <p:spTgt spid="5"/>
                                        </p:tgtEl>
                                        <p:attrNameLst>
                                          <p:attrName>ppt_x</p:attrName>
                                          <p:attrName>ppt_y</p:attrName>
                                        </p:attrNameLst>
                                      </p:cBhvr>
                                      <p:rCtr x="0" y="2130"/>
                                    </p:animMotion>
                                  </p:childTnLst>
                                </p:cTn>
                              </p:par>
                              <p:par>
                                <p:cTn id="21" presetID="10" presetClass="entr" presetSubtype="0" fill="hold" grpId="0" nodeType="withEffect">
                                  <p:stCondLst>
                                    <p:cond delay="4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42" presetClass="path" presetSubtype="0" decel="100000" fill="hold" grpId="1" nodeType="withEffect">
                                  <p:stCondLst>
                                    <p:cond delay="400"/>
                                  </p:stCondLst>
                                  <p:childTnLst>
                                    <p:animMotion origin="layout" path="M -3.33333E-6 -4.44444E-6 L -3.33333E-6 0.03542 " pathEditMode="relative" rAng="0" ptsTypes="AA">
                                      <p:cBhvr>
                                        <p:cTn id="25" dur="700" spd="-100000" fill="hold"/>
                                        <p:tgtEl>
                                          <p:spTgt spid="9"/>
                                        </p:tgtEl>
                                        <p:attrNameLst>
                                          <p:attrName>ppt_x</p:attrName>
                                          <p:attrName>ppt_y</p:attrName>
                                        </p:attrNameLst>
                                      </p:cBhvr>
                                      <p:rCtr x="0" y="1759"/>
                                    </p:animMotion>
                                  </p:childTnLst>
                                </p:cTn>
                              </p:par>
                              <p:par>
                                <p:cTn id="26" presetID="10" presetClass="entr" presetSubtype="0" fill="hold" grpId="0" nodeType="withEffect">
                                  <p:stCondLst>
                                    <p:cond delay="4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42" presetClass="path" presetSubtype="0" decel="100000" fill="hold" grpId="1" nodeType="withEffect">
                                  <p:stCondLst>
                                    <p:cond delay="400"/>
                                  </p:stCondLst>
                                  <p:childTnLst>
                                    <p:animMotion origin="layout" path="M 1.04167E-6 4.44444E-6 L 1.04167E-6 0.04282 " pathEditMode="relative" rAng="0" ptsTypes="AA">
                                      <p:cBhvr>
                                        <p:cTn id="30" dur="700" spd="-100000" fill="hold"/>
                                        <p:tgtEl>
                                          <p:spTgt spid="6"/>
                                        </p:tgtEl>
                                        <p:attrNameLst>
                                          <p:attrName>ppt_x</p:attrName>
                                          <p:attrName>ppt_y</p:attrName>
                                        </p:attrNameLst>
                                      </p:cBhvr>
                                      <p:rCtr x="0" y="2130"/>
                                    </p:animMotion>
                                  </p:childTnLst>
                                </p:cTn>
                              </p:par>
                              <p:par>
                                <p:cTn id="31" presetID="10" presetClass="entr" presetSubtype="0" fill="hold" grpId="0" nodeType="withEffect">
                                  <p:stCondLst>
                                    <p:cond delay="50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42" presetClass="path" presetSubtype="0" decel="100000" fill="hold" grpId="1" nodeType="withEffect">
                                  <p:stCondLst>
                                    <p:cond delay="500"/>
                                  </p:stCondLst>
                                  <p:childTnLst>
                                    <p:animMotion origin="layout" path="M -3.33333E-6 -4.44444E-6 L -3.33333E-6 0.03542 " pathEditMode="relative" rAng="0" ptsTypes="AA">
                                      <p:cBhvr>
                                        <p:cTn id="35" dur="700" spd="-100000" fill="hold"/>
                                        <p:tgtEl>
                                          <p:spTgt spid="10"/>
                                        </p:tgtEl>
                                        <p:attrNameLst>
                                          <p:attrName>ppt_x</p:attrName>
                                          <p:attrName>ppt_y</p:attrName>
                                        </p:attrNameLst>
                                      </p:cBhvr>
                                      <p:rCtr x="0" y="1759"/>
                                    </p:animMotion>
                                  </p:childTnLst>
                                </p:cTn>
                              </p:par>
                              <p:par>
                                <p:cTn id="36" presetID="10" presetClass="entr" presetSubtype="0" fill="hold" grpId="0" nodeType="withEffect">
                                  <p:stCondLst>
                                    <p:cond delay="50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500"/>
                                        <p:tgtEl>
                                          <p:spTgt spid="7"/>
                                        </p:tgtEl>
                                      </p:cBhvr>
                                    </p:animEffect>
                                  </p:childTnLst>
                                </p:cTn>
                              </p:par>
                              <p:par>
                                <p:cTn id="39" presetID="42" presetClass="path" presetSubtype="0" decel="100000" fill="hold" grpId="1" nodeType="withEffect">
                                  <p:stCondLst>
                                    <p:cond delay="500"/>
                                  </p:stCondLst>
                                  <p:childTnLst>
                                    <p:animMotion origin="layout" path="M 0 4.44444E-6 L 0 0.04282 " pathEditMode="relative" rAng="0" ptsTypes="AA">
                                      <p:cBhvr>
                                        <p:cTn id="40" dur="700" spd="-100000" fill="hold"/>
                                        <p:tgtEl>
                                          <p:spTgt spid="7"/>
                                        </p:tgtEl>
                                        <p:attrNameLst>
                                          <p:attrName>ppt_x</p:attrName>
                                          <p:attrName>ppt_y</p:attrName>
                                        </p:attrNameLst>
                                      </p:cBhvr>
                                      <p:rCtr x="0" y="2130"/>
                                    </p:animMotion>
                                  </p:childTnLst>
                                </p:cTn>
                              </p:par>
                              <p:par>
                                <p:cTn id="41" presetID="10" presetClass="entr" presetSubtype="0" fill="hold" grpId="0" nodeType="withEffect">
                                  <p:stCondLst>
                                    <p:cond delay="6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cTn>
                              </p:par>
                              <p:par>
                                <p:cTn id="44" presetID="42" presetClass="path" presetSubtype="0" decel="100000" fill="hold" grpId="1" nodeType="withEffect">
                                  <p:stCondLst>
                                    <p:cond delay="600"/>
                                  </p:stCondLst>
                                  <p:childTnLst>
                                    <p:animMotion origin="layout" path="M -3.33333E-6 -4.44444E-6 L -3.33333E-6 0.03542 " pathEditMode="relative" rAng="0" ptsTypes="AA">
                                      <p:cBhvr>
                                        <p:cTn id="45" dur="700" spd="-100000" fill="hold"/>
                                        <p:tgtEl>
                                          <p:spTgt spid="12"/>
                                        </p:tgtEl>
                                        <p:attrNameLst>
                                          <p:attrName>ppt_x</p:attrName>
                                          <p:attrName>ppt_y</p:attrName>
                                        </p:attrNameLst>
                                      </p:cBhvr>
                                      <p:rCtr x="0" y="1759"/>
                                    </p:animMotion>
                                  </p:childTnLst>
                                </p:cTn>
                              </p:par>
                              <p:par>
                                <p:cTn id="46" presetID="10" presetClass="entr" presetSubtype="0" fill="hold" grpId="0" nodeType="withEffect">
                                  <p:stCondLst>
                                    <p:cond delay="60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par>
                                <p:cTn id="49" presetID="42" presetClass="path" presetSubtype="0" decel="100000" fill="hold" grpId="1" nodeType="withEffect">
                                  <p:stCondLst>
                                    <p:cond delay="600"/>
                                  </p:stCondLst>
                                  <p:childTnLst>
                                    <p:animMotion origin="layout" path="M -8.33333E-7 4.44444E-6 L -8.33333E-7 0.04282 " pathEditMode="relative" rAng="0" ptsTypes="AA">
                                      <p:cBhvr>
                                        <p:cTn id="50" dur="700" spd="-100000" fill="hold"/>
                                        <p:tgtEl>
                                          <p:spTgt spid="3"/>
                                        </p:tgtEl>
                                        <p:attrNameLst>
                                          <p:attrName>ppt_x</p:attrName>
                                          <p:attrName>ppt_y</p:attrName>
                                        </p:attrNameLst>
                                      </p:cBhvr>
                                      <p:rCtr x="0" y="2130"/>
                                    </p:animMotion>
                                  </p:childTnLst>
                                </p:cTn>
                              </p:par>
                              <p:par>
                                <p:cTn id="51" presetID="10" presetClass="entr" presetSubtype="0" fill="hold" grpId="0" nodeType="withEffect">
                                  <p:stCondLst>
                                    <p:cond delay="700"/>
                                  </p:stCondLst>
                                  <p:childTnLst>
                                    <p:set>
                                      <p:cBhvr>
                                        <p:cTn id="52" dur="1" fill="hold">
                                          <p:stCondLst>
                                            <p:cond delay="0"/>
                                          </p:stCondLst>
                                        </p:cTn>
                                        <p:tgtEl>
                                          <p:spTgt spid="11"/>
                                        </p:tgtEl>
                                        <p:attrNameLst>
                                          <p:attrName>style.visibility</p:attrName>
                                        </p:attrNameLst>
                                      </p:cBhvr>
                                      <p:to>
                                        <p:strVal val="visible"/>
                                      </p:to>
                                    </p:set>
                                    <p:animEffect transition="in" filter="fade">
                                      <p:cBhvr>
                                        <p:cTn id="53" dur="500"/>
                                        <p:tgtEl>
                                          <p:spTgt spid="11"/>
                                        </p:tgtEl>
                                      </p:cBhvr>
                                    </p:animEffect>
                                  </p:childTnLst>
                                </p:cTn>
                              </p:par>
                              <p:par>
                                <p:cTn id="54" presetID="42" presetClass="path" presetSubtype="0" decel="100000" fill="hold" grpId="1" nodeType="withEffect">
                                  <p:stCondLst>
                                    <p:cond delay="700"/>
                                  </p:stCondLst>
                                  <p:childTnLst>
                                    <p:animMotion origin="layout" path="M -3.33333E-6 -4.44444E-6 L -3.33333E-6 0.03542 " pathEditMode="relative" rAng="0" ptsTypes="AA">
                                      <p:cBhvr>
                                        <p:cTn id="55" dur="700" spd="-100000" fill="hold"/>
                                        <p:tgtEl>
                                          <p:spTgt spid="11"/>
                                        </p:tgtEl>
                                        <p:attrNameLst>
                                          <p:attrName>ppt_x</p:attrName>
                                          <p:attrName>ppt_y</p:attrName>
                                        </p:attrNameLst>
                                      </p:cBhvr>
                                      <p:rCtr x="0" y="1759"/>
                                    </p:animMotion>
                                  </p:childTnLst>
                                </p:cTn>
                              </p:par>
                              <p:par>
                                <p:cTn id="56" presetID="10" presetClass="entr" presetSubtype="0" fill="hold" grpId="0" nodeType="withEffect">
                                  <p:stCondLst>
                                    <p:cond delay="700"/>
                                  </p:stCondLst>
                                  <p:childTnLst>
                                    <p:set>
                                      <p:cBhvr>
                                        <p:cTn id="57" dur="1" fill="hold">
                                          <p:stCondLst>
                                            <p:cond delay="0"/>
                                          </p:stCondLst>
                                        </p:cTn>
                                        <p:tgtEl>
                                          <p:spTgt spid="4"/>
                                        </p:tgtEl>
                                        <p:attrNameLst>
                                          <p:attrName>style.visibility</p:attrName>
                                        </p:attrNameLst>
                                      </p:cBhvr>
                                      <p:to>
                                        <p:strVal val="visible"/>
                                      </p:to>
                                    </p:set>
                                    <p:animEffect transition="in" filter="fade">
                                      <p:cBhvr>
                                        <p:cTn id="58" dur="500"/>
                                        <p:tgtEl>
                                          <p:spTgt spid="4"/>
                                        </p:tgtEl>
                                      </p:cBhvr>
                                    </p:animEffect>
                                  </p:childTnLst>
                                </p:cTn>
                              </p:par>
                              <p:par>
                                <p:cTn id="59" presetID="42" presetClass="path" presetSubtype="0" decel="100000" fill="hold" grpId="1" nodeType="withEffect">
                                  <p:stCondLst>
                                    <p:cond delay="700"/>
                                  </p:stCondLst>
                                  <p:childTnLst>
                                    <p:animMotion origin="layout" path="M 4.16667E-7 -2.22222E-6 L 4.16667E-7 0.04283 " pathEditMode="relative" rAng="0" ptsTypes="AA">
                                      <p:cBhvr>
                                        <p:cTn id="60" dur="700" spd="-100000" fill="hold"/>
                                        <p:tgtEl>
                                          <p:spTgt spid="4"/>
                                        </p:tgtEl>
                                        <p:attrNameLst>
                                          <p:attrName>ppt_x</p:attrName>
                                          <p:attrName>ppt_y</p:attrName>
                                        </p:attrNameLst>
                                      </p:cBhvr>
                                      <p:rCtr x="0" y="2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P spid="3" grpId="1"/>
      <p:bldP spid="4" grpId="0"/>
      <p:bldP spid="4" grpId="1"/>
      <p:bldP spid="5" grpId="0"/>
      <p:bldP spid="5" grpId="1"/>
      <p:bldP spid="6" grpId="0"/>
      <p:bldP spid="6" grpId="1"/>
      <p:bldP spid="7" grpId="0"/>
      <p:bldP spid="7" grpId="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95E7A5A-5F66-1F46-4E2F-56781DDBA73C}"/>
              </a:ext>
            </a:extLst>
          </p:cNvPr>
          <p:cNvSpPr>
            <a:spLocks noGrp="1"/>
          </p:cNvSpPr>
          <p:nvPr>
            <p:ph type="title"/>
          </p:nvPr>
        </p:nvSpPr>
        <p:spPr>
          <a:xfrm>
            <a:off x="588263" y="457200"/>
            <a:ext cx="11018520" cy="17543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chemeClr val="tx1"/>
                </a:solidFill>
                <a:effectLst/>
                <a:uLnTx/>
                <a:uFillTx/>
                <a:latin typeface="Segoe UI Semilight" panose="020B0402040204020203" pitchFamily="34" charset="0"/>
                <a:ea typeface="+mn-ea"/>
                <a:cs typeface="Segoe UI Semilight" panose="020B0402040204020203" pitchFamily="34" charset="0"/>
              </a:rPr>
              <a:t>Are you ready to join the era of AI? </a:t>
            </a:r>
            <a:br>
              <a:rPr kumimoji="0" lang="it-IT" sz="1800" b="0" i="0" u="none" strike="noStrike" kern="1200" cap="none" spc="0" normalizeH="0" baseline="0" noProof="0">
                <a:ln>
                  <a:noFill/>
                </a:ln>
                <a:solidFill>
                  <a:schemeClr val="tx1"/>
                </a:solidFill>
                <a:effectLst/>
                <a:uLnTx/>
                <a:uFillTx/>
                <a:latin typeface="Segoe UI Semilight" panose="020B0402040204020203" pitchFamily="34" charset="0"/>
                <a:ea typeface="+mn-ea"/>
                <a:cs typeface="Segoe UI Semilight" panose="020B0402040204020203" pitchFamily="34" charset="0"/>
              </a:rPr>
            </a:br>
            <a:r>
              <a:rPr lang="en-US" sz="3200" b="1">
                <a:solidFill>
                  <a:schemeClr val="tx1"/>
                </a:solidFill>
                <a:latin typeface="Segoe UI Semibold"/>
              </a:rPr>
              <a:t>Pivoting to a proactive AI strategy (Access, Devices, and Data)</a:t>
            </a:r>
            <a:br>
              <a:rPr lang="en-US" sz="3200" b="1">
                <a:solidFill>
                  <a:schemeClr val="tx1"/>
                </a:solidFill>
                <a:latin typeface="Segoe UI Semibold"/>
              </a:rPr>
            </a:br>
            <a:br>
              <a:rPr lang="it-IT" sz="3200">
                <a:solidFill>
                  <a:schemeClr val="tx1"/>
                </a:solidFill>
                <a:latin typeface="Segoe UI Semibold"/>
              </a:rPr>
            </a:br>
            <a:endParaRPr lang="en-US" sz="3200">
              <a:solidFill>
                <a:schemeClr val="tx1"/>
              </a:solidFill>
            </a:endParaRPr>
          </a:p>
        </p:txBody>
      </p:sp>
      <p:sp>
        <p:nvSpPr>
          <p:cNvPr id="4" name="TextBox 3">
            <a:extLst>
              <a:ext uri="{FF2B5EF4-FFF2-40B4-BE49-F238E27FC236}">
                <a16:creationId xmlns:a16="http://schemas.microsoft.com/office/drawing/2014/main" id="{263E3EC3-072F-3C28-EB7C-536CCB46709F}"/>
              </a:ext>
            </a:extLst>
          </p:cNvPr>
          <p:cNvSpPr txBox="1"/>
          <p:nvPr/>
        </p:nvSpPr>
        <p:spPr>
          <a:xfrm>
            <a:off x="4657825" y="2411111"/>
            <a:ext cx="731882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a:ea typeface="+mn-ea"/>
                <a:cs typeface="Segoe UI"/>
                <a:sym typeface="Segoe UI"/>
                <a:rtl val="0"/>
              </a:rPr>
              <a:t>AI introduces new vectors for security risk with repercussions like data breaches, financial losses and reputational risks. Zero-trust using anomaly detection can </a:t>
            </a:r>
            <a:r>
              <a:rPr kumimoji="0" lang="en-US" sz="1200" b="1" i="0" u="none" strike="noStrike" kern="0" cap="none" spc="0" normalizeH="0" baseline="0" noProof="0" dirty="0">
                <a:ln>
                  <a:noFill/>
                </a:ln>
                <a:effectLst/>
                <a:uLnTx/>
                <a:uFillTx/>
                <a:latin typeface="Segoe UI"/>
                <a:ea typeface="+mn-ea"/>
                <a:cs typeface="Segoe UI"/>
                <a:sym typeface="Segoe UI"/>
                <a:rtl val="0"/>
              </a:rPr>
              <a:t>tighten access controls </a:t>
            </a:r>
            <a:r>
              <a:rPr kumimoji="0" lang="en-US" sz="1200" b="0" i="0" u="none" strike="noStrike" kern="0" cap="none" spc="0" normalizeH="0" baseline="0" noProof="0" dirty="0">
                <a:ln>
                  <a:noFill/>
                </a:ln>
                <a:effectLst/>
                <a:uLnTx/>
                <a:uFillTx/>
                <a:latin typeface="Segoe UI"/>
                <a:ea typeface="+mn-ea"/>
                <a:cs typeface="Segoe UI"/>
                <a:sym typeface="Segoe UI"/>
                <a:rtl val="0"/>
              </a:rPr>
              <a:t>and </a:t>
            </a:r>
            <a:r>
              <a:rPr kumimoji="0" lang="en-US" sz="1200" b="1" i="0" u="none" strike="noStrike" kern="0" cap="none" spc="0" normalizeH="0" baseline="0" noProof="0" dirty="0">
                <a:ln>
                  <a:noFill/>
                </a:ln>
                <a:effectLst/>
                <a:uLnTx/>
                <a:uFillTx/>
                <a:latin typeface="Segoe UI"/>
                <a:ea typeface="+mn-ea"/>
                <a:cs typeface="Segoe UI"/>
                <a:sym typeface="Segoe UI"/>
                <a:rtl val="0"/>
              </a:rPr>
              <a:t>minimize security breaches</a:t>
            </a:r>
            <a:r>
              <a:rPr kumimoji="0" lang="en-US" sz="1200" b="0" i="0" u="none" strike="noStrike" kern="0" cap="none" spc="0" normalizeH="0" baseline="0" noProof="0" dirty="0">
                <a:ln>
                  <a:noFill/>
                </a:ln>
                <a:effectLst/>
                <a:uLnTx/>
                <a:uFillTx/>
                <a:latin typeface="Segoe UI"/>
                <a:ea typeface="+mn-ea"/>
                <a:cs typeface="Segoe UI"/>
                <a:sym typeface="Segoe UI"/>
                <a:rtl val="0"/>
              </a:rPr>
              <a:t>.</a:t>
            </a:r>
          </a:p>
        </p:txBody>
      </p:sp>
      <p:sp>
        <p:nvSpPr>
          <p:cNvPr id="5" name="TextBox 4">
            <a:extLst>
              <a:ext uri="{FF2B5EF4-FFF2-40B4-BE49-F238E27FC236}">
                <a16:creationId xmlns:a16="http://schemas.microsoft.com/office/drawing/2014/main" id="{1D0EFF1F-514C-213C-073E-4631CA9F674C}"/>
              </a:ext>
            </a:extLst>
          </p:cNvPr>
          <p:cNvSpPr txBox="1"/>
          <p:nvPr/>
        </p:nvSpPr>
        <p:spPr>
          <a:xfrm>
            <a:off x="4550679" y="2023843"/>
            <a:ext cx="7775381" cy="461665"/>
          </a:xfrm>
          <a:prstGeom prst="rect">
            <a:avLst/>
          </a:prstGeom>
          <a:noFill/>
          <a:ln>
            <a:noFill/>
          </a:ln>
          <a:effectLst/>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78D4"/>
                </a:solidFill>
                <a:effectLst/>
                <a:uLnTx/>
                <a:uFillTx/>
                <a:latin typeface="Segoe UI Semibold"/>
                <a:ea typeface="+mn-ea"/>
                <a:cs typeface="+mn-cs"/>
              </a:rPr>
              <a:t>Do you have comprehensive ‘Zero-Trust’ security?</a:t>
            </a:r>
          </a:p>
        </p:txBody>
      </p:sp>
      <p:cxnSp>
        <p:nvCxnSpPr>
          <p:cNvPr id="6" name="Straight Arrow Connector 5">
            <a:extLst>
              <a:ext uri="{FF2B5EF4-FFF2-40B4-BE49-F238E27FC236}">
                <a16:creationId xmlns:a16="http://schemas.microsoft.com/office/drawing/2014/main" id="{F27FC8C4-5735-885F-B7F9-BEA9A87C6B2B}"/>
              </a:ext>
              <a:ext uri="{C183D7F6-B498-43B3-948B-1728B52AA6E4}">
                <adec:decorative xmlns:adec="http://schemas.microsoft.com/office/drawing/2017/decorative" val="1"/>
              </a:ext>
            </a:extLst>
          </p:cNvPr>
          <p:cNvCxnSpPr>
            <a:cxnSpLocks/>
          </p:cNvCxnSpPr>
          <p:nvPr/>
        </p:nvCxnSpPr>
        <p:spPr>
          <a:xfrm rot="16200000" flipV="1">
            <a:off x="4426807" y="2117515"/>
            <a:ext cx="0" cy="274320"/>
          </a:xfrm>
          <a:prstGeom prst="straightConnector1">
            <a:avLst/>
          </a:prstGeom>
          <a:ln>
            <a:headEnd type="none" w="lg" len="med"/>
            <a:tailEnd type="ova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7B07CC9-C00C-0A0D-C653-E68DF25650FF}"/>
              </a:ext>
            </a:extLst>
          </p:cNvPr>
          <p:cNvSpPr txBox="1"/>
          <p:nvPr/>
        </p:nvSpPr>
        <p:spPr>
          <a:xfrm>
            <a:off x="4657825" y="5373727"/>
            <a:ext cx="663510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a:ea typeface="+mn-ea"/>
                <a:cs typeface="Segoe UI"/>
                <a:sym typeface="Segoe UI"/>
                <a:rtl val="0"/>
              </a:rPr>
              <a:t>The right mix of tools can improve </a:t>
            </a:r>
            <a:r>
              <a:rPr kumimoji="0" lang="en-US" sz="1200" b="1" i="0" u="none" strike="noStrike" kern="0" cap="none" spc="0" normalizeH="0" baseline="0" noProof="0" dirty="0">
                <a:ln>
                  <a:noFill/>
                </a:ln>
                <a:effectLst/>
                <a:uLnTx/>
                <a:uFillTx/>
                <a:latin typeface="Segoe UI"/>
                <a:ea typeface="+mn-ea"/>
                <a:cs typeface="Segoe UI"/>
                <a:sym typeface="Segoe UI"/>
                <a:rtl val="0"/>
              </a:rPr>
              <a:t>productivity</a:t>
            </a:r>
            <a:r>
              <a:rPr kumimoji="0" lang="en-US" sz="1200" b="0" i="0" u="none" strike="noStrike" kern="0" cap="none" spc="0" normalizeH="0" baseline="0" noProof="0" dirty="0">
                <a:ln>
                  <a:noFill/>
                </a:ln>
                <a:effectLst/>
                <a:uLnTx/>
                <a:uFillTx/>
                <a:latin typeface="Segoe UI"/>
                <a:ea typeface="+mn-ea"/>
                <a:cs typeface="Segoe UI"/>
                <a:sym typeface="Segoe UI"/>
                <a:rtl val="0"/>
              </a:rPr>
              <a:t>, breakdown silos to boost collaboration, and help employees get more value out of AI, while still </a:t>
            </a:r>
            <a:r>
              <a:rPr kumimoji="0" lang="en-US" sz="1200" b="1" i="0" u="none" strike="noStrike" kern="0" cap="none" spc="0" normalizeH="0" baseline="0" noProof="0" dirty="0">
                <a:ln>
                  <a:noFill/>
                </a:ln>
                <a:effectLst/>
                <a:uLnTx/>
                <a:uFillTx/>
                <a:latin typeface="Segoe UI"/>
                <a:ea typeface="+mn-ea"/>
                <a:cs typeface="Segoe UI"/>
                <a:sym typeface="Segoe UI"/>
                <a:rtl val="0"/>
              </a:rPr>
              <a:t>prioritizing security </a:t>
            </a:r>
            <a:r>
              <a:rPr kumimoji="0" lang="en-US" sz="1200" b="0" i="0" u="none" strike="noStrike" kern="0" cap="none" spc="0" normalizeH="0" baseline="0" noProof="0" dirty="0">
                <a:ln>
                  <a:noFill/>
                </a:ln>
                <a:effectLst/>
                <a:uLnTx/>
                <a:uFillTx/>
                <a:latin typeface="Segoe UI"/>
                <a:ea typeface="+mn-ea"/>
                <a:cs typeface="Segoe UI"/>
                <a:sym typeface="Segoe UI"/>
                <a:rtl val="0"/>
              </a:rPr>
              <a:t>for the organization.</a:t>
            </a:r>
          </a:p>
        </p:txBody>
      </p:sp>
      <p:sp>
        <p:nvSpPr>
          <p:cNvPr id="8" name="TextBox 7">
            <a:extLst>
              <a:ext uri="{FF2B5EF4-FFF2-40B4-BE49-F238E27FC236}">
                <a16:creationId xmlns:a16="http://schemas.microsoft.com/office/drawing/2014/main" id="{53D1EC24-3560-CF52-C734-00F9CE43D82D}"/>
              </a:ext>
            </a:extLst>
          </p:cNvPr>
          <p:cNvSpPr txBox="1"/>
          <p:nvPr/>
        </p:nvSpPr>
        <p:spPr>
          <a:xfrm>
            <a:off x="4550679" y="3520074"/>
            <a:ext cx="6665305" cy="461665"/>
          </a:xfrm>
          <a:prstGeom prst="rect">
            <a:avLst/>
          </a:prstGeom>
          <a:noFill/>
          <a:ln>
            <a:noFill/>
          </a:ln>
          <a:effectLst/>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008575"/>
                </a:solidFill>
                <a:effectLst/>
                <a:uLnTx/>
                <a:uFillTx/>
                <a:latin typeface="Segoe UI Semibold"/>
                <a:ea typeface="+mn-ea"/>
                <a:cs typeface="+mn-cs"/>
              </a:rPr>
              <a:t>Are your endpoints and apps easily managed?</a:t>
            </a:r>
          </a:p>
        </p:txBody>
      </p:sp>
      <p:cxnSp>
        <p:nvCxnSpPr>
          <p:cNvPr id="9" name="Straight Arrow Connector 8">
            <a:extLst>
              <a:ext uri="{FF2B5EF4-FFF2-40B4-BE49-F238E27FC236}">
                <a16:creationId xmlns:a16="http://schemas.microsoft.com/office/drawing/2014/main" id="{1508BC2E-69A3-ECA9-0D30-05492297ADFB}"/>
              </a:ext>
              <a:ext uri="{C183D7F6-B498-43B3-948B-1728B52AA6E4}">
                <adec:decorative xmlns:adec="http://schemas.microsoft.com/office/drawing/2017/decorative" val="1"/>
              </a:ext>
            </a:extLst>
          </p:cNvPr>
          <p:cNvCxnSpPr>
            <a:cxnSpLocks/>
          </p:cNvCxnSpPr>
          <p:nvPr/>
        </p:nvCxnSpPr>
        <p:spPr>
          <a:xfrm rot="16200000" flipV="1">
            <a:off x="4426807" y="3613747"/>
            <a:ext cx="0" cy="274320"/>
          </a:xfrm>
          <a:prstGeom prst="straightConnector1">
            <a:avLst/>
          </a:prstGeom>
          <a:ln>
            <a:solidFill>
              <a:srgbClr val="008575"/>
            </a:solidFill>
            <a:headEnd type="none" w="lg" len="med"/>
            <a:tailEnd type="ova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ADF53B86-BE02-49A8-9536-45AD261E4F4B}"/>
              </a:ext>
            </a:extLst>
          </p:cNvPr>
          <p:cNvSpPr txBox="1"/>
          <p:nvPr/>
        </p:nvSpPr>
        <p:spPr>
          <a:xfrm>
            <a:off x="4658935" y="3910536"/>
            <a:ext cx="674225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Segoe UI"/>
                <a:ea typeface="+mn-ea"/>
                <a:cs typeface="Segoe UI"/>
                <a:sym typeface="Segoe UI"/>
                <a:rtl val="0"/>
              </a:rPr>
              <a:t>A modern tech stack is critical to success with AI, so IT teams can easily enhance </a:t>
            </a:r>
            <a:r>
              <a:rPr kumimoji="0" lang="en-US" sz="1200" b="1" i="0" u="none" strike="noStrike" kern="0" cap="none" spc="0" normalizeH="0" baseline="0" noProof="0" dirty="0">
                <a:ln>
                  <a:noFill/>
                </a:ln>
                <a:effectLst/>
                <a:uLnTx/>
                <a:uFillTx/>
                <a:latin typeface="Segoe UI"/>
                <a:ea typeface="+mn-ea"/>
                <a:cs typeface="Segoe UI"/>
                <a:sym typeface="Segoe UI"/>
                <a:rtl val="0"/>
              </a:rPr>
              <a:t>data loss protection </a:t>
            </a:r>
            <a:r>
              <a:rPr kumimoji="0" lang="en-US" sz="1200" b="0" i="0" u="none" strike="noStrike" kern="0" cap="none" spc="0" normalizeH="0" baseline="0" noProof="0" dirty="0">
                <a:ln>
                  <a:noFill/>
                </a:ln>
                <a:effectLst/>
                <a:uLnTx/>
                <a:uFillTx/>
                <a:latin typeface="Segoe UI"/>
                <a:ea typeface="+mn-ea"/>
                <a:cs typeface="Segoe UI"/>
                <a:sym typeface="Segoe UI"/>
                <a:rtl val="0"/>
              </a:rPr>
              <a:t>controls, apply </a:t>
            </a:r>
            <a:r>
              <a:rPr kumimoji="0" lang="en-US" sz="1200" b="1" i="0" u="none" strike="noStrike" kern="0" cap="none" spc="0" normalizeH="0" baseline="0" noProof="0" dirty="0">
                <a:ln>
                  <a:noFill/>
                </a:ln>
                <a:effectLst/>
                <a:uLnTx/>
                <a:uFillTx/>
                <a:latin typeface="Segoe UI"/>
                <a:ea typeface="+mn-ea"/>
                <a:cs typeface="Segoe UI"/>
                <a:sym typeface="Segoe UI"/>
                <a:rtl val="0"/>
              </a:rPr>
              <a:t>robust data governance </a:t>
            </a:r>
            <a:r>
              <a:rPr kumimoji="0" lang="en-US" sz="1200" b="0" i="0" u="none" strike="noStrike" kern="0" cap="none" spc="0" normalizeH="0" baseline="0" noProof="0" dirty="0">
                <a:ln>
                  <a:noFill/>
                </a:ln>
                <a:effectLst/>
                <a:uLnTx/>
                <a:uFillTx/>
                <a:latin typeface="Segoe UI"/>
                <a:ea typeface="+mn-ea"/>
                <a:cs typeface="Segoe UI"/>
                <a:sym typeface="Segoe UI"/>
                <a:rtl val="0"/>
              </a:rPr>
              <a:t>and enforce data retention policies and access rights.</a:t>
            </a:r>
          </a:p>
        </p:txBody>
      </p:sp>
      <p:sp>
        <p:nvSpPr>
          <p:cNvPr id="11" name="TextBox 10">
            <a:extLst>
              <a:ext uri="{FF2B5EF4-FFF2-40B4-BE49-F238E27FC236}">
                <a16:creationId xmlns:a16="http://schemas.microsoft.com/office/drawing/2014/main" id="{DBB652C6-7C6E-D0AE-59D9-B8E332D3320F}"/>
              </a:ext>
            </a:extLst>
          </p:cNvPr>
          <p:cNvSpPr txBox="1"/>
          <p:nvPr/>
        </p:nvSpPr>
        <p:spPr>
          <a:xfrm>
            <a:off x="4550678" y="4978206"/>
            <a:ext cx="6850508" cy="461665"/>
          </a:xfrm>
          <a:prstGeom prst="rect">
            <a:avLst/>
          </a:prstGeom>
          <a:noFill/>
          <a:ln>
            <a:noFill/>
          </a:ln>
          <a:effectLst/>
        </p:spPr>
        <p:txBody>
          <a:bodyPr wrap="square"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rgbClr val="C73ECC"/>
                </a:solidFill>
                <a:effectLst/>
                <a:uLnTx/>
                <a:uFillTx/>
                <a:latin typeface="Segoe UI Semibold"/>
                <a:ea typeface="+mn-ea"/>
                <a:cs typeface="+mn-cs"/>
              </a:rPr>
              <a:t>Do you have the right tools to fuel productivity?</a:t>
            </a:r>
          </a:p>
        </p:txBody>
      </p:sp>
      <p:cxnSp>
        <p:nvCxnSpPr>
          <p:cNvPr id="12" name="Straight Arrow Connector 11">
            <a:extLst>
              <a:ext uri="{FF2B5EF4-FFF2-40B4-BE49-F238E27FC236}">
                <a16:creationId xmlns:a16="http://schemas.microsoft.com/office/drawing/2014/main" id="{AFB21B97-9BFB-41CD-E390-6F62A07E23D6}"/>
              </a:ext>
              <a:ext uri="{C183D7F6-B498-43B3-948B-1728B52AA6E4}">
                <adec:decorative xmlns:adec="http://schemas.microsoft.com/office/drawing/2017/decorative" val="1"/>
              </a:ext>
            </a:extLst>
          </p:cNvPr>
          <p:cNvCxnSpPr>
            <a:cxnSpLocks/>
          </p:cNvCxnSpPr>
          <p:nvPr/>
        </p:nvCxnSpPr>
        <p:spPr>
          <a:xfrm rot="16200000" flipV="1">
            <a:off x="4426807" y="5071879"/>
            <a:ext cx="0" cy="274320"/>
          </a:xfrm>
          <a:prstGeom prst="straightConnector1">
            <a:avLst/>
          </a:prstGeom>
          <a:ln>
            <a:solidFill>
              <a:srgbClr val="C73ECC"/>
            </a:solidFill>
            <a:headEnd type="none" w="lg" len="med"/>
            <a:tailEnd type="ova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B8DF59B0-2022-7AB3-98B4-FABF7DE486FE}"/>
              </a:ext>
            </a:extLst>
          </p:cNvPr>
          <p:cNvSpPr txBox="1">
            <a:spLocks/>
          </p:cNvSpPr>
          <p:nvPr/>
        </p:nvSpPr>
        <p:spPr>
          <a:xfrm>
            <a:off x="501141" y="1970522"/>
            <a:ext cx="3306296" cy="443198"/>
          </a:xfrm>
          <a:prstGeom prst="rect">
            <a:avLst/>
          </a:prstGeom>
          <a:solidFill>
            <a:srgbClr val="F2F2F2"/>
          </a:solidFill>
          <a:ln>
            <a:solidFill>
              <a:srgbClr val="F2F2F2"/>
            </a:solidFill>
          </a:ln>
        </p:spPr>
        <p:txBody>
          <a:bodyPr vert="horz" wrap="square" lIns="0" tIns="0" rIns="0" bIns="0" rtlCol="0" anchor="ctr">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90000"/>
              </a:lnSpc>
              <a:spcBef>
                <a:spcPct val="0"/>
              </a:spcBef>
              <a:spcAft>
                <a:spcPts val="1800"/>
              </a:spcAft>
              <a:buClrTx/>
              <a:buSzTx/>
              <a:buFontTx/>
              <a:buNone/>
              <a:tabLst/>
              <a:defRPr/>
            </a:pPr>
            <a:r>
              <a:rPr kumimoji="0" lang="en-US" sz="1600" b="0" i="0" u="none" strike="noStrike" kern="1200" cap="none" spc="-50" normalizeH="0" baseline="0" noProof="0">
                <a:ln w="3175">
                  <a:noFill/>
                </a:ln>
                <a:gradFill flip="none" rotWithShape="1">
                  <a:gsLst>
                    <a:gs pos="50000">
                      <a:srgbClr val="8661C5"/>
                    </a:gs>
                    <a:gs pos="0">
                      <a:srgbClr val="3E76D4"/>
                    </a:gs>
                    <a:gs pos="100000">
                      <a:srgbClr val="C73ECC"/>
                    </a:gs>
                  </a:gsLst>
                  <a:lin ang="2700000" scaled="1"/>
                  <a:tileRect/>
                </a:gradFill>
                <a:effectLst/>
                <a:uLnTx/>
                <a:uFillTx/>
                <a:latin typeface="Segoe UI Semibold"/>
                <a:ea typeface="+mn-ea"/>
                <a:cs typeface="Segoe UI"/>
              </a:rPr>
              <a:t>A complex, disconnected tech stack limits the power and promise of AI</a:t>
            </a:r>
          </a:p>
        </p:txBody>
      </p:sp>
      <p:sp>
        <p:nvSpPr>
          <p:cNvPr id="14" name="Rectangle 13">
            <a:extLst>
              <a:ext uri="{FF2B5EF4-FFF2-40B4-BE49-F238E27FC236}">
                <a16:creationId xmlns:a16="http://schemas.microsoft.com/office/drawing/2014/main" id="{0A1B5641-2049-42B5-C5EB-8FE868997F8B}"/>
              </a:ext>
              <a:ext uri="{C183D7F6-B498-43B3-948B-1728B52AA6E4}">
                <adec:decorative xmlns:adec="http://schemas.microsoft.com/office/drawing/2017/decorative" val="1"/>
              </a:ext>
            </a:extLst>
          </p:cNvPr>
          <p:cNvSpPr/>
          <p:nvPr/>
        </p:nvSpPr>
        <p:spPr bwMode="auto">
          <a:xfrm>
            <a:off x="501142" y="2411111"/>
            <a:ext cx="3304954" cy="3526550"/>
          </a:xfrm>
          <a:prstGeom prst="rect">
            <a:avLst/>
          </a:prstGeom>
          <a:solidFill>
            <a:schemeClr val="tx1"/>
          </a:solidFill>
          <a:ln>
            <a:solidFill>
              <a:srgbClr val="F2F2F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6" name="Picture 15">
            <a:extLst>
              <a:ext uri="{FF2B5EF4-FFF2-40B4-BE49-F238E27FC236}">
                <a16:creationId xmlns:a16="http://schemas.microsoft.com/office/drawing/2014/main" id="{D506682F-0D17-B5EB-77A7-AB0983B8B917}"/>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99800" y="2728011"/>
            <a:ext cx="3306296" cy="2921601"/>
          </a:xfrm>
          <a:prstGeom prst="rect">
            <a:avLst/>
          </a:prstGeom>
        </p:spPr>
      </p:pic>
    </p:spTree>
    <p:extLst>
      <p:ext uri="{BB962C8B-B14F-4D97-AF65-F5344CB8AC3E}">
        <p14:creationId xmlns:p14="http://schemas.microsoft.com/office/powerpoint/2010/main" val="142681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10" grpId="0"/>
      <p:bldP spid="1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9A446E8B-FABE-711B-0BB2-97454CB5EEED}"/>
              </a:ext>
              <a:ext uri="{C183D7F6-B498-43B3-948B-1728B52AA6E4}">
                <adec:decorative xmlns:adec="http://schemas.microsoft.com/office/drawing/2017/decorative" val="1"/>
              </a:ext>
            </a:extLst>
          </p:cNvPr>
          <p:cNvSpPr>
            <a:spLocks/>
          </p:cNvSpPr>
          <p:nvPr/>
        </p:nvSpPr>
        <p:spPr bwMode="auto">
          <a:xfrm>
            <a:off x="4852632" y="594360"/>
            <a:ext cx="3200651" cy="5669280"/>
          </a:xfrm>
          <a:prstGeom prst="roundRect">
            <a:avLst>
              <a:gd name="adj" fmla="val 3226"/>
            </a:avLst>
          </a:prstGeom>
          <a:solidFill>
            <a:schemeClr val="bg1"/>
          </a:solidFill>
          <a:ln w="3175">
            <a:solidFill>
              <a:schemeClr val="bg1">
                <a:lumMod val="95000"/>
              </a:schemeClr>
            </a:solidFill>
            <a:headEnd type="none" w="med" len="med"/>
            <a:tailEnd type="none" w="med" len="med"/>
          </a:ln>
          <a:effectLst>
            <a:outerShdw blurRad="38100" dist="38100" dir="8100000" algn="tr" rotWithShape="0">
              <a:schemeClr val="bg1">
                <a:lumMod val="50000"/>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Semibold"/>
              <a:ea typeface="+mn-ea"/>
              <a:cs typeface="Segoe UI" pitchFamily="34" charset="0"/>
            </a:endParaRPr>
          </a:p>
        </p:txBody>
      </p:sp>
      <p:sp>
        <p:nvSpPr>
          <p:cNvPr id="4" name="Rectangle: Rounded Corners 3">
            <a:extLst>
              <a:ext uri="{FF2B5EF4-FFF2-40B4-BE49-F238E27FC236}">
                <a16:creationId xmlns:a16="http://schemas.microsoft.com/office/drawing/2014/main" id="{A9E02361-C560-B369-7AA9-566C95E35CFB}"/>
              </a:ext>
              <a:ext uri="{C183D7F6-B498-43B3-948B-1728B52AA6E4}">
                <adec:decorative xmlns:adec="http://schemas.microsoft.com/office/drawing/2017/decorative" val="1"/>
              </a:ext>
            </a:extLst>
          </p:cNvPr>
          <p:cNvSpPr>
            <a:spLocks/>
          </p:cNvSpPr>
          <p:nvPr/>
        </p:nvSpPr>
        <p:spPr bwMode="auto">
          <a:xfrm>
            <a:off x="5029665" y="1830406"/>
            <a:ext cx="2870662" cy="3236575"/>
          </a:xfrm>
          <a:prstGeom prst="roundRect">
            <a:avLst>
              <a:gd name="adj" fmla="val 3226"/>
            </a:avLst>
          </a:prstGeom>
          <a:solidFill>
            <a:schemeClr val="bg1">
              <a:lumMod val="95000"/>
              <a:alpha val="50000"/>
            </a:schemeClr>
          </a:solidFill>
          <a:ln w="3175">
            <a:solidFill>
              <a:schemeClr val="bg1">
                <a:lumMod val="95000"/>
              </a:schemeClr>
            </a:solidFill>
            <a:headEnd type="none" w="med" len="med"/>
            <a:tailEnd type="none" w="med" len="med"/>
          </a:ln>
          <a:effectLst>
            <a:outerShdw blurRad="38100" dist="38100" dir="8100000" algn="tr" rotWithShape="0">
              <a:schemeClr val="bg1">
                <a:lumMod val="50000"/>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Semibold"/>
              <a:ea typeface="+mn-ea"/>
              <a:cs typeface="Segoe UI" pitchFamily="34" charset="0"/>
            </a:endParaRPr>
          </a:p>
        </p:txBody>
      </p:sp>
      <p:sp>
        <p:nvSpPr>
          <p:cNvPr id="5" name="Rectangle: Rounded Corners 4">
            <a:extLst>
              <a:ext uri="{FF2B5EF4-FFF2-40B4-BE49-F238E27FC236}">
                <a16:creationId xmlns:a16="http://schemas.microsoft.com/office/drawing/2014/main" id="{330A6E21-0049-367B-CFC8-837122B3B10B}"/>
              </a:ext>
              <a:ext uri="{C183D7F6-B498-43B3-948B-1728B52AA6E4}">
                <adec:decorative xmlns:adec="http://schemas.microsoft.com/office/drawing/2017/decorative" val="1"/>
              </a:ext>
            </a:extLst>
          </p:cNvPr>
          <p:cNvSpPr>
            <a:spLocks/>
          </p:cNvSpPr>
          <p:nvPr/>
        </p:nvSpPr>
        <p:spPr bwMode="auto">
          <a:xfrm>
            <a:off x="8553972" y="599122"/>
            <a:ext cx="3200651" cy="5669280"/>
          </a:xfrm>
          <a:prstGeom prst="roundRect">
            <a:avLst>
              <a:gd name="adj" fmla="val 3226"/>
            </a:avLst>
          </a:prstGeom>
          <a:solidFill>
            <a:schemeClr val="bg1">
              <a:lumMod val="95000"/>
              <a:alpha val="50000"/>
            </a:schemeClr>
          </a:solidFill>
          <a:ln w="3175">
            <a:solidFill>
              <a:schemeClr val="bg1">
                <a:lumMod val="95000"/>
              </a:schemeClr>
            </a:solidFill>
            <a:headEnd type="none" w="med" len="med"/>
            <a:tailEnd type="none" w="med" len="med"/>
          </a:ln>
          <a:effectLst>
            <a:outerShdw blurRad="38100" dist="38100" dir="8100000" algn="tr" rotWithShape="0">
              <a:schemeClr val="bg1">
                <a:lumMod val="50000"/>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1A1A1A"/>
              </a:solidFill>
              <a:effectLst/>
              <a:uLnTx/>
              <a:uFillTx/>
              <a:latin typeface="Segoe UI Semibold"/>
              <a:ea typeface="+mn-ea"/>
              <a:cs typeface="Segoe UI" pitchFamily="34" charset="0"/>
            </a:endParaRPr>
          </a:p>
        </p:txBody>
      </p:sp>
      <p:cxnSp>
        <p:nvCxnSpPr>
          <p:cNvPr id="6" name="Straight Connector 5">
            <a:extLst>
              <a:ext uri="{FF2B5EF4-FFF2-40B4-BE49-F238E27FC236}">
                <a16:creationId xmlns:a16="http://schemas.microsoft.com/office/drawing/2014/main" id="{E1DBE301-E265-80FF-AAC4-2F19BABC85C1}"/>
              </a:ext>
              <a:ext uri="{C183D7F6-B498-43B3-948B-1728B52AA6E4}">
                <adec:decorative xmlns:adec="http://schemas.microsoft.com/office/drawing/2017/decorative" val="1"/>
              </a:ext>
            </a:extLst>
          </p:cNvPr>
          <p:cNvCxnSpPr>
            <a:cxnSpLocks/>
          </p:cNvCxnSpPr>
          <p:nvPr/>
        </p:nvCxnSpPr>
        <p:spPr>
          <a:xfrm>
            <a:off x="9468622" y="2846097"/>
            <a:ext cx="18288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8D12DCC-7FFC-C33F-8F13-45DAC15058A4}"/>
              </a:ext>
              <a:ext uri="{C183D7F6-B498-43B3-948B-1728B52AA6E4}">
                <adec:decorative xmlns:adec="http://schemas.microsoft.com/office/drawing/2017/decorative" val="1"/>
              </a:ext>
            </a:extLst>
          </p:cNvPr>
          <p:cNvCxnSpPr>
            <a:cxnSpLocks/>
          </p:cNvCxnSpPr>
          <p:nvPr/>
        </p:nvCxnSpPr>
        <p:spPr>
          <a:xfrm>
            <a:off x="9468622" y="3986863"/>
            <a:ext cx="18288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3B04305-8B00-4F74-CB87-DC8DE6E48B36}"/>
              </a:ext>
              <a:ext uri="{C183D7F6-B498-43B3-948B-1728B52AA6E4}">
                <adec:decorative xmlns:adec="http://schemas.microsoft.com/office/drawing/2017/decorative" val="1"/>
              </a:ext>
            </a:extLst>
          </p:cNvPr>
          <p:cNvCxnSpPr>
            <a:cxnSpLocks/>
          </p:cNvCxnSpPr>
          <p:nvPr/>
        </p:nvCxnSpPr>
        <p:spPr>
          <a:xfrm>
            <a:off x="9468622" y="5127629"/>
            <a:ext cx="18288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426335A-9270-4C75-4D40-5D1245DA60D6}"/>
              </a:ext>
              <a:ext uri="{C183D7F6-B498-43B3-948B-1728B52AA6E4}">
                <adec:decorative xmlns:adec="http://schemas.microsoft.com/office/drawing/2017/decorative" val="1"/>
              </a:ext>
            </a:extLst>
          </p:cNvPr>
          <p:cNvCxnSpPr>
            <a:cxnSpLocks/>
          </p:cNvCxnSpPr>
          <p:nvPr/>
        </p:nvCxnSpPr>
        <p:spPr>
          <a:xfrm>
            <a:off x="5667391" y="3421375"/>
            <a:ext cx="18288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itle 99">
            <a:extLst>
              <a:ext uri="{FF2B5EF4-FFF2-40B4-BE49-F238E27FC236}">
                <a16:creationId xmlns:a16="http://schemas.microsoft.com/office/drawing/2014/main" id="{96270EA7-AF0B-6E3C-A6EB-4E1E9A2721F9}"/>
              </a:ext>
            </a:extLst>
          </p:cNvPr>
          <p:cNvSpPr>
            <a:spLocks noGrp="1"/>
          </p:cNvSpPr>
          <p:nvPr>
            <p:ph type="title"/>
          </p:nvPr>
        </p:nvSpPr>
        <p:spPr>
          <a:xfrm>
            <a:off x="588262" y="2636108"/>
            <a:ext cx="3657600" cy="1595309"/>
          </a:xfrm>
        </p:spPr>
        <p:txBody>
          <a:bodyPr vert="horz" wrap="square" lIns="0" tIns="0" rIns="0" bIns="0" rtlCol="0" anchor="ctr">
            <a:spAutoFit/>
          </a:bodyPr>
          <a:lstStyle/>
          <a:p>
            <a:r>
              <a:rPr lang="en-US" sz="3600"/>
              <a:t>Microsoft </a:t>
            </a:r>
            <a:br>
              <a:rPr lang="en-US" sz="3600"/>
            </a:br>
            <a:r>
              <a:rPr lang="en-US" sz="3600">
                <a:gradFill flip="none" rotWithShape="1">
                  <a:gsLst>
                    <a:gs pos="50000">
                      <a:srgbClr val="8661C5"/>
                    </a:gs>
                    <a:gs pos="0">
                      <a:srgbClr val="3E76D4"/>
                    </a:gs>
                    <a:gs pos="100000">
                      <a:srgbClr val="C73ECC"/>
                    </a:gs>
                  </a:gsLst>
                  <a:lin ang="2700000" scaled="1"/>
                  <a:tileRect/>
                </a:gradFill>
                <a:latin typeface="Segoe UI" panose="020B0502040204020203" pitchFamily="34" charset="0"/>
              </a:rPr>
              <a:t>protects your data </a:t>
            </a:r>
            <a:r>
              <a:rPr lang="en-US" sz="3600"/>
              <a:t>and enables you to control it</a:t>
            </a:r>
          </a:p>
        </p:txBody>
      </p:sp>
      <p:sp>
        <p:nvSpPr>
          <p:cNvPr id="11" name="Rectangle: Rounded Corners 3_1">
            <a:extLst>
              <a:ext uri="{FF2B5EF4-FFF2-40B4-BE49-F238E27FC236}">
                <a16:creationId xmlns:a16="http://schemas.microsoft.com/office/drawing/2014/main" id="{0B9F435C-B51B-6EA9-2622-76601BB6775D}"/>
              </a:ext>
            </a:extLst>
          </p:cNvPr>
          <p:cNvSpPr/>
          <p:nvPr/>
        </p:nvSpPr>
        <p:spPr bwMode="auto">
          <a:xfrm>
            <a:off x="5035637" y="777240"/>
            <a:ext cx="2834640" cy="9233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Protecting </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your data through </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the LLMs</a:t>
            </a:r>
          </a:p>
        </p:txBody>
      </p:sp>
      <p:sp>
        <p:nvSpPr>
          <p:cNvPr id="12" name="!!Security/Compliance">
            <a:extLst>
              <a:ext uri="{FF2B5EF4-FFF2-40B4-BE49-F238E27FC236}">
                <a16:creationId xmlns:a16="http://schemas.microsoft.com/office/drawing/2014/main" id="{C620D9CE-AD6D-DB1D-054B-A29CAD276029}"/>
              </a:ext>
            </a:extLst>
          </p:cNvPr>
          <p:cNvSpPr/>
          <p:nvPr/>
        </p:nvSpPr>
        <p:spPr bwMode="auto">
          <a:xfrm>
            <a:off x="5214815" y="2568281"/>
            <a:ext cx="2472708"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Security and</a:t>
            </a:r>
            <a:br>
              <a:rPr kumimoji="0" lang="en-US" sz="1800" b="0" i="0" u="none" strike="noStrike" kern="1200" cap="none" spc="0" normalizeH="0" baseline="0" noProof="0">
                <a:ln>
                  <a:noFill/>
                </a:ln>
                <a:effectLst/>
                <a:uLnTx/>
                <a:uFillTx/>
                <a:latin typeface="Segoe UI Semibold"/>
                <a:ea typeface="+mn-ea"/>
                <a:cs typeface="Segoe UI Semibold"/>
              </a:rPr>
            </a:br>
            <a:r>
              <a:rPr kumimoji="0" lang="en-US" sz="1800" b="0" i="0" u="none" strike="noStrike" kern="1200" cap="none" spc="0" normalizeH="0" baseline="0" noProof="0">
                <a:ln>
                  <a:noFill/>
                </a:ln>
                <a:effectLst/>
                <a:uLnTx/>
                <a:uFillTx/>
                <a:latin typeface="Segoe UI Semibold"/>
                <a:ea typeface="+mn-ea"/>
                <a:cs typeface="Segoe UI Semibold"/>
              </a:rPr>
              <a:t>Compliance </a:t>
            </a:r>
          </a:p>
        </p:txBody>
      </p:sp>
      <p:sp>
        <p:nvSpPr>
          <p:cNvPr id="13" name="!!Data usage &amp; Privacy">
            <a:extLst>
              <a:ext uri="{FF2B5EF4-FFF2-40B4-BE49-F238E27FC236}">
                <a16:creationId xmlns:a16="http://schemas.microsoft.com/office/drawing/2014/main" id="{924B9E37-C54D-DCE2-05D5-F0D24B2520CF}"/>
              </a:ext>
            </a:extLst>
          </p:cNvPr>
          <p:cNvSpPr/>
          <p:nvPr/>
        </p:nvSpPr>
        <p:spPr bwMode="auto">
          <a:xfrm>
            <a:off x="5355771" y="4250667"/>
            <a:ext cx="2331752"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Data Usage </a:t>
            </a:r>
            <a:br>
              <a:rPr kumimoji="0" lang="en-US" sz="1800" b="0" i="0" u="none" strike="noStrike" kern="1200" cap="none" spc="0" normalizeH="0" baseline="0" noProof="0">
                <a:ln>
                  <a:noFill/>
                </a:ln>
                <a:effectLst/>
                <a:uLnTx/>
                <a:uFillTx/>
                <a:latin typeface="Segoe UI Semibold"/>
                <a:ea typeface="+mn-ea"/>
                <a:cs typeface="Segoe UI Semibold"/>
              </a:rPr>
            </a:br>
            <a:r>
              <a:rPr kumimoji="0" lang="en-US" sz="1800" b="0" i="0" u="none" strike="noStrike" kern="1200" cap="none" spc="0" normalizeH="0" baseline="0" noProof="0">
                <a:ln>
                  <a:noFill/>
                </a:ln>
                <a:effectLst/>
                <a:uLnTx/>
                <a:uFillTx/>
                <a:latin typeface="Segoe UI Semibold"/>
                <a:ea typeface="+mn-ea"/>
                <a:cs typeface="Segoe UI Semibold"/>
              </a:rPr>
              <a:t>and Privacy </a:t>
            </a:r>
            <a:endParaRPr kumimoji="0" lang="en-US" sz="1800" b="0" i="0" u="none" strike="noStrike" kern="1200" cap="none" spc="0" normalizeH="0" baseline="0" noProof="0">
              <a:ln>
                <a:noFill/>
              </a:ln>
              <a:effectLst/>
              <a:uLnTx/>
              <a:uFillTx/>
              <a:latin typeface="Segoe UI Semibold"/>
              <a:ea typeface="+mn-ea"/>
              <a:cs typeface="Segoe UI Semibold" panose="020B0502040204020203" pitchFamily="34" charset="0"/>
            </a:endParaRPr>
          </a:p>
        </p:txBody>
      </p:sp>
      <p:sp>
        <p:nvSpPr>
          <p:cNvPr id="14" name="!!Committed to responsible AI">
            <a:extLst>
              <a:ext uri="{FF2B5EF4-FFF2-40B4-BE49-F238E27FC236}">
                <a16:creationId xmlns:a16="http://schemas.microsoft.com/office/drawing/2014/main" id="{A0DCF1E6-1141-5599-E9DF-176A51F5B2E4}"/>
              </a:ext>
            </a:extLst>
          </p:cNvPr>
          <p:cNvSpPr/>
          <p:nvPr/>
        </p:nvSpPr>
        <p:spPr bwMode="auto">
          <a:xfrm>
            <a:off x="5317351" y="5591268"/>
            <a:ext cx="2239544"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effectLst/>
                <a:uLnTx/>
                <a:uFillTx/>
                <a:latin typeface="Segoe UI Semibold"/>
                <a:ea typeface="+mn-ea"/>
                <a:cs typeface="Segoe UI Semibold"/>
              </a:rPr>
              <a:t>Committed to </a:t>
            </a:r>
            <a:br>
              <a:rPr kumimoji="0" lang="en-US" sz="1800" b="0" i="0" u="none" strike="noStrike" kern="1200" cap="none" spc="0" normalizeH="0" baseline="0" noProof="0">
                <a:ln>
                  <a:noFill/>
                </a:ln>
                <a:effectLst/>
                <a:uLnTx/>
                <a:uFillTx/>
                <a:latin typeface="Segoe UI Semibold"/>
                <a:ea typeface="+mn-ea"/>
                <a:cs typeface="Segoe UI Semibold"/>
              </a:rPr>
            </a:br>
            <a:r>
              <a:rPr kumimoji="0" lang="en-US" sz="1800" b="0" i="0" u="none" strike="noStrike" kern="1200" cap="none" spc="0" normalizeH="0" baseline="0" noProof="0">
                <a:ln>
                  <a:noFill/>
                </a:ln>
                <a:effectLst/>
                <a:uLnTx/>
                <a:uFillTx/>
                <a:latin typeface="Segoe UI Semibold"/>
                <a:ea typeface="+mn-ea"/>
                <a:cs typeface="Segoe UI Semibold"/>
              </a:rPr>
              <a:t>responsible AI </a:t>
            </a:r>
          </a:p>
        </p:txBody>
      </p:sp>
      <p:grpSp>
        <p:nvGrpSpPr>
          <p:cNvPr id="15" name="Group 14" descr="Arrow moving left from Protecting your data through the LLMs to">
            <a:extLst>
              <a:ext uri="{FF2B5EF4-FFF2-40B4-BE49-F238E27FC236}">
                <a16:creationId xmlns:a16="http://schemas.microsoft.com/office/drawing/2014/main" id="{4772626C-08BB-AEFF-2858-EEFCFAE1F265}"/>
              </a:ext>
            </a:extLst>
          </p:cNvPr>
          <p:cNvGrpSpPr/>
          <p:nvPr/>
        </p:nvGrpSpPr>
        <p:grpSpPr>
          <a:xfrm>
            <a:off x="7964296" y="3159442"/>
            <a:ext cx="548640" cy="548640"/>
            <a:chOff x="3952345" y="3882278"/>
            <a:chExt cx="548640" cy="548640"/>
          </a:xfrm>
        </p:grpSpPr>
        <p:sp>
          <p:nvSpPr>
            <p:cNvPr id="16" name="Oval 18_1">
              <a:extLst>
                <a:ext uri="{FF2B5EF4-FFF2-40B4-BE49-F238E27FC236}">
                  <a16:creationId xmlns:a16="http://schemas.microsoft.com/office/drawing/2014/main" id="{3E1D8256-B9C4-5A87-4177-627C39C03DB9}"/>
                </a:ext>
              </a:extLst>
            </p:cNvPr>
            <p:cNvSpPr/>
            <p:nvPr/>
          </p:nvSpPr>
          <p:spPr bwMode="auto">
            <a:xfrm>
              <a:off x="3952345" y="3882278"/>
              <a:ext cx="548640" cy="548640"/>
            </a:xfrm>
            <a:prstGeom prst="ellipse">
              <a:avLst/>
            </a:prstGeom>
            <a:solidFill>
              <a:schemeClr val="bg1"/>
            </a:solidFill>
            <a:ln w="3175">
              <a:solidFill>
                <a:schemeClr val="bg1">
                  <a:lumMod val="95000"/>
                </a:schemeClr>
              </a:solidFill>
              <a:headEnd type="none" w="med" len="med"/>
              <a:tailEnd type="none" w="med" len="med"/>
            </a:ln>
            <a:effectLst>
              <a:outerShdw blurRad="38100" dist="38100" dir="8100000" algn="tr" rotWithShape="0">
                <a:schemeClr val="bg1">
                  <a:lumMod val="50000"/>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17" name="Graphic 16">
              <a:extLst>
                <a:ext uri="{FF2B5EF4-FFF2-40B4-BE49-F238E27FC236}">
                  <a16:creationId xmlns:a16="http://schemas.microsoft.com/office/drawing/2014/main" id="{70E72C94-A26C-845C-395E-63839E12B0C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135224" y="4019438"/>
              <a:ext cx="247202" cy="274320"/>
            </a:xfrm>
            <a:prstGeom prst="rect">
              <a:avLst/>
            </a:prstGeom>
          </p:spPr>
        </p:pic>
      </p:grpSp>
      <p:sp>
        <p:nvSpPr>
          <p:cNvPr id="18" name="Rectangle: Rounded Corners 3_1">
            <a:extLst>
              <a:ext uri="{FF2B5EF4-FFF2-40B4-BE49-F238E27FC236}">
                <a16:creationId xmlns:a16="http://schemas.microsoft.com/office/drawing/2014/main" id="{7240D2DB-2C1D-6DAA-B737-EE68AB101B1C}"/>
              </a:ext>
            </a:extLst>
          </p:cNvPr>
          <p:cNvSpPr/>
          <p:nvPr/>
        </p:nvSpPr>
        <p:spPr bwMode="auto">
          <a:xfrm>
            <a:off x="8736978" y="782002"/>
            <a:ext cx="2834640" cy="923330"/>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Inheriting </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Microsoft Cloud policies </a:t>
            </a:r>
            <a:b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br>
            <a:r>
              <a:rPr kumimoji="0" lang="en-US" sz="2000" b="0" i="0" u="none" strike="noStrike" kern="1200" cap="none" spc="0" normalizeH="0" baseline="0" noProof="0">
                <a:ln>
                  <a:noFill/>
                </a:ln>
                <a:solidFill>
                  <a:schemeClr val="tx1"/>
                </a:solidFill>
                <a:effectLst/>
                <a:uLnTx/>
                <a:uFillTx/>
                <a:latin typeface="Segoe UI Semibold"/>
                <a:ea typeface="+mn-ea"/>
                <a:cs typeface="Segoe UI" pitchFamily="34" charset="0"/>
              </a:rPr>
              <a:t>and controls </a:t>
            </a:r>
          </a:p>
        </p:txBody>
      </p:sp>
      <p:sp>
        <p:nvSpPr>
          <p:cNvPr id="19" name="Graphic 77" descr="Icon of a document of a checkmark">
            <a:extLst>
              <a:ext uri="{FF2B5EF4-FFF2-40B4-BE49-F238E27FC236}">
                <a16:creationId xmlns:a16="http://schemas.microsoft.com/office/drawing/2014/main" id="{639AFB3A-A7AA-73D0-D474-317A291D47D0}"/>
              </a:ext>
            </a:extLst>
          </p:cNvPr>
          <p:cNvSpPr>
            <a:spLocks noChangeAspect="1"/>
          </p:cNvSpPr>
          <p:nvPr/>
        </p:nvSpPr>
        <p:spPr>
          <a:xfrm>
            <a:off x="8979098" y="2140495"/>
            <a:ext cx="244682" cy="270438"/>
          </a:xfrm>
          <a:custGeom>
            <a:avLst/>
            <a:gdLst>
              <a:gd name="connsiteX0" fmla="*/ 262783 w 293698"/>
              <a:gd name="connsiteY0" fmla="*/ 285970 h 324614"/>
              <a:gd name="connsiteX1" fmla="*/ 174176 w 293698"/>
              <a:gd name="connsiteY1" fmla="*/ 285970 h 324614"/>
              <a:gd name="connsiteX2" fmla="*/ 157522 w 293698"/>
              <a:gd name="connsiteY2" fmla="*/ 309157 h 324614"/>
              <a:gd name="connsiteX3" fmla="*/ 262783 w 293698"/>
              <a:gd name="connsiteY3" fmla="*/ 309157 h 324614"/>
              <a:gd name="connsiteX4" fmla="*/ 293699 w 293698"/>
              <a:gd name="connsiteY4" fmla="*/ 278241 h 324614"/>
              <a:gd name="connsiteX5" fmla="*/ 293699 w 293698"/>
              <a:gd name="connsiteY5" fmla="*/ 121004 h 324614"/>
              <a:gd name="connsiteX6" fmla="*/ 284641 w 293698"/>
              <a:gd name="connsiteY6" fmla="*/ 99147 h 324614"/>
              <a:gd name="connsiteX7" fmla="*/ 194537 w 293698"/>
              <a:gd name="connsiteY7" fmla="*/ 9058 h 324614"/>
              <a:gd name="connsiteX8" fmla="*/ 193784 w 293698"/>
              <a:gd name="connsiteY8" fmla="*/ 8428 h 324614"/>
              <a:gd name="connsiteX9" fmla="*/ 193223 w 293698"/>
              <a:gd name="connsiteY9" fmla="*/ 7976 h 324614"/>
              <a:gd name="connsiteX10" fmla="*/ 189838 w 293698"/>
              <a:gd name="connsiteY10" fmla="*/ 5194 h 324614"/>
              <a:gd name="connsiteX11" fmla="*/ 188593 w 293698"/>
              <a:gd name="connsiteY11" fmla="*/ 4515 h 324614"/>
              <a:gd name="connsiteX12" fmla="*/ 187859 w 293698"/>
              <a:gd name="connsiteY12" fmla="*/ 4143 h 324614"/>
              <a:gd name="connsiteX13" fmla="*/ 187086 w 293698"/>
              <a:gd name="connsiteY13" fmla="*/ 3700 h 324614"/>
              <a:gd name="connsiteX14" fmla="*/ 184520 w 293698"/>
              <a:gd name="connsiteY14" fmla="*/ 2350 h 324614"/>
              <a:gd name="connsiteX15" fmla="*/ 174874 w 293698"/>
              <a:gd name="connsiteY15" fmla="*/ 216 h 324614"/>
              <a:gd name="connsiteX16" fmla="*/ 173966 w 293698"/>
              <a:gd name="connsiteY16" fmla="*/ 115 h 324614"/>
              <a:gd name="connsiteX17" fmla="*/ 172695 w 293698"/>
              <a:gd name="connsiteY17" fmla="*/ 0 h 324614"/>
              <a:gd name="connsiteX18" fmla="*/ 77289 w 293698"/>
              <a:gd name="connsiteY18" fmla="*/ 0 h 324614"/>
              <a:gd name="connsiteX19" fmla="*/ 46374 w 293698"/>
              <a:gd name="connsiteY19" fmla="*/ 30916 h 324614"/>
              <a:gd name="connsiteX20" fmla="*/ 46374 w 293698"/>
              <a:gd name="connsiteY20" fmla="*/ 146822 h 324614"/>
              <a:gd name="connsiteX21" fmla="*/ 69560 w 293698"/>
              <a:gd name="connsiteY21" fmla="*/ 140301 h 324614"/>
              <a:gd name="connsiteX22" fmla="*/ 69560 w 293698"/>
              <a:gd name="connsiteY22" fmla="*/ 30916 h 324614"/>
              <a:gd name="connsiteX23" fmla="*/ 77289 w 293698"/>
              <a:gd name="connsiteY23" fmla="*/ 23187 h 324614"/>
              <a:gd name="connsiteX24" fmla="*/ 170036 w 293698"/>
              <a:gd name="connsiteY24" fmla="*/ 23187 h 324614"/>
              <a:gd name="connsiteX25" fmla="*/ 170036 w 293698"/>
              <a:gd name="connsiteY25" fmla="*/ 92747 h 324614"/>
              <a:gd name="connsiteX26" fmla="*/ 200952 w 293698"/>
              <a:gd name="connsiteY26" fmla="*/ 123663 h 324614"/>
              <a:gd name="connsiteX27" fmla="*/ 270512 w 293698"/>
              <a:gd name="connsiteY27" fmla="*/ 123663 h 324614"/>
              <a:gd name="connsiteX28" fmla="*/ 270512 w 293698"/>
              <a:gd name="connsiteY28" fmla="*/ 278241 h 324614"/>
              <a:gd name="connsiteX29" fmla="*/ 262783 w 293698"/>
              <a:gd name="connsiteY29" fmla="*/ 285970 h 324614"/>
              <a:gd name="connsiteX30" fmla="*/ 253168 w 293698"/>
              <a:gd name="connsiteY30" fmla="*/ 100476 h 324614"/>
              <a:gd name="connsiteX31" fmla="*/ 200952 w 293698"/>
              <a:gd name="connsiteY31" fmla="*/ 100476 h 324614"/>
              <a:gd name="connsiteX32" fmla="*/ 193223 w 293698"/>
              <a:gd name="connsiteY32" fmla="*/ 92747 h 324614"/>
              <a:gd name="connsiteX33" fmla="*/ 193223 w 293698"/>
              <a:gd name="connsiteY33" fmla="*/ 40515 h 324614"/>
              <a:gd name="connsiteX34" fmla="*/ 253168 w 293698"/>
              <a:gd name="connsiteY34" fmla="*/ 100476 h 324614"/>
              <a:gd name="connsiteX35" fmla="*/ 185494 w 293698"/>
              <a:gd name="connsiteY35" fmla="*/ 239596 h 324614"/>
              <a:gd name="connsiteX36" fmla="*/ 182806 w 293698"/>
              <a:gd name="connsiteY36" fmla="*/ 262783 h 324614"/>
              <a:gd name="connsiteX37" fmla="*/ 220274 w 293698"/>
              <a:gd name="connsiteY37" fmla="*/ 262783 h 324614"/>
              <a:gd name="connsiteX38" fmla="*/ 247325 w 293698"/>
              <a:gd name="connsiteY38" fmla="*/ 235732 h 324614"/>
              <a:gd name="connsiteX39" fmla="*/ 247325 w 293698"/>
              <a:gd name="connsiteY39" fmla="*/ 173901 h 324614"/>
              <a:gd name="connsiteX40" fmla="*/ 220274 w 293698"/>
              <a:gd name="connsiteY40" fmla="*/ 146849 h 324614"/>
              <a:gd name="connsiteX41" fmla="*/ 123731 w 293698"/>
              <a:gd name="connsiteY41" fmla="*/ 146849 h 324614"/>
              <a:gd name="connsiteX42" fmla="*/ 162307 w 293698"/>
              <a:gd name="connsiteY42" fmla="*/ 175391 h 324614"/>
              <a:gd name="connsiteX43" fmla="*/ 162307 w 293698"/>
              <a:gd name="connsiteY43" fmla="*/ 170036 h 324614"/>
              <a:gd name="connsiteX44" fmla="*/ 220274 w 293698"/>
              <a:gd name="connsiteY44" fmla="*/ 170036 h 324614"/>
              <a:gd name="connsiteX45" fmla="*/ 224139 w 293698"/>
              <a:gd name="connsiteY45" fmla="*/ 173901 h 324614"/>
              <a:gd name="connsiteX46" fmla="*/ 224139 w 293698"/>
              <a:gd name="connsiteY46" fmla="*/ 193223 h 324614"/>
              <a:gd name="connsiteX47" fmla="*/ 174176 w 293698"/>
              <a:gd name="connsiteY47" fmla="*/ 193223 h 324614"/>
              <a:gd name="connsiteX48" fmla="*/ 182806 w 293698"/>
              <a:gd name="connsiteY48" fmla="*/ 216410 h 324614"/>
              <a:gd name="connsiteX49" fmla="*/ 224139 w 293698"/>
              <a:gd name="connsiteY49" fmla="*/ 216410 h 324614"/>
              <a:gd name="connsiteX50" fmla="*/ 224139 w 293698"/>
              <a:gd name="connsiteY50" fmla="*/ 235732 h 324614"/>
              <a:gd name="connsiteX51" fmla="*/ 220274 w 293698"/>
              <a:gd name="connsiteY51" fmla="*/ 239596 h 324614"/>
              <a:gd name="connsiteX52" fmla="*/ 185494 w 293698"/>
              <a:gd name="connsiteY52" fmla="*/ 239596 h 324614"/>
              <a:gd name="connsiteX53" fmla="*/ 170036 w 293698"/>
              <a:gd name="connsiteY53" fmla="*/ 239596 h 324614"/>
              <a:gd name="connsiteX54" fmla="*/ 85018 w 293698"/>
              <a:gd name="connsiteY54" fmla="*/ 324615 h 324614"/>
              <a:gd name="connsiteX55" fmla="*/ 0 w 293698"/>
              <a:gd name="connsiteY55" fmla="*/ 239596 h 324614"/>
              <a:gd name="connsiteX56" fmla="*/ 85018 w 293698"/>
              <a:gd name="connsiteY56" fmla="*/ 154578 h 324614"/>
              <a:gd name="connsiteX57" fmla="*/ 170036 w 293698"/>
              <a:gd name="connsiteY57" fmla="*/ 239596 h 324614"/>
              <a:gd name="connsiteX58" fmla="*/ 136857 w 293698"/>
              <a:gd name="connsiteY58" fmla="*/ 203215 h 324614"/>
              <a:gd name="connsiteX59" fmla="*/ 125926 w 293698"/>
              <a:gd name="connsiteY59" fmla="*/ 203215 h 324614"/>
              <a:gd name="connsiteX60" fmla="*/ 69560 w 293698"/>
              <a:gd name="connsiteY60" fmla="*/ 259582 h 324614"/>
              <a:gd name="connsiteX61" fmla="*/ 44110 w 293698"/>
              <a:gd name="connsiteY61" fmla="*/ 234131 h 324614"/>
              <a:gd name="connsiteX62" fmla="*/ 33179 w 293698"/>
              <a:gd name="connsiteY62" fmla="*/ 234131 h 324614"/>
              <a:gd name="connsiteX63" fmla="*/ 33179 w 293698"/>
              <a:gd name="connsiteY63" fmla="*/ 245062 h 324614"/>
              <a:gd name="connsiteX64" fmla="*/ 64095 w 293698"/>
              <a:gd name="connsiteY64" fmla="*/ 275978 h 324614"/>
              <a:gd name="connsiteX65" fmla="*/ 75025 w 293698"/>
              <a:gd name="connsiteY65" fmla="*/ 275978 h 324614"/>
              <a:gd name="connsiteX66" fmla="*/ 136857 w 293698"/>
              <a:gd name="connsiteY66" fmla="*/ 214147 h 324614"/>
              <a:gd name="connsiteX67" fmla="*/ 136857 w 293698"/>
              <a:gd name="connsiteY67" fmla="*/ 203215 h 324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93698" h="324614">
                <a:moveTo>
                  <a:pt x="262783" y="285970"/>
                </a:moveTo>
                <a:lnTo>
                  <a:pt x="174176" y="285970"/>
                </a:lnTo>
                <a:cubicBezTo>
                  <a:pt x="169736" y="294487"/>
                  <a:pt x="164113" y="302289"/>
                  <a:pt x="157522" y="309157"/>
                </a:cubicBezTo>
                <a:lnTo>
                  <a:pt x="262783" y="309157"/>
                </a:lnTo>
                <a:cubicBezTo>
                  <a:pt x="279849" y="309157"/>
                  <a:pt x="293699" y="295306"/>
                  <a:pt x="293699" y="278241"/>
                </a:cubicBezTo>
                <a:lnTo>
                  <a:pt x="293699" y="121004"/>
                </a:lnTo>
                <a:cubicBezTo>
                  <a:pt x="293699" y="112811"/>
                  <a:pt x="290437" y="104943"/>
                  <a:pt x="284641" y="99147"/>
                </a:cubicBezTo>
                <a:lnTo>
                  <a:pt x="194537" y="9058"/>
                </a:lnTo>
                <a:cubicBezTo>
                  <a:pt x="194305" y="8827"/>
                  <a:pt x="194044" y="8627"/>
                  <a:pt x="193784" y="8428"/>
                </a:cubicBezTo>
                <a:cubicBezTo>
                  <a:pt x="193591" y="8280"/>
                  <a:pt x="193401" y="8134"/>
                  <a:pt x="193223" y="7976"/>
                </a:cubicBezTo>
                <a:cubicBezTo>
                  <a:pt x="192125" y="6987"/>
                  <a:pt x="191043" y="6013"/>
                  <a:pt x="189838" y="5194"/>
                </a:cubicBezTo>
                <a:cubicBezTo>
                  <a:pt x="189447" y="4930"/>
                  <a:pt x="189020" y="4722"/>
                  <a:pt x="188593" y="4515"/>
                </a:cubicBezTo>
                <a:cubicBezTo>
                  <a:pt x="188346" y="4394"/>
                  <a:pt x="188099" y="4274"/>
                  <a:pt x="187859" y="4143"/>
                </a:cubicBezTo>
                <a:cubicBezTo>
                  <a:pt x="187601" y="3997"/>
                  <a:pt x="187344" y="3849"/>
                  <a:pt x="187086" y="3700"/>
                </a:cubicBezTo>
                <a:cubicBezTo>
                  <a:pt x="186248" y="3215"/>
                  <a:pt x="185407" y="2728"/>
                  <a:pt x="184520" y="2350"/>
                </a:cubicBezTo>
                <a:cubicBezTo>
                  <a:pt x="181475" y="1082"/>
                  <a:pt x="178198" y="448"/>
                  <a:pt x="174874" y="216"/>
                </a:cubicBezTo>
                <a:cubicBezTo>
                  <a:pt x="174570" y="197"/>
                  <a:pt x="174269" y="156"/>
                  <a:pt x="173966" y="115"/>
                </a:cubicBezTo>
                <a:cubicBezTo>
                  <a:pt x="173547" y="57"/>
                  <a:pt x="173126" y="0"/>
                  <a:pt x="172695" y="0"/>
                </a:cubicBezTo>
                <a:lnTo>
                  <a:pt x="77289" y="0"/>
                </a:lnTo>
                <a:cubicBezTo>
                  <a:pt x="60224" y="0"/>
                  <a:pt x="46374" y="13850"/>
                  <a:pt x="46374" y="30916"/>
                </a:cubicBezTo>
                <a:lnTo>
                  <a:pt x="46374" y="146822"/>
                </a:lnTo>
                <a:cubicBezTo>
                  <a:pt x="53703" y="143764"/>
                  <a:pt x="61473" y="141550"/>
                  <a:pt x="69560" y="140301"/>
                </a:cubicBezTo>
                <a:lnTo>
                  <a:pt x="69560" y="30916"/>
                </a:lnTo>
                <a:cubicBezTo>
                  <a:pt x="69560" y="26665"/>
                  <a:pt x="73023" y="23187"/>
                  <a:pt x="77289" y="23187"/>
                </a:cubicBezTo>
                <a:lnTo>
                  <a:pt x="170036" y="23187"/>
                </a:lnTo>
                <a:lnTo>
                  <a:pt x="170036" y="92747"/>
                </a:lnTo>
                <a:cubicBezTo>
                  <a:pt x="170036" y="109812"/>
                  <a:pt x="183886" y="123663"/>
                  <a:pt x="200952" y="123663"/>
                </a:cubicBezTo>
                <a:lnTo>
                  <a:pt x="270512" y="123663"/>
                </a:lnTo>
                <a:lnTo>
                  <a:pt x="270512" y="278241"/>
                </a:lnTo>
                <a:cubicBezTo>
                  <a:pt x="270512" y="282492"/>
                  <a:pt x="267050" y="285970"/>
                  <a:pt x="262783" y="285970"/>
                </a:cubicBezTo>
                <a:close/>
                <a:moveTo>
                  <a:pt x="253168" y="100476"/>
                </a:moveTo>
                <a:lnTo>
                  <a:pt x="200952" y="100476"/>
                </a:lnTo>
                <a:cubicBezTo>
                  <a:pt x="196685" y="100476"/>
                  <a:pt x="193223" y="96998"/>
                  <a:pt x="193223" y="92747"/>
                </a:cubicBezTo>
                <a:lnTo>
                  <a:pt x="193223" y="40515"/>
                </a:lnTo>
                <a:lnTo>
                  <a:pt x="253168" y="100476"/>
                </a:lnTo>
                <a:close/>
                <a:moveTo>
                  <a:pt x="185494" y="239596"/>
                </a:moveTo>
                <a:cubicBezTo>
                  <a:pt x="185494" y="247577"/>
                  <a:pt x="184563" y="255340"/>
                  <a:pt x="182806" y="262783"/>
                </a:cubicBezTo>
                <a:lnTo>
                  <a:pt x="220274" y="262783"/>
                </a:lnTo>
                <a:cubicBezTo>
                  <a:pt x="235214" y="262783"/>
                  <a:pt x="247325" y="250672"/>
                  <a:pt x="247325" y="235732"/>
                </a:cubicBezTo>
                <a:lnTo>
                  <a:pt x="247325" y="173901"/>
                </a:lnTo>
                <a:cubicBezTo>
                  <a:pt x="247325" y="158961"/>
                  <a:pt x="235214" y="146849"/>
                  <a:pt x="220274" y="146849"/>
                </a:cubicBezTo>
                <a:lnTo>
                  <a:pt x="123731" y="146849"/>
                </a:lnTo>
                <a:cubicBezTo>
                  <a:pt x="138803" y="153148"/>
                  <a:pt x="152014" y="163014"/>
                  <a:pt x="162307" y="175391"/>
                </a:cubicBezTo>
                <a:lnTo>
                  <a:pt x="162307" y="170036"/>
                </a:lnTo>
                <a:lnTo>
                  <a:pt x="220274" y="170036"/>
                </a:lnTo>
                <a:cubicBezTo>
                  <a:pt x="222409" y="170036"/>
                  <a:pt x="224139" y="171766"/>
                  <a:pt x="224139" y="173901"/>
                </a:cubicBezTo>
                <a:lnTo>
                  <a:pt x="224139" y="193223"/>
                </a:lnTo>
                <a:lnTo>
                  <a:pt x="174176" y="193223"/>
                </a:lnTo>
                <a:cubicBezTo>
                  <a:pt x="177957" y="200477"/>
                  <a:pt x="180878" y="208251"/>
                  <a:pt x="182806" y="216410"/>
                </a:cubicBezTo>
                <a:lnTo>
                  <a:pt x="224139" y="216410"/>
                </a:lnTo>
                <a:lnTo>
                  <a:pt x="224139" y="235732"/>
                </a:lnTo>
                <a:cubicBezTo>
                  <a:pt x="224139" y="237867"/>
                  <a:pt x="222409" y="239596"/>
                  <a:pt x="220274" y="239596"/>
                </a:cubicBezTo>
                <a:lnTo>
                  <a:pt x="185494" y="239596"/>
                </a:lnTo>
                <a:close/>
                <a:moveTo>
                  <a:pt x="170036" y="239596"/>
                </a:moveTo>
                <a:cubicBezTo>
                  <a:pt x="170036" y="286551"/>
                  <a:pt x="131972" y="324615"/>
                  <a:pt x="85018" y="324615"/>
                </a:cubicBezTo>
                <a:cubicBezTo>
                  <a:pt x="38064" y="324615"/>
                  <a:pt x="0" y="286551"/>
                  <a:pt x="0" y="239596"/>
                </a:cubicBezTo>
                <a:cubicBezTo>
                  <a:pt x="0" y="192642"/>
                  <a:pt x="38064" y="154578"/>
                  <a:pt x="85018" y="154578"/>
                </a:cubicBezTo>
                <a:cubicBezTo>
                  <a:pt x="131972" y="154578"/>
                  <a:pt x="170036" y="192642"/>
                  <a:pt x="170036" y="239596"/>
                </a:cubicBezTo>
                <a:close/>
                <a:moveTo>
                  <a:pt x="136857" y="203215"/>
                </a:moveTo>
                <a:cubicBezTo>
                  <a:pt x="133838" y="200197"/>
                  <a:pt x="128945" y="200197"/>
                  <a:pt x="125926" y="203215"/>
                </a:cubicBezTo>
                <a:lnTo>
                  <a:pt x="69560" y="259582"/>
                </a:lnTo>
                <a:lnTo>
                  <a:pt x="44110" y="234131"/>
                </a:lnTo>
                <a:cubicBezTo>
                  <a:pt x="41091" y="231113"/>
                  <a:pt x="36198" y="231113"/>
                  <a:pt x="33179" y="234131"/>
                </a:cubicBezTo>
                <a:cubicBezTo>
                  <a:pt x="30161" y="237149"/>
                  <a:pt x="30161" y="242043"/>
                  <a:pt x="33179" y="245062"/>
                </a:cubicBezTo>
                <a:lnTo>
                  <a:pt x="64095" y="275978"/>
                </a:lnTo>
                <a:cubicBezTo>
                  <a:pt x="67113" y="278995"/>
                  <a:pt x="72007" y="278995"/>
                  <a:pt x="75025" y="275978"/>
                </a:cubicBezTo>
                <a:lnTo>
                  <a:pt x="136857" y="214147"/>
                </a:lnTo>
                <a:cubicBezTo>
                  <a:pt x="139875" y="211128"/>
                  <a:pt x="139875" y="206234"/>
                  <a:pt x="136857" y="203215"/>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Variable Display Semibold" pitchFamily="2" charset="0"/>
              <a:ea typeface="+mn-ea"/>
              <a:cs typeface="Segoe UI" pitchFamily="34" charset="0"/>
            </a:endParaRPr>
          </a:p>
        </p:txBody>
      </p:sp>
      <p:sp>
        <p:nvSpPr>
          <p:cNvPr id="20" name="Rounded Rectangle 4">
            <a:extLst>
              <a:ext uri="{FF2B5EF4-FFF2-40B4-BE49-F238E27FC236}">
                <a16:creationId xmlns:a16="http://schemas.microsoft.com/office/drawing/2014/main" id="{36B521E8-C457-3701-D1EC-C1358FEC939B}"/>
              </a:ext>
            </a:extLst>
          </p:cNvPr>
          <p:cNvSpPr/>
          <p:nvPr/>
        </p:nvSpPr>
        <p:spPr bwMode="auto">
          <a:xfrm>
            <a:off x="9468622" y="1998715"/>
            <a:ext cx="1920240"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Data access &amp; permissions</a:t>
            </a:r>
          </a:p>
        </p:txBody>
      </p:sp>
      <p:sp>
        <p:nvSpPr>
          <p:cNvPr id="21" name="Graphic 74" descr="Icon of a person with a checkmark">
            <a:extLst>
              <a:ext uri="{FF2B5EF4-FFF2-40B4-BE49-F238E27FC236}">
                <a16:creationId xmlns:a16="http://schemas.microsoft.com/office/drawing/2014/main" id="{946A88AF-E4E9-026E-C910-8695E5295E8C}"/>
              </a:ext>
            </a:extLst>
          </p:cNvPr>
          <p:cNvSpPr>
            <a:spLocks noChangeAspect="1"/>
          </p:cNvSpPr>
          <p:nvPr/>
        </p:nvSpPr>
        <p:spPr>
          <a:xfrm>
            <a:off x="8964279" y="3279320"/>
            <a:ext cx="274320" cy="27432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Variable Display Semibold" pitchFamily="2" charset="0"/>
              <a:ea typeface="+mn-ea"/>
              <a:cs typeface="Segoe UI" pitchFamily="34" charset="0"/>
            </a:endParaRPr>
          </a:p>
        </p:txBody>
      </p:sp>
      <p:sp>
        <p:nvSpPr>
          <p:cNvPr id="22" name="Rounded Rectangle 4">
            <a:extLst>
              <a:ext uri="{FF2B5EF4-FFF2-40B4-BE49-F238E27FC236}">
                <a16:creationId xmlns:a16="http://schemas.microsoft.com/office/drawing/2014/main" id="{26A6E2F8-7EC7-453C-E59C-AA065E89B2EB}"/>
              </a:ext>
            </a:extLst>
          </p:cNvPr>
          <p:cNvSpPr/>
          <p:nvPr/>
        </p:nvSpPr>
        <p:spPr bwMode="auto">
          <a:xfrm>
            <a:off x="9468622" y="3139481"/>
            <a:ext cx="1920240"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User-tenant </a:t>
            </a:r>
            <a:br>
              <a:rPr kumimoji="0" lang="en-US" sz="1800" b="0" i="0" u="none" strike="noStrike" kern="1200" cap="none" spc="0" normalizeH="0" baseline="0" noProof="0">
                <a:ln>
                  <a:noFill/>
                </a:ln>
                <a:effectLst/>
                <a:uLnTx/>
                <a:uFillTx/>
                <a:latin typeface="Segoe UI Semibold"/>
                <a:ea typeface="+mn-ea"/>
                <a:cs typeface="Segoe UI Semibold"/>
              </a:rPr>
            </a:br>
            <a:r>
              <a:rPr kumimoji="0" lang="en-US" sz="1800" b="0" i="0" u="none" strike="noStrike" kern="1200" cap="none" spc="0" normalizeH="0" baseline="0" noProof="0">
                <a:ln>
                  <a:noFill/>
                </a:ln>
                <a:effectLst/>
                <a:uLnTx/>
                <a:uFillTx/>
                <a:latin typeface="Segoe UI Semibold"/>
                <a:ea typeface="+mn-ea"/>
                <a:cs typeface="Segoe UI Semibold"/>
              </a:rPr>
              <a:t>focus</a:t>
            </a:r>
          </a:p>
        </p:txBody>
      </p:sp>
      <p:sp>
        <p:nvSpPr>
          <p:cNvPr id="23" name="Graphic 104" descr="Icon of a person with a closed padlock">
            <a:extLst>
              <a:ext uri="{FF2B5EF4-FFF2-40B4-BE49-F238E27FC236}">
                <a16:creationId xmlns:a16="http://schemas.microsoft.com/office/drawing/2014/main" id="{D691A489-B19E-F2D5-1DA3-CA49D19A6A62}"/>
              </a:ext>
            </a:extLst>
          </p:cNvPr>
          <p:cNvSpPr>
            <a:spLocks noChangeAspect="1"/>
          </p:cNvSpPr>
          <p:nvPr/>
        </p:nvSpPr>
        <p:spPr>
          <a:xfrm>
            <a:off x="8971902" y="4421237"/>
            <a:ext cx="259074" cy="272018"/>
          </a:xfrm>
          <a:custGeom>
            <a:avLst/>
            <a:gdLst>
              <a:gd name="connsiteX0" fmla="*/ 176316 w 293897"/>
              <a:gd name="connsiteY0" fmla="*/ 176304 h 308583"/>
              <a:gd name="connsiteX1" fmla="*/ 33053 w 293897"/>
              <a:gd name="connsiteY1" fmla="*/ 176304 h 308583"/>
              <a:gd name="connsiteX2" fmla="*/ 0 w 293897"/>
              <a:gd name="connsiteY2" fmla="*/ 209358 h 308583"/>
              <a:gd name="connsiteX3" fmla="*/ 0 w 293897"/>
              <a:gd name="connsiteY3" fmla="*/ 217847 h 308583"/>
              <a:gd name="connsiteX4" fmla="*/ 13203 w 293897"/>
              <a:gd name="connsiteY4" fmla="*/ 253639 h 308583"/>
              <a:gd name="connsiteX5" fmla="*/ 117530 w 293897"/>
              <a:gd name="connsiteY5" fmla="*/ 293902 h 308583"/>
              <a:gd name="connsiteX6" fmla="*/ 147299 w 293897"/>
              <a:gd name="connsiteY6" fmla="*/ 291840 h 308583"/>
              <a:gd name="connsiteX7" fmla="*/ 146920 w 293897"/>
              <a:gd name="connsiteY7" fmla="*/ 286537 h 308583"/>
              <a:gd name="connsiteX8" fmla="*/ 146920 w 293897"/>
              <a:gd name="connsiteY8" fmla="*/ 269592 h 308583"/>
              <a:gd name="connsiteX9" fmla="*/ 117530 w 293897"/>
              <a:gd name="connsiteY9" fmla="*/ 271856 h 308583"/>
              <a:gd name="connsiteX10" fmla="*/ 29968 w 293897"/>
              <a:gd name="connsiteY10" fmla="*/ 239322 h 308583"/>
              <a:gd name="connsiteX11" fmla="*/ 22047 w 293897"/>
              <a:gd name="connsiteY11" fmla="*/ 217847 h 308583"/>
              <a:gd name="connsiteX12" fmla="*/ 22047 w 293897"/>
              <a:gd name="connsiteY12" fmla="*/ 209358 h 308583"/>
              <a:gd name="connsiteX13" fmla="*/ 33053 w 293897"/>
              <a:gd name="connsiteY13" fmla="*/ 198351 h 308583"/>
              <a:gd name="connsiteX14" fmla="*/ 149977 w 293897"/>
              <a:gd name="connsiteY14" fmla="*/ 198351 h 308583"/>
              <a:gd name="connsiteX15" fmla="*/ 176316 w 293897"/>
              <a:gd name="connsiteY15" fmla="*/ 177041 h 308583"/>
              <a:gd name="connsiteX16" fmla="*/ 176316 w 293897"/>
              <a:gd name="connsiteY16" fmla="*/ 176304 h 308583"/>
              <a:gd name="connsiteX17" fmla="*/ 117530 w 293897"/>
              <a:gd name="connsiteY17" fmla="*/ 0 h 308583"/>
              <a:gd name="connsiteX18" fmla="*/ 191019 w 293897"/>
              <a:gd name="connsiteY18" fmla="*/ 73489 h 308583"/>
              <a:gd name="connsiteX19" fmla="*/ 117530 w 293897"/>
              <a:gd name="connsiteY19" fmla="*/ 146978 h 308583"/>
              <a:gd name="connsiteX20" fmla="*/ 44041 w 293897"/>
              <a:gd name="connsiteY20" fmla="*/ 73489 h 308583"/>
              <a:gd name="connsiteX21" fmla="*/ 117530 w 293897"/>
              <a:gd name="connsiteY21" fmla="*/ 0 h 308583"/>
              <a:gd name="connsiteX22" fmla="*/ 117530 w 293897"/>
              <a:gd name="connsiteY22" fmla="*/ 22047 h 308583"/>
              <a:gd name="connsiteX23" fmla="*/ 66088 w 293897"/>
              <a:gd name="connsiteY23" fmla="*/ 73489 h 308583"/>
              <a:gd name="connsiteX24" fmla="*/ 117530 w 293897"/>
              <a:gd name="connsiteY24" fmla="*/ 124931 h 308583"/>
              <a:gd name="connsiteX25" fmla="*/ 168973 w 293897"/>
              <a:gd name="connsiteY25" fmla="*/ 73489 h 308583"/>
              <a:gd name="connsiteX26" fmla="*/ 117530 w 293897"/>
              <a:gd name="connsiteY26" fmla="*/ 22047 h 308583"/>
              <a:gd name="connsiteX27" fmla="*/ 191013 w 293897"/>
              <a:gd name="connsiteY27" fmla="*/ 191002 h 308583"/>
              <a:gd name="connsiteX28" fmla="*/ 183664 w 293897"/>
              <a:gd name="connsiteY28" fmla="*/ 191002 h 308583"/>
              <a:gd name="connsiteX29" fmla="*/ 161618 w 293897"/>
              <a:gd name="connsiteY29" fmla="*/ 213049 h 308583"/>
              <a:gd name="connsiteX30" fmla="*/ 161618 w 293897"/>
              <a:gd name="connsiteY30" fmla="*/ 286537 h 308583"/>
              <a:gd name="connsiteX31" fmla="*/ 183664 w 293897"/>
              <a:gd name="connsiteY31" fmla="*/ 308584 h 308583"/>
              <a:gd name="connsiteX32" fmla="*/ 271851 w 293897"/>
              <a:gd name="connsiteY32" fmla="*/ 308584 h 308583"/>
              <a:gd name="connsiteX33" fmla="*/ 293898 w 293897"/>
              <a:gd name="connsiteY33" fmla="*/ 286537 h 308583"/>
              <a:gd name="connsiteX34" fmla="*/ 293898 w 293897"/>
              <a:gd name="connsiteY34" fmla="*/ 213049 h 308583"/>
              <a:gd name="connsiteX35" fmla="*/ 271851 w 293897"/>
              <a:gd name="connsiteY35" fmla="*/ 191002 h 308583"/>
              <a:gd name="connsiteX36" fmla="*/ 264502 w 293897"/>
              <a:gd name="connsiteY36" fmla="*/ 191002 h 308583"/>
              <a:gd name="connsiteX37" fmla="*/ 264502 w 293897"/>
              <a:gd name="connsiteY37" fmla="*/ 176304 h 308583"/>
              <a:gd name="connsiteX38" fmla="*/ 227758 w 293897"/>
              <a:gd name="connsiteY38" fmla="*/ 139560 h 308583"/>
              <a:gd name="connsiteX39" fmla="*/ 191013 w 293897"/>
              <a:gd name="connsiteY39" fmla="*/ 176304 h 308583"/>
              <a:gd name="connsiteX40" fmla="*/ 191013 w 293897"/>
              <a:gd name="connsiteY40" fmla="*/ 191002 h 308583"/>
              <a:gd name="connsiteX41" fmla="*/ 213060 w 293897"/>
              <a:gd name="connsiteY41" fmla="*/ 176304 h 308583"/>
              <a:gd name="connsiteX42" fmla="*/ 227758 w 293897"/>
              <a:gd name="connsiteY42" fmla="*/ 161606 h 308583"/>
              <a:gd name="connsiteX43" fmla="*/ 242455 w 293897"/>
              <a:gd name="connsiteY43" fmla="*/ 176304 h 308583"/>
              <a:gd name="connsiteX44" fmla="*/ 242455 w 293897"/>
              <a:gd name="connsiteY44" fmla="*/ 191002 h 308583"/>
              <a:gd name="connsiteX45" fmla="*/ 213060 w 293897"/>
              <a:gd name="connsiteY45" fmla="*/ 191002 h 308583"/>
              <a:gd name="connsiteX46" fmla="*/ 213060 w 293897"/>
              <a:gd name="connsiteY46" fmla="*/ 176304 h 308583"/>
              <a:gd name="connsiteX47" fmla="*/ 242455 w 293897"/>
              <a:gd name="connsiteY47" fmla="*/ 249793 h 308583"/>
              <a:gd name="connsiteX48" fmla="*/ 227758 w 293897"/>
              <a:gd name="connsiteY48" fmla="*/ 264491 h 308583"/>
              <a:gd name="connsiteX49" fmla="*/ 213060 w 293897"/>
              <a:gd name="connsiteY49" fmla="*/ 249793 h 308583"/>
              <a:gd name="connsiteX50" fmla="*/ 227758 w 293897"/>
              <a:gd name="connsiteY50" fmla="*/ 235095 h 308583"/>
              <a:gd name="connsiteX51" fmla="*/ 242455 w 293897"/>
              <a:gd name="connsiteY51" fmla="*/ 249793 h 308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3897" h="308583">
                <a:moveTo>
                  <a:pt x="176316" y="176304"/>
                </a:moveTo>
                <a:lnTo>
                  <a:pt x="33053" y="176304"/>
                </a:lnTo>
                <a:cubicBezTo>
                  <a:pt x="14798" y="176304"/>
                  <a:pt x="0" y="191102"/>
                  <a:pt x="0" y="209358"/>
                </a:cubicBezTo>
                <a:lnTo>
                  <a:pt x="0" y="217847"/>
                </a:lnTo>
                <a:cubicBezTo>
                  <a:pt x="0" y="230970"/>
                  <a:pt x="4681" y="243661"/>
                  <a:pt x="13203" y="253639"/>
                </a:cubicBezTo>
                <a:cubicBezTo>
                  <a:pt x="36224" y="280599"/>
                  <a:pt x="71293" y="293902"/>
                  <a:pt x="117530" y="293902"/>
                </a:cubicBezTo>
                <a:cubicBezTo>
                  <a:pt x="128032" y="293902"/>
                  <a:pt x="137959" y="293216"/>
                  <a:pt x="147299" y="291840"/>
                </a:cubicBezTo>
                <a:cubicBezTo>
                  <a:pt x="147049" y="290109"/>
                  <a:pt x="146920" y="288338"/>
                  <a:pt x="146920" y="286537"/>
                </a:cubicBezTo>
                <a:lnTo>
                  <a:pt x="146920" y="269592"/>
                </a:lnTo>
                <a:cubicBezTo>
                  <a:pt x="137894" y="271100"/>
                  <a:pt x="128103" y="271856"/>
                  <a:pt x="117530" y="271856"/>
                </a:cubicBezTo>
                <a:cubicBezTo>
                  <a:pt x="77283" y="271856"/>
                  <a:pt x="48389" y="260894"/>
                  <a:pt x="29968" y="239322"/>
                </a:cubicBezTo>
                <a:cubicBezTo>
                  <a:pt x="24856" y="233336"/>
                  <a:pt x="22047" y="225721"/>
                  <a:pt x="22047" y="217847"/>
                </a:cubicBezTo>
                <a:lnTo>
                  <a:pt x="22047" y="209358"/>
                </a:lnTo>
                <a:cubicBezTo>
                  <a:pt x="22047" y="203279"/>
                  <a:pt x="26974" y="198351"/>
                  <a:pt x="33053" y="198351"/>
                </a:cubicBezTo>
                <a:lnTo>
                  <a:pt x="149977" y="198351"/>
                </a:lnTo>
                <a:cubicBezTo>
                  <a:pt x="154701" y="187541"/>
                  <a:pt x="164475" y="179444"/>
                  <a:pt x="176316" y="177041"/>
                </a:cubicBezTo>
                <a:lnTo>
                  <a:pt x="176316" y="176304"/>
                </a:lnTo>
                <a:close/>
                <a:moveTo>
                  <a:pt x="117530" y="0"/>
                </a:moveTo>
                <a:cubicBezTo>
                  <a:pt x="158117" y="0"/>
                  <a:pt x="191019" y="32902"/>
                  <a:pt x="191019" y="73489"/>
                </a:cubicBezTo>
                <a:cubicBezTo>
                  <a:pt x="191019" y="114076"/>
                  <a:pt x="158117" y="146978"/>
                  <a:pt x="117530" y="146978"/>
                </a:cubicBezTo>
                <a:cubicBezTo>
                  <a:pt x="76943" y="146978"/>
                  <a:pt x="44041" y="114076"/>
                  <a:pt x="44041" y="73489"/>
                </a:cubicBezTo>
                <a:cubicBezTo>
                  <a:pt x="44041" y="32902"/>
                  <a:pt x="76943" y="0"/>
                  <a:pt x="117530" y="0"/>
                </a:cubicBezTo>
                <a:close/>
                <a:moveTo>
                  <a:pt x="117530" y="22047"/>
                </a:moveTo>
                <a:cubicBezTo>
                  <a:pt x="89119" y="22047"/>
                  <a:pt x="66088" y="45078"/>
                  <a:pt x="66088" y="73489"/>
                </a:cubicBezTo>
                <a:cubicBezTo>
                  <a:pt x="66088" y="101899"/>
                  <a:pt x="89119" y="124931"/>
                  <a:pt x="117530" y="124931"/>
                </a:cubicBezTo>
                <a:cubicBezTo>
                  <a:pt x="145941" y="124931"/>
                  <a:pt x="168973" y="101899"/>
                  <a:pt x="168973" y="73489"/>
                </a:cubicBezTo>
                <a:cubicBezTo>
                  <a:pt x="168973" y="45078"/>
                  <a:pt x="145941" y="22047"/>
                  <a:pt x="117530" y="22047"/>
                </a:cubicBezTo>
                <a:close/>
                <a:moveTo>
                  <a:pt x="191013" y="191002"/>
                </a:moveTo>
                <a:lnTo>
                  <a:pt x="183664" y="191002"/>
                </a:lnTo>
                <a:cubicBezTo>
                  <a:pt x="171489" y="191002"/>
                  <a:pt x="161618" y="200873"/>
                  <a:pt x="161618" y="213049"/>
                </a:cubicBezTo>
                <a:lnTo>
                  <a:pt x="161618" y="286537"/>
                </a:lnTo>
                <a:cubicBezTo>
                  <a:pt x="161618" y="298714"/>
                  <a:pt x="171489" y="308584"/>
                  <a:pt x="183664" y="308584"/>
                </a:cubicBezTo>
                <a:lnTo>
                  <a:pt x="271851" y="308584"/>
                </a:lnTo>
                <a:cubicBezTo>
                  <a:pt x="284027" y="308584"/>
                  <a:pt x="293898" y="298714"/>
                  <a:pt x="293898" y="286537"/>
                </a:cubicBezTo>
                <a:lnTo>
                  <a:pt x="293898" y="213049"/>
                </a:lnTo>
                <a:cubicBezTo>
                  <a:pt x="293898" y="200873"/>
                  <a:pt x="284027" y="191002"/>
                  <a:pt x="271851" y="191002"/>
                </a:cubicBezTo>
                <a:lnTo>
                  <a:pt x="264502" y="191002"/>
                </a:lnTo>
                <a:lnTo>
                  <a:pt x="264502" y="176304"/>
                </a:lnTo>
                <a:cubicBezTo>
                  <a:pt x="264502" y="156011"/>
                  <a:pt x="248051" y="139560"/>
                  <a:pt x="227758" y="139560"/>
                </a:cubicBezTo>
                <a:cubicBezTo>
                  <a:pt x="207464" y="139560"/>
                  <a:pt x="191013" y="156011"/>
                  <a:pt x="191013" y="176304"/>
                </a:cubicBezTo>
                <a:lnTo>
                  <a:pt x="191013" y="191002"/>
                </a:lnTo>
                <a:close/>
                <a:moveTo>
                  <a:pt x="213060" y="176304"/>
                </a:moveTo>
                <a:cubicBezTo>
                  <a:pt x="213060" y="168188"/>
                  <a:pt x="219640" y="161606"/>
                  <a:pt x="227758" y="161606"/>
                </a:cubicBezTo>
                <a:cubicBezTo>
                  <a:pt x="235875" y="161606"/>
                  <a:pt x="242455" y="168188"/>
                  <a:pt x="242455" y="176304"/>
                </a:cubicBezTo>
                <a:lnTo>
                  <a:pt x="242455" y="191002"/>
                </a:lnTo>
                <a:lnTo>
                  <a:pt x="213060" y="191002"/>
                </a:lnTo>
                <a:lnTo>
                  <a:pt x="213060" y="176304"/>
                </a:lnTo>
                <a:close/>
                <a:moveTo>
                  <a:pt x="242455" y="249793"/>
                </a:moveTo>
                <a:cubicBezTo>
                  <a:pt x="242455" y="257911"/>
                  <a:pt x="235875" y="264491"/>
                  <a:pt x="227758" y="264491"/>
                </a:cubicBezTo>
                <a:cubicBezTo>
                  <a:pt x="219640" y="264491"/>
                  <a:pt x="213060" y="257911"/>
                  <a:pt x="213060" y="249793"/>
                </a:cubicBezTo>
                <a:cubicBezTo>
                  <a:pt x="213060" y="241677"/>
                  <a:pt x="219640" y="235095"/>
                  <a:pt x="227758" y="235095"/>
                </a:cubicBezTo>
                <a:cubicBezTo>
                  <a:pt x="235875" y="235095"/>
                  <a:pt x="242455" y="241677"/>
                  <a:pt x="242455" y="249793"/>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Variable Display Semibold" pitchFamily="2" charset="0"/>
              <a:ea typeface="+mn-ea"/>
              <a:cs typeface="Segoe UI" pitchFamily="34" charset="0"/>
            </a:endParaRPr>
          </a:p>
        </p:txBody>
      </p:sp>
      <p:sp>
        <p:nvSpPr>
          <p:cNvPr id="24" name="Rounded Rectangle 4">
            <a:extLst>
              <a:ext uri="{FF2B5EF4-FFF2-40B4-BE49-F238E27FC236}">
                <a16:creationId xmlns:a16="http://schemas.microsoft.com/office/drawing/2014/main" id="{52427155-9D70-F007-E085-146D62CEAC9F}"/>
              </a:ext>
            </a:extLst>
          </p:cNvPr>
          <p:cNvSpPr/>
          <p:nvPr/>
        </p:nvSpPr>
        <p:spPr bwMode="auto">
          <a:xfrm>
            <a:off x="9468622" y="4280247"/>
            <a:ext cx="1920240"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Customer data protection</a:t>
            </a:r>
          </a:p>
        </p:txBody>
      </p:sp>
      <p:sp>
        <p:nvSpPr>
          <p:cNvPr id="25" name="Graphic 85" descr="Icon of a storage">
            <a:extLst>
              <a:ext uri="{FF2B5EF4-FFF2-40B4-BE49-F238E27FC236}">
                <a16:creationId xmlns:a16="http://schemas.microsoft.com/office/drawing/2014/main" id="{23C0D512-C683-B72C-5DFA-0A103BF48E39}"/>
              </a:ext>
            </a:extLst>
          </p:cNvPr>
          <p:cNvSpPr>
            <a:spLocks noChangeAspect="1"/>
          </p:cNvSpPr>
          <p:nvPr/>
        </p:nvSpPr>
        <p:spPr>
          <a:xfrm>
            <a:off x="8964279" y="5629432"/>
            <a:ext cx="274320" cy="137160"/>
          </a:xfrm>
          <a:custGeom>
            <a:avLst/>
            <a:gdLst>
              <a:gd name="connsiteX0" fmla="*/ 46374 w 309156"/>
              <a:gd name="connsiteY0" fmla="*/ 0 h 154578"/>
              <a:gd name="connsiteX1" fmla="*/ 262783 w 309156"/>
              <a:gd name="connsiteY1" fmla="*/ 0 h 154578"/>
              <a:gd name="connsiteX2" fmla="*/ 309078 w 309156"/>
              <a:gd name="connsiteY2" fmla="*/ 43649 h 154578"/>
              <a:gd name="connsiteX3" fmla="*/ 309157 w 309156"/>
              <a:gd name="connsiteY3" fmla="*/ 46374 h 154578"/>
              <a:gd name="connsiteX4" fmla="*/ 309157 w 309156"/>
              <a:gd name="connsiteY4" fmla="*/ 108205 h 154578"/>
              <a:gd name="connsiteX5" fmla="*/ 265508 w 309156"/>
              <a:gd name="connsiteY5" fmla="*/ 154500 h 154578"/>
              <a:gd name="connsiteX6" fmla="*/ 262783 w 309156"/>
              <a:gd name="connsiteY6" fmla="*/ 154578 h 154578"/>
              <a:gd name="connsiteX7" fmla="*/ 46374 w 309156"/>
              <a:gd name="connsiteY7" fmla="*/ 154578 h 154578"/>
              <a:gd name="connsiteX8" fmla="*/ 79 w 309156"/>
              <a:gd name="connsiteY8" fmla="*/ 110930 h 154578"/>
              <a:gd name="connsiteX9" fmla="*/ 0 w 309156"/>
              <a:gd name="connsiteY9" fmla="*/ 108205 h 154578"/>
              <a:gd name="connsiteX10" fmla="*/ 0 w 309156"/>
              <a:gd name="connsiteY10" fmla="*/ 46374 h 154578"/>
              <a:gd name="connsiteX11" fmla="*/ 43649 w 309156"/>
              <a:gd name="connsiteY11" fmla="*/ 79 h 154578"/>
              <a:gd name="connsiteX12" fmla="*/ 46374 w 309156"/>
              <a:gd name="connsiteY12" fmla="*/ 0 h 154578"/>
              <a:gd name="connsiteX13" fmla="*/ 262783 w 309156"/>
              <a:gd name="connsiteY13" fmla="*/ 0 h 154578"/>
              <a:gd name="connsiteX14" fmla="*/ 46374 w 309156"/>
              <a:gd name="connsiteY14" fmla="*/ 0 h 154578"/>
              <a:gd name="connsiteX15" fmla="*/ 262783 w 309156"/>
              <a:gd name="connsiteY15" fmla="*/ 23187 h 154578"/>
              <a:gd name="connsiteX16" fmla="*/ 46374 w 309156"/>
              <a:gd name="connsiteY16" fmla="*/ 23187 h 154578"/>
              <a:gd name="connsiteX17" fmla="*/ 23187 w 309156"/>
              <a:gd name="connsiteY17" fmla="*/ 46374 h 154578"/>
              <a:gd name="connsiteX18" fmla="*/ 23187 w 309156"/>
              <a:gd name="connsiteY18" fmla="*/ 108205 h 154578"/>
              <a:gd name="connsiteX19" fmla="*/ 46374 w 309156"/>
              <a:gd name="connsiteY19" fmla="*/ 131392 h 154578"/>
              <a:gd name="connsiteX20" fmla="*/ 262783 w 309156"/>
              <a:gd name="connsiteY20" fmla="*/ 131392 h 154578"/>
              <a:gd name="connsiteX21" fmla="*/ 285970 w 309156"/>
              <a:gd name="connsiteY21" fmla="*/ 108205 h 154578"/>
              <a:gd name="connsiteX22" fmla="*/ 285970 w 309156"/>
              <a:gd name="connsiteY22" fmla="*/ 46374 h 154578"/>
              <a:gd name="connsiteX23" fmla="*/ 262783 w 309156"/>
              <a:gd name="connsiteY23" fmla="*/ 23187 h 154578"/>
              <a:gd name="connsiteX24" fmla="*/ 247325 w 309156"/>
              <a:gd name="connsiteY24" fmla="*/ 46374 h 154578"/>
              <a:gd name="connsiteX25" fmla="*/ 262783 w 309156"/>
              <a:gd name="connsiteY25" fmla="*/ 61831 h 154578"/>
              <a:gd name="connsiteX26" fmla="*/ 247325 w 309156"/>
              <a:gd name="connsiteY26" fmla="*/ 77289 h 154578"/>
              <a:gd name="connsiteX27" fmla="*/ 231868 w 309156"/>
              <a:gd name="connsiteY27" fmla="*/ 61831 h 154578"/>
              <a:gd name="connsiteX28" fmla="*/ 247325 w 309156"/>
              <a:gd name="connsiteY28" fmla="*/ 46374 h 154578"/>
              <a:gd name="connsiteX29" fmla="*/ 185494 w 309156"/>
              <a:gd name="connsiteY29" fmla="*/ 46374 h 154578"/>
              <a:gd name="connsiteX30" fmla="*/ 200952 w 309156"/>
              <a:gd name="connsiteY30" fmla="*/ 61831 h 154578"/>
              <a:gd name="connsiteX31" fmla="*/ 185494 w 309156"/>
              <a:gd name="connsiteY31" fmla="*/ 77289 h 154578"/>
              <a:gd name="connsiteX32" fmla="*/ 170036 w 309156"/>
              <a:gd name="connsiteY32" fmla="*/ 61831 h 154578"/>
              <a:gd name="connsiteX33" fmla="*/ 185494 w 309156"/>
              <a:gd name="connsiteY33" fmla="*/ 46374 h 154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9156" h="154578">
                <a:moveTo>
                  <a:pt x="46374" y="0"/>
                </a:moveTo>
                <a:lnTo>
                  <a:pt x="262783" y="0"/>
                </a:lnTo>
                <a:cubicBezTo>
                  <a:pt x="287480" y="0"/>
                  <a:pt x="307668" y="19306"/>
                  <a:pt x="309078" y="43649"/>
                </a:cubicBezTo>
                <a:lnTo>
                  <a:pt x="309157" y="46374"/>
                </a:lnTo>
                <a:lnTo>
                  <a:pt x="309157" y="108205"/>
                </a:lnTo>
                <a:cubicBezTo>
                  <a:pt x="309157" y="132902"/>
                  <a:pt x="289851" y="153090"/>
                  <a:pt x="265508" y="154500"/>
                </a:cubicBezTo>
                <a:lnTo>
                  <a:pt x="262783" y="154578"/>
                </a:lnTo>
                <a:lnTo>
                  <a:pt x="46374" y="154578"/>
                </a:lnTo>
                <a:cubicBezTo>
                  <a:pt x="21677" y="154578"/>
                  <a:pt x="1489" y="135273"/>
                  <a:pt x="79" y="110930"/>
                </a:cubicBezTo>
                <a:lnTo>
                  <a:pt x="0" y="108205"/>
                </a:lnTo>
                <a:lnTo>
                  <a:pt x="0" y="46374"/>
                </a:lnTo>
                <a:cubicBezTo>
                  <a:pt x="0" y="21677"/>
                  <a:pt x="19306" y="1489"/>
                  <a:pt x="43649" y="79"/>
                </a:cubicBezTo>
                <a:lnTo>
                  <a:pt x="46374" y="0"/>
                </a:lnTo>
                <a:lnTo>
                  <a:pt x="262783" y="0"/>
                </a:lnTo>
                <a:lnTo>
                  <a:pt x="46374" y="0"/>
                </a:lnTo>
                <a:close/>
                <a:moveTo>
                  <a:pt x="262783" y="23187"/>
                </a:moveTo>
                <a:lnTo>
                  <a:pt x="46374" y="23187"/>
                </a:lnTo>
                <a:cubicBezTo>
                  <a:pt x="33568" y="23187"/>
                  <a:pt x="23187" y="33568"/>
                  <a:pt x="23187" y="46374"/>
                </a:cubicBezTo>
                <a:lnTo>
                  <a:pt x="23187" y="108205"/>
                </a:lnTo>
                <a:cubicBezTo>
                  <a:pt x="23187" y="121010"/>
                  <a:pt x="33568" y="131392"/>
                  <a:pt x="46374" y="131392"/>
                </a:cubicBezTo>
                <a:lnTo>
                  <a:pt x="262783" y="131392"/>
                </a:lnTo>
                <a:cubicBezTo>
                  <a:pt x="275588" y="131392"/>
                  <a:pt x="285970" y="121010"/>
                  <a:pt x="285970" y="108205"/>
                </a:cubicBezTo>
                <a:lnTo>
                  <a:pt x="285970" y="46374"/>
                </a:lnTo>
                <a:cubicBezTo>
                  <a:pt x="285970" y="33568"/>
                  <a:pt x="275588" y="23187"/>
                  <a:pt x="262783" y="23187"/>
                </a:cubicBezTo>
                <a:close/>
                <a:moveTo>
                  <a:pt x="247325" y="46374"/>
                </a:moveTo>
                <a:cubicBezTo>
                  <a:pt x="255863" y="46374"/>
                  <a:pt x="262783" y="53294"/>
                  <a:pt x="262783" y="61831"/>
                </a:cubicBezTo>
                <a:cubicBezTo>
                  <a:pt x="262783" y="70369"/>
                  <a:pt x="255863" y="77289"/>
                  <a:pt x="247325" y="77289"/>
                </a:cubicBezTo>
                <a:cubicBezTo>
                  <a:pt x="238788" y="77289"/>
                  <a:pt x="231868" y="70369"/>
                  <a:pt x="231868" y="61831"/>
                </a:cubicBezTo>
                <a:cubicBezTo>
                  <a:pt x="231868" y="53294"/>
                  <a:pt x="238788" y="46374"/>
                  <a:pt x="247325" y="46374"/>
                </a:cubicBezTo>
                <a:close/>
                <a:moveTo>
                  <a:pt x="185494" y="46374"/>
                </a:moveTo>
                <a:cubicBezTo>
                  <a:pt x="194031" y="46374"/>
                  <a:pt x="200952" y="53294"/>
                  <a:pt x="200952" y="61831"/>
                </a:cubicBezTo>
                <a:cubicBezTo>
                  <a:pt x="200952" y="70369"/>
                  <a:pt x="194031" y="77289"/>
                  <a:pt x="185494" y="77289"/>
                </a:cubicBezTo>
                <a:cubicBezTo>
                  <a:pt x="176957" y="77289"/>
                  <a:pt x="170036" y="70369"/>
                  <a:pt x="170036" y="61831"/>
                </a:cubicBezTo>
                <a:cubicBezTo>
                  <a:pt x="170036" y="53294"/>
                  <a:pt x="176957" y="46374"/>
                  <a:pt x="185494" y="46374"/>
                </a:cubicBezTo>
                <a:close/>
              </a:path>
            </a:pathLst>
          </a:custGeom>
          <a:gradFill>
            <a:gsLst>
              <a:gs pos="80000">
                <a:srgbClr val="8678D6"/>
              </a:gs>
              <a:gs pos="45000">
                <a:srgbClr val="0078D4"/>
              </a:gs>
              <a:gs pos="0">
                <a:srgbClr val="4DDBF8"/>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67" rtl="0" eaLnBrk="1" fontAlgn="base" latinLnBrk="0" hangingPunct="1">
              <a:lnSpc>
                <a:spcPct val="9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1910">
                    <a:srgbClr val="000000"/>
                  </a:gs>
                  <a:gs pos="53933">
                    <a:srgbClr val="000000"/>
                  </a:gs>
                </a:gsLst>
                <a:path path="circle">
                  <a:fillToRect l="100000" b="100000"/>
                </a:path>
              </a:gradFill>
              <a:effectLst/>
              <a:uLnTx/>
              <a:uFillTx/>
              <a:latin typeface="Segoe UI Variable Display Semibold" pitchFamily="2" charset="0"/>
              <a:ea typeface="+mn-ea"/>
              <a:cs typeface="Segoe UI" pitchFamily="34" charset="0"/>
            </a:endParaRPr>
          </a:p>
        </p:txBody>
      </p:sp>
      <p:sp>
        <p:nvSpPr>
          <p:cNvPr id="26" name="Rounded Rectangle 4">
            <a:extLst>
              <a:ext uri="{FF2B5EF4-FFF2-40B4-BE49-F238E27FC236}">
                <a16:creationId xmlns:a16="http://schemas.microsoft.com/office/drawing/2014/main" id="{ABAE9512-031F-57C1-4E9E-D9E32BCA5AE4}"/>
              </a:ext>
            </a:extLst>
          </p:cNvPr>
          <p:cNvSpPr/>
          <p:nvPr/>
        </p:nvSpPr>
        <p:spPr bwMode="auto">
          <a:xfrm>
            <a:off x="9468622" y="5421013"/>
            <a:ext cx="1920240" cy="553998"/>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742" rtl="0" eaLnBrk="1" fontAlgn="auto" latinLnBrk="0" hangingPunct="1">
              <a:lnSpc>
                <a:spcPct val="100000"/>
              </a:lnSpc>
              <a:spcBef>
                <a:spcPts val="0"/>
              </a:spcBef>
              <a:spcAft>
                <a:spcPts val="0"/>
              </a:spcAft>
              <a:buClrTx/>
              <a:buSzPct val="90000"/>
              <a:buFontTx/>
              <a:buNone/>
              <a:tabLst/>
              <a:defRPr/>
            </a:pPr>
            <a:r>
              <a:rPr kumimoji="0" lang="en-US" sz="1800" b="0" i="0" u="none" strike="noStrike" kern="1200" cap="none" spc="0" normalizeH="0" baseline="0" noProof="0">
                <a:ln>
                  <a:noFill/>
                </a:ln>
                <a:effectLst/>
                <a:uLnTx/>
                <a:uFillTx/>
                <a:latin typeface="Segoe UI Semibold"/>
                <a:ea typeface="+mn-ea"/>
                <a:cs typeface="Segoe UI Semibold"/>
              </a:rPr>
              <a:t>Data processing and residency</a:t>
            </a:r>
          </a:p>
        </p:txBody>
      </p:sp>
      <p:cxnSp>
        <p:nvCxnSpPr>
          <p:cNvPr id="27" name="Straight Connector 26">
            <a:extLst>
              <a:ext uri="{FF2B5EF4-FFF2-40B4-BE49-F238E27FC236}">
                <a16:creationId xmlns:a16="http://schemas.microsoft.com/office/drawing/2014/main" id="{5BCC4D20-E5AA-8682-0422-C297A57DE900}"/>
              </a:ext>
              <a:ext uri="{C183D7F6-B498-43B3-948B-1728B52AA6E4}">
                <adec:decorative xmlns:adec="http://schemas.microsoft.com/office/drawing/2017/decorative" val="1"/>
              </a:ext>
            </a:extLst>
          </p:cNvPr>
          <p:cNvCxnSpPr>
            <a:cxnSpLocks/>
          </p:cNvCxnSpPr>
          <p:nvPr/>
        </p:nvCxnSpPr>
        <p:spPr>
          <a:xfrm>
            <a:off x="5627554" y="4972269"/>
            <a:ext cx="1828800" cy="0"/>
          </a:xfrm>
          <a:prstGeom prst="line">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28" name="Graphic 27" descr="icon for security">
            <a:extLst>
              <a:ext uri="{FF2B5EF4-FFF2-40B4-BE49-F238E27FC236}">
                <a16:creationId xmlns:a16="http://schemas.microsoft.com/office/drawing/2014/main" id="{5CC1D56A-5117-02A3-0C0B-B1325AFE15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35327" y="2025309"/>
            <a:ext cx="457342" cy="457339"/>
          </a:xfrm>
          <a:prstGeom prst="rect">
            <a:avLst/>
          </a:prstGeom>
        </p:spPr>
      </p:pic>
      <p:pic>
        <p:nvPicPr>
          <p:cNvPr id="29" name="Graphic 28" descr="icon for compliance">
            <a:extLst>
              <a:ext uri="{FF2B5EF4-FFF2-40B4-BE49-F238E27FC236}">
                <a16:creationId xmlns:a16="http://schemas.microsoft.com/office/drawing/2014/main" id="{995175C1-00C8-158F-A57E-73D33F4EE5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4742" y="2030121"/>
            <a:ext cx="457343" cy="457339"/>
          </a:xfrm>
          <a:prstGeom prst="rect">
            <a:avLst/>
          </a:prstGeom>
        </p:spPr>
      </p:pic>
      <p:pic>
        <p:nvPicPr>
          <p:cNvPr id="30" name="Graphic 29" descr="icon for privacy">
            <a:extLst>
              <a:ext uri="{FF2B5EF4-FFF2-40B4-BE49-F238E27FC236}">
                <a16:creationId xmlns:a16="http://schemas.microsoft.com/office/drawing/2014/main" id="{95F596A3-17B0-C215-8EFA-3920F6EDBB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57223" y="3681841"/>
            <a:ext cx="470179" cy="470175"/>
          </a:xfrm>
          <a:prstGeom prst="rect">
            <a:avLst/>
          </a:prstGeom>
        </p:spPr>
      </p:pic>
      <p:pic>
        <p:nvPicPr>
          <p:cNvPr id="31" name="Graphic 30" descr="icon for responsible AI&#10;">
            <a:extLst>
              <a:ext uri="{FF2B5EF4-FFF2-40B4-BE49-F238E27FC236}">
                <a16:creationId xmlns:a16="http://schemas.microsoft.com/office/drawing/2014/main" id="{7430C766-C69C-EF04-0675-B983765D0E9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237539" y="5138201"/>
            <a:ext cx="454913" cy="454912"/>
          </a:xfrm>
          <a:prstGeom prst="rect">
            <a:avLst/>
          </a:prstGeom>
        </p:spPr>
      </p:pic>
    </p:spTree>
    <p:extLst>
      <p:ext uri="{BB962C8B-B14F-4D97-AF65-F5344CB8AC3E}">
        <p14:creationId xmlns:p14="http://schemas.microsoft.com/office/powerpoint/2010/main" val="73277656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700" fill="hold"/>
                                        <p:tgtEl>
                                          <p:spTgt spid="15"/>
                                        </p:tgtEl>
                                        <p:attrNameLst>
                                          <p:attrName>ppt_x</p:attrName>
                                          <p:attrName>ppt_y</p:attrName>
                                        </p:attrNameLst>
                                      </p:cBhvr>
                                      <p:rCtr x="859" y="0"/>
                                    </p:animMotion>
                                  </p:childTnLst>
                                </p:cTn>
                              </p:par>
                            </p:childTnLst>
                          </p:cTn>
                        </p:par>
                        <p:par>
                          <p:cTn id="10" fill="hold">
                            <p:stCondLst>
                              <p:cond delay="700"/>
                            </p:stCondLst>
                            <p:childTnLst>
                              <p:par>
                                <p:cTn id="11" presetID="10"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1200"/>
                            </p:stCondLst>
                            <p:childTnLst>
                              <p:par>
                                <p:cTn id="15" presetID="10" presetClass="entr" presetSubtype="0" fill="hold" grpId="0" nodeType="after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grpId="1" nodeType="withEffect">
                                  <p:stCondLst>
                                    <p:cond delay="0"/>
                                  </p:stCondLst>
                                  <p:childTnLst>
                                    <p:animMotion origin="layout" path="M -2.5E-6 0.03889 L -2.5E-6 2.77556E-17 " pathEditMode="relative" rAng="0" ptsTypes="AA">
                                      <p:cBhvr>
                                        <p:cTn id="19" dur="700" fill="hold"/>
                                        <p:tgtEl>
                                          <p:spTgt spid="18"/>
                                        </p:tgtEl>
                                        <p:attrNameLst>
                                          <p:attrName>ppt_x</p:attrName>
                                          <p:attrName>ppt_y</p:attrName>
                                        </p:attrNameLst>
                                      </p:cBhvr>
                                      <p:rCtr x="0" y="-1944"/>
                                    </p:animMotion>
                                  </p:childTnLst>
                                </p:cTn>
                              </p:par>
                            </p:childTnLst>
                          </p:cTn>
                        </p:par>
                        <p:par>
                          <p:cTn id="20" fill="hold">
                            <p:stCondLst>
                              <p:cond delay="1900"/>
                            </p:stCondLst>
                            <p:childTnLst>
                              <p:par>
                                <p:cTn id="21" presetID="53" presetClass="entr" presetSubtype="16" fill="hold" grpId="0" nodeType="afterEffect">
                                  <p:stCondLst>
                                    <p:cond delay="0"/>
                                  </p:stCondLst>
                                  <p:childTnLst>
                                    <p:set>
                                      <p:cBhvr>
                                        <p:cTn id="22" dur="1" fill="hold">
                                          <p:stCondLst>
                                            <p:cond delay="0"/>
                                          </p:stCondLst>
                                        </p:cTn>
                                        <p:tgtEl>
                                          <p:spTgt spid="21"/>
                                        </p:tgtEl>
                                        <p:attrNameLst>
                                          <p:attrName>style.visibility</p:attrName>
                                        </p:attrNameLst>
                                      </p:cBhvr>
                                      <p:to>
                                        <p:strVal val="visible"/>
                                      </p:to>
                                    </p:set>
                                    <p:anim calcmode="lin" valueType="num">
                                      <p:cBhvr>
                                        <p:cTn id="23" dur="500" fill="hold"/>
                                        <p:tgtEl>
                                          <p:spTgt spid="21"/>
                                        </p:tgtEl>
                                        <p:attrNameLst>
                                          <p:attrName>ppt_w</p:attrName>
                                        </p:attrNameLst>
                                      </p:cBhvr>
                                      <p:tavLst>
                                        <p:tav tm="0">
                                          <p:val>
                                            <p:fltVal val="0"/>
                                          </p:val>
                                        </p:tav>
                                        <p:tav tm="100000">
                                          <p:val>
                                            <p:strVal val="#ppt_w"/>
                                          </p:val>
                                        </p:tav>
                                      </p:tavLst>
                                    </p:anim>
                                    <p:anim calcmode="lin" valueType="num">
                                      <p:cBhvr>
                                        <p:cTn id="24" dur="500" fill="hold"/>
                                        <p:tgtEl>
                                          <p:spTgt spid="21"/>
                                        </p:tgtEl>
                                        <p:attrNameLst>
                                          <p:attrName>ppt_h</p:attrName>
                                        </p:attrNameLst>
                                      </p:cBhvr>
                                      <p:tavLst>
                                        <p:tav tm="0">
                                          <p:val>
                                            <p:fltVal val="0"/>
                                          </p:val>
                                        </p:tav>
                                        <p:tav tm="100000">
                                          <p:val>
                                            <p:strVal val="#ppt_h"/>
                                          </p:val>
                                        </p:tav>
                                      </p:tavLst>
                                    </p:anim>
                                    <p:animEffect transition="in" filter="fade">
                                      <p:cBhvr>
                                        <p:cTn id="25" dur="500"/>
                                        <p:tgtEl>
                                          <p:spTgt spid="21"/>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 calcmode="lin" valueType="num">
                                      <p:cBhvr>
                                        <p:cTn id="28" dur="500" fill="hold"/>
                                        <p:tgtEl>
                                          <p:spTgt spid="25"/>
                                        </p:tgtEl>
                                        <p:attrNameLst>
                                          <p:attrName>ppt_w</p:attrName>
                                        </p:attrNameLst>
                                      </p:cBhvr>
                                      <p:tavLst>
                                        <p:tav tm="0">
                                          <p:val>
                                            <p:fltVal val="0"/>
                                          </p:val>
                                        </p:tav>
                                        <p:tav tm="100000">
                                          <p:val>
                                            <p:strVal val="#ppt_w"/>
                                          </p:val>
                                        </p:tav>
                                      </p:tavLst>
                                    </p:anim>
                                    <p:anim calcmode="lin" valueType="num">
                                      <p:cBhvr>
                                        <p:cTn id="29" dur="500" fill="hold"/>
                                        <p:tgtEl>
                                          <p:spTgt spid="25"/>
                                        </p:tgtEl>
                                        <p:attrNameLst>
                                          <p:attrName>ppt_h</p:attrName>
                                        </p:attrNameLst>
                                      </p:cBhvr>
                                      <p:tavLst>
                                        <p:tav tm="0">
                                          <p:val>
                                            <p:fltVal val="0"/>
                                          </p:val>
                                        </p:tav>
                                        <p:tav tm="100000">
                                          <p:val>
                                            <p:strVal val="#ppt_h"/>
                                          </p:val>
                                        </p:tav>
                                      </p:tavLst>
                                    </p:anim>
                                    <p:animEffect transition="in" filter="fade">
                                      <p:cBhvr>
                                        <p:cTn id="30" dur="500"/>
                                        <p:tgtEl>
                                          <p:spTgt spid="25"/>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 calcmode="lin" valueType="num">
                                      <p:cBhvr>
                                        <p:cTn id="33" dur="500" fill="hold"/>
                                        <p:tgtEl>
                                          <p:spTgt spid="23"/>
                                        </p:tgtEl>
                                        <p:attrNameLst>
                                          <p:attrName>ppt_w</p:attrName>
                                        </p:attrNameLst>
                                      </p:cBhvr>
                                      <p:tavLst>
                                        <p:tav tm="0">
                                          <p:val>
                                            <p:fltVal val="0"/>
                                          </p:val>
                                        </p:tav>
                                        <p:tav tm="100000">
                                          <p:val>
                                            <p:strVal val="#ppt_w"/>
                                          </p:val>
                                        </p:tav>
                                      </p:tavLst>
                                    </p:anim>
                                    <p:anim calcmode="lin" valueType="num">
                                      <p:cBhvr>
                                        <p:cTn id="34" dur="500" fill="hold"/>
                                        <p:tgtEl>
                                          <p:spTgt spid="23"/>
                                        </p:tgtEl>
                                        <p:attrNameLst>
                                          <p:attrName>ppt_h</p:attrName>
                                        </p:attrNameLst>
                                      </p:cBhvr>
                                      <p:tavLst>
                                        <p:tav tm="0">
                                          <p:val>
                                            <p:fltVal val="0"/>
                                          </p:val>
                                        </p:tav>
                                        <p:tav tm="100000">
                                          <p:val>
                                            <p:strVal val="#ppt_h"/>
                                          </p:val>
                                        </p:tav>
                                      </p:tavLst>
                                    </p:anim>
                                    <p:animEffect transition="in" filter="fade">
                                      <p:cBhvr>
                                        <p:cTn id="35" dur="500"/>
                                        <p:tgtEl>
                                          <p:spTgt spid="23"/>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 calcmode="lin" valueType="num">
                                      <p:cBhvr>
                                        <p:cTn id="38" dur="500" fill="hold"/>
                                        <p:tgtEl>
                                          <p:spTgt spid="19"/>
                                        </p:tgtEl>
                                        <p:attrNameLst>
                                          <p:attrName>ppt_w</p:attrName>
                                        </p:attrNameLst>
                                      </p:cBhvr>
                                      <p:tavLst>
                                        <p:tav tm="0">
                                          <p:val>
                                            <p:fltVal val="0"/>
                                          </p:val>
                                        </p:tav>
                                        <p:tav tm="100000">
                                          <p:val>
                                            <p:strVal val="#ppt_w"/>
                                          </p:val>
                                        </p:tav>
                                      </p:tavLst>
                                    </p:anim>
                                    <p:anim calcmode="lin" valueType="num">
                                      <p:cBhvr>
                                        <p:cTn id="39" dur="500" fill="hold"/>
                                        <p:tgtEl>
                                          <p:spTgt spid="19"/>
                                        </p:tgtEl>
                                        <p:attrNameLst>
                                          <p:attrName>ppt_h</p:attrName>
                                        </p:attrNameLst>
                                      </p:cBhvr>
                                      <p:tavLst>
                                        <p:tav tm="0">
                                          <p:val>
                                            <p:fltVal val="0"/>
                                          </p:val>
                                        </p:tav>
                                        <p:tav tm="100000">
                                          <p:val>
                                            <p:strVal val="#ppt_h"/>
                                          </p:val>
                                        </p:tav>
                                      </p:tavLst>
                                    </p:anim>
                                    <p:animEffect transition="in" filter="fade">
                                      <p:cBhvr>
                                        <p:cTn id="40" dur="500"/>
                                        <p:tgtEl>
                                          <p:spTgt spid="19"/>
                                        </p:tgtEl>
                                      </p:cBhvr>
                                    </p:animEffect>
                                  </p:childTnLst>
                                </p:cTn>
                              </p:par>
                              <p:par>
                                <p:cTn id="41" presetID="10" presetClass="entr" presetSubtype="0" fill="hold" nodeType="with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par>
                                <p:cTn id="44" presetID="10" presetClass="entr" presetSubtype="0" fill="hold" nodeType="withEffect">
                                  <p:stCondLst>
                                    <p:cond delay="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10" presetClass="entr" presetSubtype="0" fill="hold" nodeType="withEffect">
                                  <p:stCondLst>
                                    <p:cond delay="0"/>
                                  </p:stCondLst>
                                  <p:childTnLst>
                                    <p:set>
                                      <p:cBhvr>
                                        <p:cTn id="48" dur="1" fill="hold">
                                          <p:stCondLst>
                                            <p:cond delay="0"/>
                                          </p:stCondLst>
                                        </p:cTn>
                                        <p:tgtEl>
                                          <p:spTgt spid="8"/>
                                        </p:tgtEl>
                                        <p:attrNameLst>
                                          <p:attrName>style.visibility</p:attrName>
                                        </p:attrNameLst>
                                      </p:cBhvr>
                                      <p:to>
                                        <p:strVal val="visible"/>
                                      </p:to>
                                    </p:set>
                                    <p:animEffect transition="in" filter="fade">
                                      <p:cBhvr>
                                        <p:cTn id="49" dur="500"/>
                                        <p:tgtEl>
                                          <p:spTgt spid="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par>
                                <p:cTn id="53" presetID="42" presetClass="path" presetSubtype="0" decel="100000" fill="hold" grpId="1" nodeType="withEffect">
                                  <p:stCondLst>
                                    <p:cond delay="0"/>
                                  </p:stCondLst>
                                  <p:childTnLst>
                                    <p:animMotion origin="layout" path="M 0.01667 -0.00046 L 1.45833E-6 -2.96296E-6 " pathEditMode="relative" rAng="0" ptsTypes="AA">
                                      <p:cBhvr>
                                        <p:cTn id="54" dur="700" fill="hold"/>
                                        <p:tgtEl>
                                          <p:spTgt spid="20"/>
                                        </p:tgtEl>
                                        <p:attrNameLst>
                                          <p:attrName>ppt_x</p:attrName>
                                          <p:attrName>ppt_y</p:attrName>
                                        </p:attrNameLst>
                                      </p:cBhvr>
                                      <p:rCtr x="-833" y="23"/>
                                    </p:animMotion>
                                  </p:childTnLst>
                                </p:cTn>
                              </p:par>
                              <p:par>
                                <p:cTn id="55" presetID="10"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par>
                                <p:cTn id="58" presetID="42" presetClass="path" presetSubtype="0" decel="100000" fill="hold" grpId="1" nodeType="withEffect">
                                  <p:stCondLst>
                                    <p:cond delay="0"/>
                                  </p:stCondLst>
                                  <p:childTnLst>
                                    <p:animMotion origin="layout" path="M 0.01667 -0.00046 L 1.45833E-6 1.85185E-6 " pathEditMode="relative" rAng="0" ptsTypes="AA">
                                      <p:cBhvr>
                                        <p:cTn id="59" dur="700" fill="hold"/>
                                        <p:tgtEl>
                                          <p:spTgt spid="22"/>
                                        </p:tgtEl>
                                        <p:attrNameLst>
                                          <p:attrName>ppt_x</p:attrName>
                                          <p:attrName>ppt_y</p:attrName>
                                        </p:attrNameLst>
                                      </p:cBhvr>
                                      <p:rCtr x="-833" y="23"/>
                                    </p:animMotion>
                                  </p:childTnLst>
                                </p:cTn>
                              </p:par>
                              <p:par>
                                <p:cTn id="60" presetID="10" presetClass="entr" presetSubtype="0" fill="hold" grpId="0"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par>
                                <p:cTn id="63" presetID="42" presetClass="path" presetSubtype="0" decel="100000" fill="hold" grpId="1" nodeType="withEffect">
                                  <p:stCondLst>
                                    <p:cond delay="0"/>
                                  </p:stCondLst>
                                  <p:childTnLst>
                                    <p:animMotion origin="layout" path="M 0.01667 -0.00046 L 1.45833E-6 -1.85185E-6 " pathEditMode="relative" rAng="0" ptsTypes="AA">
                                      <p:cBhvr>
                                        <p:cTn id="64" dur="700" fill="hold"/>
                                        <p:tgtEl>
                                          <p:spTgt spid="24"/>
                                        </p:tgtEl>
                                        <p:attrNameLst>
                                          <p:attrName>ppt_x</p:attrName>
                                          <p:attrName>ppt_y</p:attrName>
                                        </p:attrNameLst>
                                      </p:cBhvr>
                                      <p:rCtr x="-833" y="23"/>
                                    </p:animMotion>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500"/>
                                        <p:tgtEl>
                                          <p:spTgt spid="26"/>
                                        </p:tgtEl>
                                      </p:cBhvr>
                                    </p:animEffect>
                                  </p:childTnLst>
                                </p:cTn>
                              </p:par>
                              <p:par>
                                <p:cTn id="68" presetID="42" presetClass="path" presetSubtype="0" decel="100000" fill="hold" grpId="1" nodeType="withEffect">
                                  <p:stCondLst>
                                    <p:cond delay="0"/>
                                  </p:stCondLst>
                                  <p:childTnLst>
                                    <p:animMotion origin="layout" path="M 0.01667 -0.00047 L 1.45833E-6 2.96296E-6 " pathEditMode="relative" rAng="0" ptsTypes="AA">
                                      <p:cBhvr>
                                        <p:cTn id="69" dur="700" fill="hold"/>
                                        <p:tgtEl>
                                          <p:spTgt spid="26"/>
                                        </p:tgtEl>
                                        <p:attrNameLst>
                                          <p:attrName>ppt_x</p:attrName>
                                          <p:attrName>ppt_y</p:attrName>
                                        </p:attrNameLst>
                                      </p:cBhvr>
                                      <p:rCtr x="-833"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8" grpId="0"/>
      <p:bldP spid="18" grpId="1"/>
      <p:bldP spid="19" grpId="0" animBg="1"/>
      <p:bldP spid="20" grpId="0"/>
      <p:bldP spid="20" grpId="1"/>
      <p:bldP spid="21" grpId="0" animBg="1"/>
      <p:bldP spid="22" grpId="0"/>
      <p:bldP spid="22" grpId="1"/>
      <p:bldP spid="23" grpId="0" animBg="1"/>
      <p:bldP spid="24" grpId="0"/>
      <p:bldP spid="24" grpId="1"/>
      <p:bldP spid="25" grpId="0" animBg="1"/>
      <p:bldP spid="26" grpId="0"/>
      <p:bldP spid="26"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Rounded Corners 17">
            <a:extLst>
              <a:ext uri="{FF2B5EF4-FFF2-40B4-BE49-F238E27FC236}">
                <a16:creationId xmlns:a16="http://schemas.microsoft.com/office/drawing/2014/main" id="{3057EE68-2AFB-9128-FE56-D836AFE46FA2}"/>
              </a:ext>
              <a:ext uri="{C183D7F6-B498-43B3-948B-1728B52AA6E4}">
                <adec:decorative xmlns:adec="http://schemas.microsoft.com/office/drawing/2017/decorative" val="1"/>
              </a:ext>
            </a:extLst>
          </p:cNvPr>
          <p:cNvSpPr>
            <a:spLocks/>
          </p:cNvSpPr>
          <p:nvPr/>
        </p:nvSpPr>
        <p:spPr bwMode="auto">
          <a:xfrm>
            <a:off x="588264" y="1349829"/>
            <a:ext cx="11018520" cy="4612821"/>
          </a:xfrm>
          <a:prstGeom prst="roundRect">
            <a:avLst>
              <a:gd name="adj" fmla="val 4345"/>
            </a:avLst>
          </a:prstGeom>
          <a:solidFill>
            <a:schemeClr val="bg1"/>
          </a:solidFill>
          <a:ln w="6350">
            <a:solidFill>
              <a:schemeClr val="accent1">
                <a:lumMod val="20000"/>
                <a:lumOff val="80000"/>
                <a:alpha val="50000"/>
              </a:schemeClr>
            </a:solidFill>
            <a:headEnd type="none" w="med" len="med"/>
            <a:tailEnd type="none" w="med" len="med"/>
          </a:ln>
          <a:effectLst>
            <a:outerShdw blurRad="533400" sx="124000" sy="124000" algn="ctr" rotWithShape="0">
              <a:schemeClr val="bg1">
                <a:lumMod val="85000"/>
                <a:alpha val="2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5" name="Picture 14">
            <a:extLst>
              <a:ext uri="{FF2B5EF4-FFF2-40B4-BE49-F238E27FC236}">
                <a16:creationId xmlns:a16="http://schemas.microsoft.com/office/drawing/2014/main" id="{50C58A82-A2C3-108D-EF0C-AAFB2943A44F}"/>
              </a:ext>
              <a:ext uri="{C183D7F6-B498-43B3-948B-1728B52AA6E4}">
                <adec:decorative xmlns:adec="http://schemas.microsoft.com/office/drawing/2017/decorative" val="1"/>
              </a:ext>
            </a:extLst>
          </p:cNvPr>
          <p:cNvPicPr>
            <a:picLocks noChangeAspect="1"/>
          </p:cNvPicPr>
          <p:nvPr/>
        </p:nvPicPr>
        <p:blipFill rotWithShape="1">
          <a:blip r:embed="rId3"/>
          <a:srcRect b="62160"/>
          <a:stretch/>
        </p:blipFill>
        <p:spPr>
          <a:xfrm>
            <a:off x="5415" y="4260431"/>
            <a:ext cx="12193057" cy="2597570"/>
          </a:xfrm>
          <a:custGeom>
            <a:avLst/>
            <a:gdLst>
              <a:gd name="connsiteX0" fmla="*/ 0 w 12193057"/>
              <a:gd name="connsiteY0" fmla="*/ 0 h 2597570"/>
              <a:gd name="connsiteX1" fmla="*/ 582846 w 12193057"/>
              <a:gd name="connsiteY1" fmla="*/ 0 h 2597570"/>
              <a:gd name="connsiteX2" fmla="*/ 582846 w 12193057"/>
              <a:gd name="connsiteY2" fmla="*/ 1531519 h 2597570"/>
              <a:gd name="connsiteX3" fmla="*/ 582847 w 12193057"/>
              <a:gd name="connsiteY3" fmla="*/ 1531525 h 2597570"/>
              <a:gd name="connsiteX4" fmla="*/ 582847 w 12193057"/>
              <a:gd name="connsiteY4" fmla="*/ 1548633 h 2597570"/>
              <a:gd name="connsiteX5" fmla="*/ 736433 w 12193057"/>
              <a:gd name="connsiteY5" fmla="*/ 1702219 h 2597570"/>
              <a:gd name="connsiteX6" fmla="*/ 753546 w 12193057"/>
              <a:gd name="connsiteY6" fmla="*/ 1702219 h 2597570"/>
              <a:gd name="connsiteX7" fmla="*/ 3964028 w 12193057"/>
              <a:gd name="connsiteY7" fmla="*/ 1702219 h 2597570"/>
              <a:gd name="connsiteX8" fmla="*/ 4478309 w 12193057"/>
              <a:gd name="connsiteY8" fmla="*/ 1702219 h 2597570"/>
              <a:gd name="connsiteX9" fmla="*/ 7705904 w 12193057"/>
              <a:gd name="connsiteY9" fmla="*/ 1702219 h 2597570"/>
              <a:gd name="connsiteX10" fmla="*/ 8220186 w 12193057"/>
              <a:gd name="connsiteY10" fmla="*/ 1702219 h 2597570"/>
              <a:gd name="connsiteX11" fmla="*/ 11430666 w 12193057"/>
              <a:gd name="connsiteY11" fmla="*/ 1702219 h 2597570"/>
              <a:gd name="connsiteX12" fmla="*/ 11447781 w 12193057"/>
              <a:gd name="connsiteY12" fmla="*/ 1702219 h 2597570"/>
              <a:gd name="connsiteX13" fmla="*/ 11601367 w 12193057"/>
              <a:gd name="connsiteY13" fmla="*/ 1548633 h 2597570"/>
              <a:gd name="connsiteX14" fmla="*/ 11601367 w 12193057"/>
              <a:gd name="connsiteY14" fmla="*/ 0 h 2597570"/>
              <a:gd name="connsiteX15" fmla="*/ 12193057 w 12193057"/>
              <a:gd name="connsiteY15" fmla="*/ 0 h 2597570"/>
              <a:gd name="connsiteX16" fmla="*/ 12193057 w 12193057"/>
              <a:gd name="connsiteY16" fmla="*/ 2597570 h 2597570"/>
              <a:gd name="connsiteX17" fmla="*/ 0 w 12193057"/>
              <a:gd name="connsiteY17" fmla="*/ 2597570 h 259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057" h="2597570">
                <a:moveTo>
                  <a:pt x="0" y="0"/>
                </a:moveTo>
                <a:lnTo>
                  <a:pt x="582846" y="0"/>
                </a:lnTo>
                <a:lnTo>
                  <a:pt x="582846" y="1531519"/>
                </a:lnTo>
                <a:lnTo>
                  <a:pt x="582847" y="1531525"/>
                </a:lnTo>
                <a:lnTo>
                  <a:pt x="582847" y="1548633"/>
                </a:lnTo>
                <a:cubicBezTo>
                  <a:pt x="582847" y="1633456"/>
                  <a:pt x="651610" y="1702219"/>
                  <a:pt x="736433" y="1702219"/>
                </a:cubicBezTo>
                <a:lnTo>
                  <a:pt x="753546" y="1702219"/>
                </a:lnTo>
                <a:lnTo>
                  <a:pt x="3964028" y="1702219"/>
                </a:lnTo>
                <a:lnTo>
                  <a:pt x="4478309" y="1702219"/>
                </a:lnTo>
                <a:lnTo>
                  <a:pt x="7705904" y="1702219"/>
                </a:lnTo>
                <a:lnTo>
                  <a:pt x="8220186" y="1702219"/>
                </a:lnTo>
                <a:lnTo>
                  <a:pt x="11430666" y="1702219"/>
                </a:lnTo>
                <a:lnTo>
                  <a:pt x="11447781" y="1702219"/>
                </a:lnTo>
                <a:cubicBezTo>
                  <a:pt x="11532604" y="1702219"/>
                  <a:pt x="11601367" y="1633456"/>
                  <a:pt x="11601367" y="1548633"/>
                </a:cubicBezTo>
                <a:lnTo>
                  <a:pt x="11601367" y="0"/>
                </a:lnTo>
                <a:lnTo>
                  <a:pt x="12193057" y="0"/>
                </a:lnTo>
                <a:lnTo>
                  <a:pt x="12193057" y="2597570"/>
                </a:lnTo>
                <a:lnTo>
                  <a:pt x="0" y="2597570"/>
                </a:lnTo>
                <a:close/>
              </a:path>
            </a:pathLst>
          </a:custGeom>
          <a:effectLst>
            <a:outerShdw blurRad="50800" dist="38100" dir="16200000" rotWithShape="0">
              <a:schemeClr val="bg1">
                <a:lumMod val="65000"/>
                <a:alpha val="40000"/>
              </a:schemeClr>
            </a:outerShdw>
          </a:effectLst>
        </p:spPr>
      </p:pic>
      <p:sp>
        <p:nvSpPr>
          <p:cNvPr id="13" name="Title 12">
            <a:extLst>
              <a:ext uri="{FF2B5EF4-FFF2-40B4-BE49-F238E27FC236}">
                <a16:creationId xmlns:a16="http://schemas.microsoft.com/office/drawing/2014/main" id="{07198993-8589-DD49-C28C-C2FE17A8D010}"/>
              </a:ext>
            </a:extLst>
          </p:cNvPr>
          <p:cNvSpPr>
            <a:spLocks noGrp="1"/>
          </p:cNvSpPr>
          <p:nvPr>
            <p:ph type="title"/>
          </p:nvPr>
        </p:nvSpPr>
        <p:spPr/>
        <p:txBody>
          <a:bodyPr/>
          <a:lstStyle/>
          <a:p>
            <a:r>
              <a:rPr lang="en-US" dirty="0">
                <a:solidFill>
                  <a:srgbClr val="5084D8"/>
                </a:solidFill>
              </a:rPr>
              <a:t>What leaders want from AI</a:t>
            </a:r>
          </a:p>
        </p:txBody>
      </p:sp>
      <p:grpSp>
        <p:nvGrpSpPr>
          <p:cNvPr id="16" name="Group 15" descr="A column chart that has the following data: Increasing employee productivity-31%; Helping employees with necessary, but repetitive/mundane task -29%; Increasing employee well-being - 26%; Eliminating time-spend on low-value activities - 25%; Augmenting/enhancing human capabilities - 24%; Accelerating employee pace of work - 24%; Enabling employees to access and recall organization institutional knowledge - 21%; Helping me understand if employees work is aligned to company goals - 21%; Removing the coordination challenges of hybrid work (e.g., scheduling virtual meetings) - 20%; Increasing inclusivity - 18%; Reducing headcount - 16% with an arrow pointing up, name 2X">
            <a:extLst>
              <a:ext uri="{FF2B5EF4-FFF2-40B4-BE49-F238E27FC236}">
                <a16:creationId xmlns:a16="http://schemas.microsoft.com/office/drawing/2014/main" id="{9B4CCB6C-1B07-617B-EA2A-F0A0C91176B3}"/>
              </a:ext>
            </a:extLst>
          </p:cNvPr>
          <p:cNvGrpSpPr/>
          <p:nvPr/>
        </p:nvGrpSpPr>
        <p:grpSpPr>
          <a:xfrm>
            <a:off x="610675" y="1262317"/>
            <a:ext cx="10996109" cy="4700333"/>
            <a:chOff x="488488" y="7017189"/>
            <a:chExt cx="11257310" cy="4811984"/>
          </a:xfrm>
        </p:grpSpPr>
        <p:graphicFrame>
          <p:nvGraphicFramePr>
            <p:cNvPr id="10" name="Chart 9">
              <a:extLst>
                <a:ext uri="{FF2B5EF4-FFF2-40B4-BE49-F238E27FC236}">
                  <a16:creationId xmlns:a16="http://schemas.microsoft.com/office/drawing/2014/main" id="{8BE9C4AE-A32C-AA5E-C902-63B96F453A0C}"/>
                </a:ext>
              </a:extLst>
            </p:cNvPr>
            <p:cNvGraphicFramePr/>
            <p:nvPr/>
          </p:nvGraphicFramePr>
          <p:xfrm>
            <a:off x="488488" y="7017189"/>
            <a:ext cx="11257310" cy="4811984"/>
          </p:xfrm>
          <a:graphic>
            <a:graphicData uri="http://schemas.openxmlformats.org/drawingml/2006/chart">
              <c:chart xmlns:c="http://schemas.openxmlformats.org/drawingml/2006/chart" xmlns:r="http://schemas.openxmlformats.org/officeDocument/2006/relationships" r:id="rId4"/>
            </a:graphicData>
          </a:graphic>
        </p:graphicFrame>
        <p:pic>
          <p:nvPicPr>
            <p:cNvPr id="22" name="Graphic 21">
              <a:extLst>
                <a:ext uri="{FF2B5EF4-FFF2-40B4-BE49-F238E27FC236}">
                  <a16:creationId xmlns:a16="http://schemas.microsoft.com/office/drawing/2014/main" id="{E2C8134C-CDDB-3526-5259-2C2508FD4166}"/>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68053" y="10312901"/>
              <a:ext cx="440527" cy="449338"/>
            </a:xfrm>
            <a:prstGeom prst="rect">
              <a:avLst/>
            </a:prstGeom>
          </p:spPr>
        </p:pic>
        <p:sp>
          <p:nvSpPr>
            <p:cNvPr id="32" name="TextBox 31">
              <a:extLst>
                <a:ext uri="{FF2B5EF4-FFF2-40B4-BE49-F238E27FC236}">
                  <a16:creationId xmlns:a16="http://schemas.microsoft.com/office/drawing/2014/main" id="{3BA02E9D-BE45-B47B-F7C5-F85E8868A58E}"/>
                </a:ext>
              </a:extLst>
            </p:cNvPr>
            <p:cNvSpPr txBox="1"/>
            <p:nvPr/>
          </p:nvSpPr>
          <p:spPr>
            <a:xfrm>
              <a:off x="664741" y="10895471"/>
              <a:ext cx="918135" cy="42536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Semibold"/>
                  <a:ea typeface="+mn-ea"/>
                  <a:cs typeface="+mn-cs"/>
                </a:rPr>
                <a:t>Increasing employee productivity </a:t>
              </a:r>
            </a:p>
          </p:txBody>
        </p:sp>
        <p:sp>
          <p:nvSpPr>
            <p:cNvPr id="34" name="TextBox 33">
              <a:extLst>
                <a:ext uri="{FF2B5EF4-FFF2-40B4-BE49-F238E27FC236}">
                  <a16:creationId xmlns:a16="http://schemas.microsoft.com/office/drawing/2014/main" id="{C5F48559-C7F3-78E2-E92F-6579DFE1409C}"/>
                </a:ext>
              </a:extLst>
            </p:cNvPr>
            <p:cNvSpPr txBox="1"/>
            <p:nvPr/>
          </p:nvSpPr>
          <p:spPr>
            <a:xfrm>
              <a:off x="1660900" y="10895471"/>
              <a:ext cx="918135" cy="708946"/>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tx1"/>
                  </a:solidFill>
                  <a:effectLst/>
                  <a:uLnTx/>
                  <a:uFillTx/>
                  <a:latin typeface="Segoe UI Semibold"/>
                  <a:ea typeface="+mn-ea"/>
                  <a:cs typeface="+mn-cs"/>
                </a:rPr>
                <a:t>Helping employees with necessary, but repetitive/</a:t>
              </a:r>
              <a:br>
                <a:rPr kumimoji="0" lang="en-US" sz="900" b="0" i="0" u="none" strike="noStrike" kern="1200" cap="none" spc="0" normalizeH="0" baseline="0" noProof="0" dirty="0">
                  <a:ln>
                    <a:noFill/>
                  </a:ln>
                  <a:solidFill>
                    <a:schemeClr val="tx1"/>
                  </a:solidFill>
                  <a:effectLst/>
                  <a:uLnTx/>
                  <a:uFillTx/>
                  <a:latin typeface="Segoe UI Semibold"/>
                  <a:ea typeface="+mn-ea"/>
                  <a:cs typeface="+mn-cs"/>
                </a:rPr>
              </a:br>
              <a:r>
                <a:rPr kumimoji="0" lang="en-US" sz="900" b="0" i="0" u="none" strike="noStrike" kern="1200" cap="none" spc="0" normalizeH="0" baseline="0" noProof="0" dirty="0">
                  <a:ln>
                    <a:noFill/>
                  </a:ln>
                  <a:solidFill>
                    <a:schemeClr val="tx1"/>
                  </a:solidFill>
                  <a:effectLst/>
                  <a:uLnTx/>
                  <a:uFillTx/>
                  <a:latin typeface="Segoe UI Semibold"/>
                  <a:ea typeface="+mn-ea"/>
                  <a:cs typeface="+mn-cs"/>
                </a:rPr>
                <a:t>mundane task </a:t>
              </a:r>
            </a:p>
          </p:txBody>
        </p:sp>
        <p:sp>
          <p:nvSpPr>
            <p:cNvPr id="36" name="TextBox 35">
              <a:extLst>
                <a:ext uri="{FF2B5EF4-FFF2-40B4-BE49-F238E27FC236}">
                  <a16:creationId xmlns:a16="http://schemas.microsoft.com/office/drawing/2014/main" id="{B53D28F0-68E2-2B9A-E294-E95D7577DDA1}"/>
                </a:ext>
              </a:extLst>
            </p:cNvPr>
            <p:cNvSpPr txBox="1"/>
            <p:nvPr/>
          </p:nvSpPr>
          <p:spPr>
            <a:xfrm>
              <a:off x="2657060" y="10895471"/>
              <a:ext cx="918135" cy="42536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Increasing employee </a:t>
              </a:r>
              <a:br>
                <a:rPr kumimoji="0" lang="en-US" sz="900" b="0" i="0" u="none" strike="noStrike" kern="1200" cap="none" spc="0" normalizeH="0" baseline="0" noProof="0">
                  <a:ln>
                    <a:noFill/>
                  </a:ln>
                  <a:solidFill>
                    <a:schemeClr val="tx1"/>
                  </a:solidFill>
                  <a:effectLst/>
                  <a:uLnTx/>
                  <a:uFillTx/>
                  <a:latin typeface="Segoe UI Semibold"/>
                  <a:ea typeface="+mn-ea"/>
                  <a:cs typeface="+mn-cs"/>
                </a:rPr>
              </a:br>
              <a:r>
                <a:rPr kumimoji="0" lang="en-US" sz="900" b="0" i="0" u="none" strike="noStrike" kern="1200" cap="none" spc="0" normalizeH="0" baseline="0" noProof="0">
                  <a:ln>
                    <a:noFill/>
                  </a:ln>
                  <a:solidFill>
                    <a:schemeClr val="tx1"/>
                  </a:solidFill>
                  <a:effectLst/>
                  <a:uLnTx/>
                  <a:uFillTx/>
                  <a:latin typeface="Segoe UI Semibold"/>
                  <a:ea typeface="+mn-ea"/>
                  <a:cs typeface="+mn-cs"/>
                </a:rPr>
                <a:t>well-being </a:t>
              </a:r>
            </a:p>
          </p:txBody>
        </p:sp>
        <p:sp>
          <p:nvSpPr>
            <p:cNvPr id="38" name="TextBox 37">
              <a:extLst>
                <a:ext uri="{FF2B5EF4-FFF2-40B4-BE49-F238E27FC236}">
                  <a16:creationId xmlns:a16="http://schemas.microsoft.com/office/drawing/2014/main" id="{D3B746A2-F671-623E-EFC4-6CC3BEF8C1EF}"/>
                </a:ext>
              </a:extLst>
            </p:cNvPr>
            <p:cNvSpPr txBox="1"/>
            <p:nvPr/>
          </p:nvSpPr>
          <p:spPr>
            <a:xfrm>
              <a:off x="3693668" y="10895471"/>
              <a:ext cx="837240" cy="56715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Eliminating time-spend on low-value activities </a:t>
              </a:r>
            </a:p>
          </p:txBody>
        </p:sp>
        <p:sp>
          <p:nvSpPr>
            <p:cNvPr id="40" name="TextBox 39">
              <a:extLst>
                <a:ext uri="{FF2B5EF4-FFF2-40B4-BE49-F238E27FC236}">
                  <a16:creationId xmlns:a16="http://schemas.microsoft.com/office/drawing/2014/main" id="{9FCB8D98-9FD0-34E5-42B0-9D403C797047}"/>
                </a:ext>
              </a:extLst>
            </p:cNvPr>
            <p:cNvSpPr txBox="1"/>
            <p:nvPr/>
          </p:nvSpPr>
          <p:spPr>
            <a:xfrm>
              <a:off x="4649380" y="10895471"/>
              <a:ext cx="918135" cy="56715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Augmenting/</a:t>
              </a:r>
              <a:br>
                <a:rPr kumimoji="0" lang="en-US" sz="900" b="0" i="0" u="none" strike="noStrike" kern="1200" cap="none" spc="0" normalizeH="0" baseline="0" noProof="0">
                  <a:ln>
                    <a:noFill/>
                  </a:ln>
                  <a:solidFill>
                    <a:schemeClr val="tx1"/>
                  </a:solidFill>
                  <a:effectLst/>
                  <a:uLnTx/>
                  <a:uFillTx/>
                  <a:latin typeface="Segoe UI Semibold"/>
                  <a:ea typeface="+mn-ea"/>
                  <a:cs typeface="+mn-cs"/>
                </a:rPr>
              </a:br>
              <a:r>
                <a:rPr kumimoji="0" lang="en-US" sz="900" b="0" i="0" u="none" strike="noStrike" kern="1200" cap="none" spc="0" normalizeH="0" baseline="0" noProof="0">
                  <a:ln>
                    <a:noFill/>
                  </a:ln>
                  <a:solidFill>
                    <a:schemeClr val="tx1"/>
                  </a:solidFill>
                  <a:effectLst/>
                  <a:uLnTx/>
                  <a:uFillTx/>
                  <a:latin typeface="Segoe UI Semibold"/>
                  <a:ea typeface="+mn-ea"/>
                  <a:cs typeface="+mn-cs"/>
                </a:rPr>
                <a:t>enhancing human capabilities </a:t>
              </a:r>
            </a:p>
          </p:txBody>
        </p:sp>
        <p:sp>
          <p:nvSpPr>
            <p:cNvPr id="42" name="TextBox 41">
              <a:extLst>
                <a:ext uri="{FF2B5EF4-FFF2-40B4-BE49-F238E27FC236}">
                  <a16:creationId xmlns:a16="http://schemas.microsoft.com/office/drawing/2014/main" id="{05555D11-AA84-318D-CCE2-FF4FD58521CD}"/>
                </a:ext>
              </a:extLst>
            </p:cNvPr>
            <p:cNvSpPr txBox="1"/>
            <p:nvPr/>
          </p:nvSpPr>
          <p:spPr>
            <a:xfrm>
              <a:off x="5645540" y="10895471"/>
              <a:ext cx="918135" cy="425368"/>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Accelerating employee pace </a:t>
              </a:r>
              <a:br>
                <a:rPr kumimoji="0" lang="en-US" sz="900" b="0" i="0" u="none" strike="noStrike" kern="1200" cap="none" spc="0" normalizeH="0" baseline="0" noProof="0">
                  <a:ln>
                    <a:noFill/>
                  </a:ln>
                  <a:solidFill>
                    <a:schemeClr val="tx1"/>
                  </a:solidFill>
                  <a:effectLst/>
                  <a:uLnTx/>
                  <a:uFillTx/>
                  <a:latin typeface="Segoe UI Semibold"/>
                  <a:ea typeface="+mn-ea"/>
                  <a:cs typeface="+mn-cs"/>
                </a:rPr>
              </a:br>
              <a:r>
                <a:rPr kumimoji="0" lang="en-US" sz="900" b="0" i="0" u="none" strike="noStrike" kern="1200" cap="none" spc="0" normalizeH="0" baseline="0" noProof="0">
                  <a:ln>
                    <a:noFill/>
                  </a:ln>
                  <a:solidFill>
                    <a:schemeClr val="tx1"/>
                  </a:solidFill>
                  <a:effectLst/>
                  <a:uLnTx/>
                  <a:uFillTx/>
                  <a:latin typeface="Segoe UI Semibold"/>
                  <a:ea typeface="+mn-ea"/>
                  <a:cs typeface="+mn-cs"/>
                </a:rPr>
                <a:t>of work </a:t>
              </a:r>
            </a:p>
          </p:txBody>
        </p:sp>
        <p:sp>
          <p:nvSpPr>
            <p:cNvPr id="44" name="TextBox 43">
              <a:extLst>
                <a:ext uri="{FF2B5EF4-FFF2-40B4-BE49-F238E27FC236}">
                  <a16:creationId xmlns:a16="http://schemas.microsoft.com/office/drawing/2014/main" id="{B0CB0BA8-9053-BE44-6CD7-757EBEE2A384}"/>
                </a:ext>
              </a:extLst>
            </p:cNvPr>
            <p:cNvSpPr txBox="1"/>
            <p:nvPr/>
          </p:nvSpPr>
          <p:spPr>
            <a:xfrm>
              <a:off x="6641701" y="10895471"/>
              <a:ext cx="918135" cy="850736"/>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Enabling employees to access and recall organization institutional knowledge </a:t>
              </a:r>
            </a:p>
          </p:txBody>
        </p:sp>
        <p:sp>
          <p:nvSpPr>
            <p:cNvPr id="46" name="TextBox 45">
              <a:extLst>
                <a:ext uri="{FF2B5EF4-FFF2-40B4-BE49-F238E27FC236}">
                  <a16:creationId xmlns:a16="http://schemas.microsoft.com/office/drawing/2014/main" id="{E441DE43-D224-072E-16BA-ED56B3651EC2}"/>
                </a:ext>
              </a:extLst>
            </p:cNvPr>
            <p:cNvSpPr txBox="1"/>
            <p:nvPr/>
          </p:nvSpPr>
          <p:spPr>
            <a:xfrm>
              <a:off x="7637860" y="10895471"/>
              <a:ext cx="918135" cy="708946"/>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Helping me understand if employees work is aligned to company goals </a:t>
              </a:r>
            </a:p>
          </p:txBody>
        </p:sp>
        <p:sp>
          <p:nvSpPr>
            <p:cNvPr id="48" name="TextBox 47">
              <a:extLst>
                <a:ext uri="{FF2B5EF4-FFF2-40B4-BE49-F238E27FC236}">
                  <a16:creationId xmlns:a16="http://schemas.microsoft.com/office/drawing/2014/main" id="{0F7EA5E8-24A1-E0D2-508B-5CCF3C7F684D}"/>
                </a:ext>
              </a:extLst>
            </p:cNvPr>
            <p:cNvSpPr txBox="1"/>
            <p:nvPr/>
          </p:nvSpPr>
          <p:spPr>
            <a:xfrm>
              <a:off x="8634020" y="10895472"/>
              <a:ext cx="918135" cy="850736"/>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Removing the coordination challenges of hybrid work (e.g., scheduling virtual meetings) </a:t>
              </a:r>
            </a:p>
          </p:txBody>
        </p:sp>
        <p:sp>
          <p:nvSpPr>
            <p:cNvPr id="50" name="TextBox 49">
              <a:extLst>
                <a:ext uri="{FF2B5EF4-FFF2-40B4-BE49-F238E27FC236}">
                  <a16:creationId xmlns:a16="http://schemas.microsoft.com/office/drawing/2014/main" id="{D5205452-8ED8-3ABF-77EE-A6699ACC8F3D}"/>
                </a:ext>
              </a:extLst>
            </p:cNvPr>
            <p:cNvSpPr txBox="1"/>
            <p:nvPr/>
          </p:nvSpPr>
          <p:spPr>
            <a:xfrm>
              <a:off x="9630178" y="10895475"/>
              <a:ext cx="918135" cy="283579"/>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Increasing inclusivity </a:t>
              </a:r>
            </a:p>
          </p:txBody>
        </p:sp>
        <p:cxnSp>
          <p:nvCxnSpPr>
            <p:cNvPr id="51" name="Straight Connector 50">
              <a:extLst>
                <a:ext uri="{FF2B5EF4-FFF2-40B4-BE49-F238E27FC236}">
                  <a16:creationId xmlns:a16="http://schemas.microsoft.com/office/drawing/2014/main" id="{EF5E4D03-FA0A-96D3-8F54-0F4CDCB2A17A}"/>
                </a:ext>
              </a:extLst>
            </p:cNvPr>
            <p:cNvCxnSpPr>
              <a:cxnSpLocks/>
            </p:cNvCxnSpPr>
            <p:nvPr/>
          </p:nvCxnSpPr>
          <p:spPr>
            <a:xfrm>
              <a:off x="617266" y="10827181"/>
              <a:ext cx="10957469" cy="0"/>
            </a:xfrm>
            <a:prstGeom prst="line">
              <a:avLst/>
            </a:prstGeom>
            <a:ln w="952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F955584-D652-9D06-B1C2-DCFDF90705E4}"/>
                </a:ext>
              </a:extLst>
            </p:cNvPr>
            <p:cNvSpPr txBox="1"/>
            <p:nvPr/>
          </p:nvSpPr>
          <p:spPr>
            <a:xfrm>
              <a:off x="10648453" y="10895475"/>
              <a:ext cx="918135" cy="283579"/>
            </a:xfrm>
            <a:prstGeom prst="rect">
              <a:avLst/>
            </a:prstGeom>
            <a:noFill/>
          </p:spPr>
          <p:txBody>
            <a:bodyPr wrap="square" lIns="0" tIns="0" rIns="0" bIns="0">
              <a:spAutoFit/>
            </a:bodyPr>
            <a:lstStyle>
              <a:defPPr>
                <a:defRPr lang="en-US"/>
              </a:defPPr>
              <a:lvl1pPr algn="ctr">
                <a:defRPr sz="1400" b="0" i="0" u="none" strike="noStrike">
                  <a:solidFill>
                    <a:srgbClr val="000000"/>
                  </a:solidFill>
                  <a:effectLst/>
                  <a:latin typeface="+mj-lt"/>
                </a:defRPr>
              </a:lvl1p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chemeClr val="tx1"/>
                  </a:solidFill>
                  <a:effectLst/>
                  <a:uLnTx/>
                  <a:uFillTx/>
                  <a:latin typeface="Segoe UI Semibold"/>
                  <a:ea typeface="+mn-ea"/>
                  <a:cs typeface="+mn-cs"/>
                </a:rPr>
                <a:t>Reducing</a:t>
              </a:r>
              <a:br>
                <a:rPr kumimoji="0" lang="en-US" sz="900" b="0" i="0" u="none" strike="noStrike" kern="1200" cap="none" spc="0" normalizeH="0" baseline="0" noProof="0">
                  <a:ln>
                    <a:noFill/>
                  </a:ln>
                  <a:solidFill>
                    <a:schemeClr val="tx1"/>
                  </a:solidFill>
                  <a:effectLst/>
                  <a:uLnTx/>
                  <a:uFillTx/>
                  <a:latin typeface="Segoe UI Semibold"/>
                  <a:ea typeface="+mn-ea"/>
                  <a:cs typeface="+mn-cs"/>
                </a:rPr>
              </a:br>
              <a:r>
                <a:rPr kumimoji="0" lang="en-US" sz="900" b="0" i="0" u="none" strike="noStrike" kern="1200" cap="none" spc="0" normalizeH="0" baseline="0" noProof="0">
                  <a:ln>
                    <a:noFill/>
                  </a:ln>
                  <a:solidFill>
                    <a:schemeClr val="tx1"/>
                  </a:solidFill>
                  <a:effectLst/>
                  <a:uLnTx/>
                  <a:uFillTx/>
                  <a:latin typeface="Segoe UI Semibold"/>
                  <a:ea typeface="+mn-ea"/>
                  <a:cs typeface="+mn-cs"/>
                </a:rPr>
                <a:t>headcount</a:t>
              </a:r>
            </a:p>
          </p:txBody>
        </p:sp>
        <p:pic>
          <p:nvPicPr>
            <p:cNvPr id="19" name="Graphic 18">
              <a:extLst>
                <a:ext uri="{FF2B5EF4-FFF2-40B4-BE49-F238E27FC236}">
                  <a16:creationId xmlns:a16="http://schemas.microsoft.com/office/drawing/2014/main" id="{76F2369A-0298-8CC5-4FE1-0033CE7DD533}"/>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0925695" y="10366238"/>
              <a:ext cx="338443" cy="374448"/>
            </a:xfrm>
            <a:prstGeom prst="rect">
              <a:avLst/>
            </a:prstGeom>
          </p:spPr>
        </p:pic>
        <p:cxnSp>
          <p:nvCxnSpPr>
            <p:cNvPr id="6" name="Straight Arrow Connector 5">
              <a:extLst>
                <a:ext uri="{FF2B5EF4-FFF2-40B4-BE49-F238E27FC236}">
                  <a16:creationId xmlns:a16="http://schemas.microsoft.com/office/drawing/2014/main" id="{DCBBC231-3D26-A4F3-1389-D5320790E0F4}"/>
                </a:ext>
              </a:extLst>
            </p:cNvPr>
            <p:cNvCxnSpPr>
              <a:cxnSpLocks/>
            </p:cNvCxnSpPr>
            <p:nvPr/>
          </p:nvCxnSpPr>
          <p:spPr>
            <a:xfrm flipV="1">
              <a:off x="10982828" y="7619023"/>
              <a:ext cx="0" cy="1130530"/>
            </a:xfrm>
            <a:prstGeom prst="straightConnector1">
              <a:avLst/>
            </a:prstGeom>
            <a:ln w="25400" cap="rnd">
              <a:solidFill>
                <a:schemeClr val="accent1"/>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6D893A2-C788-C760-2E6F-E08A9FA15FFC}"/>
                </a:ext>
              </a:extLst>
            </p:cNvPr>
            <p:cNvSpPr txBox="1"/>
            <p:nvPr/>
          </p:nvSpPr>
          <p:spPr>
            <a:xfrm>
              <a:off x="11094917" y="8069070"/>
              <a:ext cx="295396" cy="315088"/>
            </a:xfrm>
            <a:prstGeom prst="rect">
              <a:avLst/>
            </a:prstGeom>
            <a:noFill/>
          </p:spPr>
          <p:txBody>
            <a:bodyPr wrap="non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srgbClr val="0078D4"/>
                  </a:solidFill>
                  <a:effectLst/>
                  <a:uLnTx/>
                  <a:uFillTx/>
                  <a:latin typeface="Segoe UI Semibold"/>
                  <a:ea typeface="+mj-lt"/>
                  <a:cs typeface="Segoe UI" pitchFamily="34" charset="0"/>
                </a:rPr>
                <a:t>2X</a:t>
              </a:r>
            </a:p>
          </p:txBody>
        </p:sp>
      </p:grpSp>
    </p:spTree>
    <p:extLst>
      <p:ext uri="{BB962C8B-B14F-4D97-AF65-F5344CB8AC3E}">
        <p14:creationId xmlns:p14="http://schemas.microsoft.com/office/powerpoint/2010/main" val="5651581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nodeType="withEffect">
                                  <p:stCondLst>
                                    <p:cond delay="300"/>
                                  </p:stCondLst>
                                  <p:childTnLst>
                                    <p:animMotion origin="layout" path="M 0 -1.48148E-6 L 0 0.03542 " pathEditMode="relative" rAng="0" ptsTypes="AA">
                                      <p:cBhvr>
                                        <p:cTn id="9" dur="700" spd="-100000" fill="hold"/>
                                        <p:tgtEl>
                                          <p:spTgt spid="1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42" presetClass="path" presetSubtype="0" decel="100000" fill="hold" grpId="1" nodeType="withEffect">
                                  <p:stCondLst>
                                    <p:cond delay="0"/>
                                  </p:stCondLst>
                                  <p:childTnLst>
                                    <p:animMotion origin="layout" path="M -2.08333E-7 -4.07407E-6 L -2.08333E-7 -0.0331 " pathEditMode="relative" rAng="0" ptsTypes="AA">
                                      <p:cBhvr>
                                        <p:cTn id="14" dur="700" spd="-100000" fill="hold"/>
                                        <p:tgtEl>
                                          <p:spTgt spid="13"/>
                                        </p:tgtEl>
                                        <p:attrNameLst>
                                          <p:attrName>ppt_x</p:attrName>
                                          <p:attrName>ppt_y</p:attrName>
                                        </p:attrNameLst>
                                      </p:cBhvr>
                                      <p:rCtr x="0" y="-166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F7156561-F759-7CAD-E1E4-FCCFAACE27FE}"/>
              </a:ext>
            </a:extLst>
          </p:cNvPr>
          <p:cNvSpPr txBox="1"/>
          <p:nvPr/>
        </p:nvSpPr>
        <p:spPr>
          <a:xfrm>
            <a:off x="6206293" y="2152364"/>
            <a:ext cx="4623253"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Data is stored encrypted in </a:t>
            </a:r>
            <a:r>
              <a:rPr kumimoji="0" lang="en-US" sz="1600" b="0" i="0" u="none" strike="noStrike" kern="1200" cap="none" spc="0" normalizeH="0" baseline="0" noProof="0">
                <a:ln>
                  <a:noFill/>
                </a:ln>
                <a:solidFill>
                  <a:schemeClr val="accent2">
                    <a:lumMod val="60000"/>
                    <a:lumOff val="40000"/>
                  </a:schemeClr>
                </a:solidFill>
                <a:effectLst/>
                <a:uLnTx/>
                <a:uFillTx/>
                <a:latin typeface="Segoe UI"/>
                <a:ea typeface="+mn-ea"/>
                <a:cs typeface="+mn-cs"/>
              </a:rPr>
              <a:t>your Azure subscription</a:t>
            </a:r>
          </a:p>
        </p:txBody>
      </p:sp>
      <p:sp>
        <p:nvSpPr>
          <p:cNvPr id="5" name="TextBox 4">
            <a:extLst>
              <a:ext uri="{FF2B5EF4-FFF2-40B4-BE49-F238E27FC236}">
                <a16:creationId xmlns:a16="http://schemas.microsoft.com/office/drawing/2014/main" id="{383354BE-7B1F-444D-2557-2BA6244369A3}"/>
              </a:ext>
            </a:extLst>
          </p:cNvPr>
          <p:cNvSpPr txBox="1"/>
          <p:nvPr/>
        </p:nvSpPr>
        <p:spPr>
          <a:xfrm>
            <a:off x="6206293" y="2801247"/>
            <a:ext cx="531611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Azure OpenAI provisioned inside </a:t>
            </a:r>
            <a:r>
              <a:rPr kumimoji="0" lang="en-US" sz="1600" b="0" i="0" u="none" strike="noStrike" kern="1200" cap="none" spc="0" normalizeH="0" baseline="0" noProof="0">
                <a:ln>
                  <a:noFill/>
                </a:ln>
                <a:solidFill>
                  <a:schemeClr val="accent2">
                    <a:lumMod val="60000"/>
                    <a:lumOff val="40000"/>
                  </a:schemeClr>
                </a:solidFill>
                <a:effectLst/>
                <a:uLnTx/>
                <a:uFillTx/>
                <a:latin typeface="Segoe UI"/>
                <a:ea typeface="+mn-ea"/>
                <a:cs typeface="+mn-cs"/>
              </a:rPr>
              <a:t>your Azure subscription</a:t>
            </a:r>
          </a:p>
        </p:txBody>
      </p:sp>
      <p:sp>
        <p:nvSpPr>
          <p:cNvPr id="9" name="TextBox 8">
            <a:extLst>
              <a:ext uri="{FF2B5EF4-FFF2-40B4-BE49-F238E27FC236}">
                <a16:creationId xmlns:a16="http://schemas.microsoft.com/office/drawing/2014/main" id="{06EB5848-927E-C9D3-5508-06634F86DADF}"/>
              </a:ext>
            </a:extLst>
          </p:cNvPr>
          <p:cNvSpPr txBox="1"/>
          <p:nvPr/>
        </p:nvSpPr>
        <p:spPr>
          <a:xfrm>
            <a:off x="6206293" y="3248799"/>
            <a:ext cx="531611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Inference metadata never leaves </a:t>
            </a:r>
            <a:r>
              <a:rPr kumimoji="0" lang="en-US" sz="1600" b="0" i="0" u="none" strike="noStrike" kern="1200" cap="none" spc="0" normalizeH="0" baseline="0" noProof="0">
                <a:ln>
                  <a:noFill/>
                </a:ln>
                <a:solidFill>
                  <a:schemeClr val="accent2">
                    <a:lumMod val="60000"/>
                    <a:lumOff val="40000"/>
                  </a:schemeClr>
                </a:solidFill>
                <a:effectLst/>
                <a:uLnTx/>
                <a:uFillTx/>
                <a:latin typeface="Segoe UI"/>
                <a:ea typeface="+mn-ea"/>
                <a:cs typeface="+mn-cs"/>
              </a:rPr>
              <a:t>your Azure subscription</a:t>
            </a:r>
          </a:p>
        </p:txBody>
      </p:sp>
      <p:sp>
        <p:nvSpPr>
          <p:cNvPr id="10" name="TextBox 9">
            <a:extLst>
              <a:ext uri="{FF2B5EF4-FFF2-40B4-BE49-F238E27FC236}">
                <a16:creationId xmlns:a16="http://schemas.microsoft.com/office/drawing/2014/main" id="{E435AC0C-1A6A-CC17-CE1B-F57E02D8CC29}"/>
              </a:ext>
            </a:extLst>
          </p:cNvPr>
          <p:cNvSpPr txBox="1"/>
          <p:nvPr/>
        </p:nvSpPr>
        <p:spPr>
          <a:xfrm>
            <a:off x="6206293" y="3696351"/>
            <a:ext cx="4843803"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Model fine tuning stays in </a:t>
            </a:r>
            <a:r>
              <a:rPr kumimoji="0" lang="en-US" sz="1600" b="0" i="0" u="none" strike="noStrike" kern="1200" cap="none" spc="0" normalizeH="0" baseline="0" noProof="0">
                <a:ln>
                  <a:noFill/>
                </a:ln>
                <a:solidFill>
                  <a:schemeClr val="accent2">
                    <a:lumMod val="60000"/>
                    <a:lumOff val="40000"/>
                  </a:schemeClr>
                </a:solidFill>
                <a:effectLst/>
                <a:uLnTx/>
                <a:uFillTx/>
                <a:latin typeface="Segoe UI"/>
                <a:ea typeface="+mn-ea"/>
                <a:cs typeface="+mn-cs"/>
              </a:rPr>
              <a:t>your Azure subscription </a:t>
            </a: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and never moves into the foundational AI models </a:t>
            </a:r>
          </a:p>
        </p:txBody>
      </p:sp>
      <p:cxnSp>
        <p:nvCxnSpPr>
          <p:cNvPr id="16" name="Straight Connector 15">
            <a:extLst>
              <a:ext uri="{FF2B5EF4-FFF2-40B4-BE49-F238E27FC236}">
                <a16:creationId xmlns:a16="http://schemas.microsoft.com/office/drawing/2014/main" id="{E292EAF4-DCFC-7873-C8E6-C48FB93C8C12}"/>
              </a:ext>
            </a:extLst>
          </p:cNvPr>
          <p:cNvCxnSpPr>
            <a:cxnSpLocks/>
          </p:cNvCxnSpPr>
          <p:nvPr/>
        </p:nvCxnSpPr>
        <p:spPr>
          <a:xfrm>
            <a:off x="637360" y="2599916"/>
            <a:ext cx="10807564" cy="0"/>
          </a:xfrm>
          <a:prstGeom prst="line">
            <a:avLst/>
          </a:prstGeom>
          <a:ln>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D67B700-D2B3-B24F-6CC3-1625CE70719C}"/>
              </a:ext>
            </a:extLst>
          </p:cNvPr>
          <p:cNvCxnSpPr>
            <a:cxnSpLocks/>
          </p:cNvCxnSpPr>
          <p:nvPr/>
        </p:nvCxnSpPr>
        <p:spPr>
          <a:xfrm>
            <a:off x="637360" y="4390125"/>
            <a:ext cx="10807564" cy="0"/>
          </a:xfrm>
          <a:prstGeom prst="line">
            <a:avLst/>
          </a:prstGeom>
          <a:ln>
            <a:solidFill>
              <a:schemeClr val="bg1">
                <a:lumMod val="65000"/>
                <a:lumOff val="3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AB432F3-B845-C79B-739D-37F74439C0DF}"/>
              </a:ext>
            </a:extLst>
          </p:cNvPr>
          <p:cNvSpPr txBox="1"/>
          <p:nvPr/>
        </p:nvSpPr>
        <p:spPr>
          <a:xfrm>
            <a:off x="6206293" y="5039008"/>
            <a:ext cx="5016994" cy="22383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Private Virtual Networks, Role Based Access Control</a:t>
            </a:r>
          </a:p>
        </p:txBody>
      </p:sp>
      <p:sp>
        <p:nvSpPr>
          <p:cNvPr id="20" name="TextBox 19">
            <a:extLst>
              <a:ext uri="{FF2B5EF4-FFF2-40B4-BE49-F238E27FC236}">
                <a16:creationId xmlns:a16="http://schemas.microsoft.com/office/drawing/2014/main" id="{B29DA627-6D32-049F-BF7C-DC1CA5D597B1}"/>
              </a:ext>
            </a:extLst>
          </p:cNvPr>
          <p:cNvSpPr txBox="1"/>
          <p:nvPr/>
        </p:nvSpPr>
        <p:spPr>
          <a:xfrm>
            <a:off x="6206293" y="4636723"/>
            <a:ext cx="5057561" cy="246221"/>
          </a:xfrm>
          <a:prstGeom prst="rect">
            <a:avLst/>
          </a:prstGeom>
          <a:noFill/>
        </p:spPr>
        <p:txBody>
          <a:bodyPr wrap="square" lIns="0" tIns="0" rIns="0" bIns="0" rtlCol="0" anchor="t">
            <a:spAutoFit/>
          </a:bodyPr>
          <a:lstStyle/>
          <a:p>
            <a:pPr>
              <a:defRPr/>
            </a:pPr>
            <a:r>
              <a:rPr lang="en-US" sz="1600">
                <a:gradFill>
                  <a:gsLst>
                    <a:gs pos="0">
                      <a:srgbClr val="FFFFFF"/>
                    </a:gs>
                    <a:gs pos="100000">
                      <a:srgbClr val="FFFFFF"/>
                    </a:gs>
                  </a:gsLst>
                  <a:lin ang="2700000" scaled="1"/>
                </a:gradFill>
                <a:latin typeface="Segoe UI"/>
                <a:cs typeface="Segoe UI"/>
              </a:rPr>
              <a:t>Encrypted with Customer Managed Keys </a:t>
            </a:r>
            <a:endParaRPr lang="en-US"/>
          </a:p>
        </p:txBody>
      </p:sp>
      <p:sp>
        <p:nvSpPr>
          <p:cNvPr id="21" name="TextBox 20">
            <a:extLst>
              <a:ext uri="{FF2B5EF4-FFF2-40B4-BE49-F238E27FC236}">
                <a16:creationId xmlns:a16="http://schemas.microsoft.com/office/drawing/2014/main" id="{5A61C9E8-8375-8793-F3AA-09D6944CB448}"/>
              </a:ext>
            </a:extLst>
          </p:cNvPr>
          <p:cNvSpPr txBox="1"/>
          <p:nvPr/>
        </p:nvSpPr>
        <p:spPr>
          <a:xfrm>
            <a:off x="6206293" y="5464174"/>
            <a:ext cx="505756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gradFill>
                  <a:gsLst>
                    <a:gs pos="0">
                      <a:srgbClr val="FFFFFF"/>
                    </a:gs>
                    <a:gs pos="100000">
                      <a:srgbClr val="FFFFFF"/>
                    </a:gs>
                  </a:gsLst>
                  <a:lin ang="2700000" scaled="1"/>
                </a:gradFill>
                <a:effectLst/>
                <a:uLnTx/>
                <a:uFillTx/>
                <a:latin typeface="Segoe UI"/>
                <a:ea typeface="+mn-ea"/>
                <a:cs typeface="+mn-cs"/>
              </a:rPr>
              <a:t>Soc2, ISO, HIPAA, CSA STAR Compliant</a:t>
            </a:r>
          </a:p>
        </p:txBody>
      </p:sp>
      <p:sp>
        <p:nvSpPr>
          <p:cNvPr id="6" name="TextBox 5">
            <a:extLst>
              <a:ext uri="{FF2B5EF4-FFF2-40B4-BE49-F238E27FC236}">
                <a16:creationId xmlns:a16="http://schemas.microsoft.com/office/drawing/2014/main" id="{28ADB20E-5087-0FFF-CEC2-7EFAEB7CCD42}"/>
              </a:ext>
            </a:extLst>
          </p:cNvPr>
          <p:cNvSpPr txBox="1"/>
          <p:nvPr/>
        </p:nvSpPr>
        <p:spPr>
          <a:xfrm>
            <a:off x="671664" y="2090791"/>
            <a:ext cx="3490434" cy="369332"/>
          </a:xfrm>
          <a:prstGeom prst="rect">
            <a:avLst/>
          </a:prstGeom>
          <a:noFill/>
        </p:spPr>
        <p:txBody>
          <a:bodyPr wrap="square" lIns="0" tIns="0" rIns="0" bIns="0" rtlCol="0">
            <a:spAutoFit/>
          </a:bodyPr>
          <a:lstStyle>
            <a:defPPr>
              <a:defRPr lang="en-US"/>
            </a:defPPr>
            <a:lvl1pPr>
              <a:defRPr sz="2400" spc="-50">
                <a:ln w="3175">
                  <a:noFill/>
                </a:ln>
                <a:gradFill>
                  <a:gsLst>
                    <a:gs pos="0">
                      <a:srgbClr val="FFFFFF"/>
                    </a:gs>
                    <a:gs pos="100000">
                      <a:srgbClr val="FFFFFF"/>
                    </a:gs>
                  </a:gsLst>
                  <a:lin ang="5400000" scaled="1"/>
                </a:gradFill>
                <a:latin typeface="+mj-lt"/>
                <a:ea typeface="+mj-lt"/>
                <a:cs typeface="Segoe UI Semibold"/>
              </a:defRPr>
            </a:lvl1p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cs typeface="Segoe UI Semibold"/>
              </a:rPr>
              <a:t>Your data is </a:t>
            </a:r>
            <a:r>
              <a:rPr kumimoji="0" lang="en-US" sz="2400" b="0" i="0" u="none" strike="noStrike" kern="1200" cap="none" spc="-50" normalizeH="0" baseline="0" noProof="0">
                <a:ln w="3175">
                  <a:noFill/>
                </a:ln>
                <a:solidFill>
                  <a:schemeClr val="accent2">
                    <a:lumMod val="60000"/>
                    <a:lumOff val="40000"/>
                  </a:schemeClr>
                </a:solidFill>
                <a:effectLst/>
                <a:uLnTx/>
                <a:uFillTx/>
                <a:latin typeface="Segoe UI Semibold"/>
                <a:cs typeface="Segoe UI Semibold"/>
              </a:rPr>
              <a:t>your</a:t>
            </a: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cs typeface="Segoe UI Semibold"/>
              </a:rPr>
              <a:t> data</a:t>
            </a:r>
          </a:p>
        </p:txBody>
      </p:sp>
      <p:cxnSp>
        <p:nvCxnSpPr>
          <p:cNvPr id="11" name="Straight Connector 10">
            <a:extLst>
              <a:ext uri="{FF2B5EF4-FFF2-40B4-BE49-F238E27FC236}">
                <a16:creationId xmlns:a16="http://schemas.microsoft.com/office/drawing/2014/main" id="{536D6352-143D-C428-E027-9C85596CD126}"/>
              </a:ext>
            </a:extLst>
          </p:cNvPr>
          <p:cNvCxnSpPr>
            <a:cxnSpLocks/>
          </p:cNvCxnSpPr>
          <p:nvPr/>
        </p:nvCxnSpPr>
        <p:spPr>
          <a:xfrm>
            <a:off x="2384153" y="2435710"/>
            <a:ext cx="505824" cy="0"/>
          </a:xfrm>
          <a:prstGeom prst="line">
            <a:avLst/>
          </a:prstGeom>
          <a:ln w="19050" cap="rnd">
            <a:solidFill>
              <a:schemeClr val="accent2">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7A98CBE-AD9E-FE6D-F929-E4543BD63E7D}"/>
              </a:ext>
            </a:extLst>
          </p:cNvPr>
          <p:cNvCxnSpPr>
            <a:cxnSpLocks/>
          </p:cNvCxnSpPr>
          <p:nvPr/>
        </p:nvCxnSpPr>
        <p:spPr>
          <a:xfrm>
            <a:off x="2315775" y="3429857"/>
            <a:ext cx="432079" cy="0"/>
          </a:xfrm>
          <a:prstGeom prst="line">
            <a:avLst/>
          </a:prstGeom>
          <a:ln w="19050" cap="rnd">
            <a:solidFill>
              <a:schemeClr val="accent2">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439D523-051E-4312-4BF3-22D7E1B9D8C8}"/>
              </a:ext>
            </a:extLst>
          </p:cNvPr>
          <p:cNvSpPr txBox="1"/>
          <p:nvPr/>
        </p:nvSpPr>
        <p:spPr>
          <a:xfrm>
            <a:off x="671663" y="3041554"/>
            <a:ext cx="4268267" cy="830997"/>
          </a:xfrm>
          <a:prstGeom prst="rect">
            <a:avLst/>
          </a:prstGeom>
          <a:noFill/>
        </p:spPr>
        <p:txBody>
          <a:bodyPr wrap="square" lIns="0" tIns="45720" rIns="91440" bIns="45720" anchor="t">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t>Your data is </a:t>
            </a:r>
            <a:r>
              <a:rPr kumimoji="0" lang="en-US" sz="2400" b="0" i="0" u="none" strike="noStrike" kern="1200" cap="none" spc="-50" normalizeH="0" baseline="0" noProof="0">
                <a:ln w="3175">
                  <a:noFill/>
                </a:ln>
                <a:solidFill>
                  <a:schemeClr val="accent2">
                    <a:lumMod val="60000"/>
                    <a:lumOff val="40000"/>
                  </a:schemeClr>
                </a:solidFill>
                <a:effectLst/>
                <a:uLnTx/>
                <a:uFillTx/>
                <a:latin typeface="Segoe UI Semibold"/>
                <a:ea typeface="+mj-lt"/>
                <a:cs typeface="Segoe UI Semibold"/>
              </a:rPr>
              <a:t>not</a:t>
            </a:r>
            <a:r>
              <a:rPr kumimoji="0" lang="en-US" sz="18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n-ea"/>
                <a:cs typeface="Segoe UI Semibold"/>
              </a:rPr>
              <a:t> </a:t>
            </a: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t>used to train the foundational AI models</a:t>
            </a:r>
          </a:p>
        </p:txBody>
      </p:sp>
      <p:grpSp>
        <p:nvGrpSpPr>
          <p:cNvPr id="36" name="Group 35">
            <a:extLst>
              <a:ext uri="{FF2B5EF4-FFF2-40B4-BE49-F238E27FC236}">
                <a16:creationId xmlns:a16="http://schemas.microsoft.com/office/drawing/2014/main" id="{CB64F945-1BE8-3F43-A4DB-18B32866D449}"/>
              </a:ext>
            </a:extLst>
          </p:cNvPr>
          <p:cNvGrpSpPr/>
          <p:nvPr/>
        </p:nvGrpSpPr>
        <p:grpSpPr>
          <a:xfrm>
            <a:off x="3800379" y="537324"/>
            <a:ext cx="4586324" cy="996944"/>
            <a:chOff x="637360" y="508569"/>
            <a:chExt cx="4586324" cy="996944"/>
          </a:xfrm>
        </p:grpSpPr>
        <p:sp>
          <p:nvSpPr>
            <p:cNvPr id="25" name="Title 14">
              <a:extLst>
                <a:ext uri="{FF2B5EF4-FFF2-40B4-BE49-F238E27FC236}">
                  <a16:creationId xmlns:a16="http://schemas.microsoft.com/office/drawing/2014/main" id="{0ADCDDFB-2BBC-E088-080A-449120C938D4}"/>
                </a:ext>
              </a:extLst>
            </p:cNvPr>
            <p:cNvSpPr txBox="1">
              <a:spLocks/>
            </p:cNvSpPr>
            <p:nvPr/>
          </p:nvSpPr>
          <p:spPr>
            <a:xfrm>
              <a:off x="637360" y="508569"/>
              <a:ext cx="4586324"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4000" b="0" i="0" u="none" strike="noStrike" kern="1200" cap="none" spc="-50" normalizeH="0" baseline="0" noProof="0">
                  <a:ln w="3175">
                    <a:noFill/>
                  </a:ln>
                  <a:gradFill flip="none" rotWithShape="1">
                    <a:gsLst>
                      <a:gs pos="12000">
                        <a:srgbClr val="FFFFFF"/>
                      </a:gs>
                      <a:gs pos="100000">
                        <a:srgbClr val="FFFFFF"/>
                      </a:gs>
                    </a:gsLst>
                    <a:lin ang="18900000" scaled="1"/>
                    <a:tileRect/>
                  </a:gradFill>
                  <a:effectLst/>
                  <a:uLnTx/>
                  <a:uFillTx/>
                  <a:latin typeface="Segoe UI Semibold"/>
                  <a:ea typeface="+mn-ea"/>
                  <a:cs typeface="Segoe UI" pitchFamily="34" charset="0"/>
                </a:rPr>
                <a:t>Azure AI</a:t>
              </a:r>
            </a:p>
          </p:txBody>
        </p:sp>
        <p:sp>
          <p:nvSpPr>
            <p:cNvPr id="26" name="Title 14">
              <a:extLst>
                <a:ext uri="{FF2B5EF4-FFF2-40B4-BE49-F238E27FC236}">
                  <a16:creationId xmlns:a16="http://schemas.microsoft.com/office/drawing/2014/main" id="{38783F9C-7059-859A-1382-54EAAA300742}"/>
                </a:ext>
              </a:extLst>
            </p:cNvPr>
            <p:cNvSpPr txBox="1">
              <a:spLocks/>
            </p:cNvSpPr>
            <p:nvPr/>
          </p:nvSpPr>
          <p:spPr>
            <a:xfrm>
              <a:off x="637360" y="1062315"/>
              <a:ext cx="3898541" cy="4431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CA" sz="3200" b="0" i="0" u="none" strike="noStrike" kern="1200" cap="none" spc="-50" normalizeH="0" baseline="0" noProof="0">
                  <a:ln>
                    <a:noFill/>
                  </a:ln>
                  <a:solidFill>
                    <a:schemeClr val="accent2">
                      <a:lumMod val="60000"/>
                      <a:lumOff val="40000"/>
                    </a:schemeClr>
                  </a:solidFill>
                  <a:effectLst/>
                  <a:uLnTx/>
                  <a:uFillTx/>
                  <a:latin typeface="Segoe UI Semibold"/>
                  <a:ea typeface="+mn-ea"/>
                  <a:cs typeface="Segoe UI Semibold" panose="020B0702040204020203" pitchFamily="34" charset="0"/>
                </a:rPr>
                <a:t>Runs on trust</a:t>
              </a:r>
            </a:p>
          </p:txBody>
        </p:sp>
      </p:grpSp>
      <p:cxnSp>
        <p:nvCxnSpPr>
          <p:cNvPr id="17" name="Straight Connector 16">
            <a:extLst>
              <a:ext uri="{FF2B5EF4-FFF2-40B4-BE49-F238E27FC236}">
                <a16:creationId xmlns:a16="http://schemas.microsoft.com/office/drawing/2014/main" id="{90DB56CD-E405-655B-4F5D-F6004CC98ACB}"/>
              </a:ext>
            </a:extLst>
          </p:cNvPr>
          <p:cNvCxnSpPr>
            <a:cxnSpLocks/>
          </p:cNvCxnSpPr>
          <p:nvPr/>
        </p:nvCxnSpPr>
        <p:spPr>
          <a:xfrm>
            <a:off x="2349850" y="4917357"/>
            <a:ext cx="1180372" cy="0"/>
          </a:xfrm>
          <a:prstGeom prst="line">
            <a:avLst/>
          </a:prstGeom>
          <a:ln w="19050" cap="rnd">
            <a:solidFill>
              <a:schemeClr val="accent2">
                <a:lumMod val="60000"/>
                <a:lumOff val="4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B7C29647-8B43-B439-D0C5-67E406CEA090}"/>
              </a:ext>
            </a:extLst>
          </p:cNvPr>
          <p:cNvSpPr txBox="1"/>
          <p:nvPr/>
        </p:nvSpPr>
        <p:spPr>
          <a:xfrm>
            <a:off x="637360" y="4550761"/>
            <a:ext cx="5057560" cy="1200329"/>
          </a:xfrm>
          <a:prstGeom prst="rect">
            <a:avLst/>
          </a:prstGeom>
          <a:noFill/>
          <a:ln>
            <a:noFill/>
          </a:ln>
        </p:spPr>
        <p:txBody>
          <a:bodyPr wrap="square" lIns="0">
            <a:sp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t>Your data is </a:t>
            </a:r>
            <a:r>
              <a:rPr kumimoji="0" lang="en-US" sz="2400" b="0" i="0" u="none" strike="noStrike" kern="1200" cap="none" spc="-50" normalizeH="0" baseline="0" noProof="0">
                <a:ln w="3175">
                  <a:noFill/>
                </a:ln>
                <a:solidFill>
                  <a:schemeClr val="accent2">
                    <a:lumMod val="60000"/>
                    <a:lumOff val="40000"/>
                  </a:schemeClr>
                </a:solidFill>
                <a:effectLst/>
                <a:uLnTx/>
                <a:uFillTx/>
                <a:latin typeface="Segoe UI Semibold"/>
                <a:ea typeface="+mj-lt"/>
                <a:cs typeface="Segoe UI Semibold"/>
              </a:rPr>
              <a:t>protected</a:t>
            </a:r>
            <a:r>
              <a:rPr kumimoji="0" lang="en-US" sz="1800" b="0" i="0" u="none" strike="noStrike" kern="1200" cap="none" spc="0" normalizeH="0" baseline="0" noProof="0">
                <a:ln>
                  <a:noFill/>
                </a:ln>
                <a:solidFill>
                  <a:srgbClr val="FFFFFF"/>
                </a:solidFill>
                <a:effectLst/>
                <a:uLnTx/>
                <a:uFillTx/>
                <a:latin typeface="Segoe UI Semibold"/>
                <a:ea typeface="+mn-ea"/>
                <a:cs typeface="+mn-cs"/>
              </a:rPr>
              <a:t> </a:t>
            </a: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t>by </a:t>
            </a:r>
            <a:b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br>
            <a:r>
              <a:rPr kumimoji="0" lang="en-US" sz="2400" b="0" i="0" u="none" strike="noStrike" kern="1200" cap="none" spc="-50" normalizeH="0" baseline="0" noProof="0">
                <a:ln w="3175">
                  <a:noFill/>
                </a:ln>
                <a:gradFill>
                  <a:gsLst>
                    <a:gs pos="0">
                      <a:srgbClr val="FFFFFF"/>
                    </a:gs>
                    <a:gs pos="100000">
                      <a:srgbClr val="FFFFFF"/>
                    </a:gs>
                  </a:gsLst>
                  <a:lin ang="5400000" scaled="1"/>
                </a:gradFill>
                <a:effectLst/>
                <a:uLnTx/>
                <a:uFillTx/>
                <a:latin typeface="Segoe UI Semibold"/>
                <a:ea typeface="+mj-lt"/>
                <a:cs typeface="Segoe UI Semibold"/>
              </a:rPr>
              <a:t>the most comprehensive enterprise compliance and security controls</a:t>
            </a:r>
          </a:p>
        </p:txBody>
      </p:sp>
    </p:spTree>
    <p:extLst>
      <p:ext uri="{BB962C8B-B14F-4D97-AF65-F5344CB8AC3E}">
        <p14:creationId xmlns:p14="http://schemas.microsoft.com/office/powerpoint/2010/main" val="1095916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par>
                                <p:cTn id="8" presetID="22" presetClass="entr" presetSubtype="8"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wipe(left)">
                                      <p:cBhvr>
                                        <p:cTn id="10" dur="500"/>
                                        <p:tgtEl>
                                          <p:spTgt spid="16"/>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200"/>
                                  </p:stCondLst>
                                  <p:childTnLst>
                                    <p:animMotion origin="layout" path="M -1.875E-6 2.96296E-6 L -0.01484 2.96296E-6 " pathEditMode="relative" rAng="0" ptsTypes="AA">
                                      <p:cBhvr>
                                        <p:cTn id="15" dur="500" spd="-100000" fill="hold"/>
                                        <p:tgtEl>
                                          <p:spTgt spid="4"/>
                                        </p:tgtEl>
                                        <p:attrNameLst>
                                          <p:attrName>ppt_x</p:attrName>
                                          <p:attrName>ppt_y</p:attrName>
                                        </p:attrNameLst>
                                      </p:cBhvr>
                                      <p:rCtr x="-742" y="0"/>
                                    </p:animMotion>
                                  </p:childTnLst>
                                </p:cTn>
                              </p:par>
                              <p:par>
                                <p:cTn id="16" presetID="10" presetClass="entr" presetSubtype="0" fill="hold" grpId="0" nodeType="withEffect">
                                  <p:stCondLst>
                                    <p:cond delay="2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42" presetClass="path" presetSubtype="0" decel="100000" fill="hold" grpId="1" nodeType="withEffect">
                                  <p:stCondLst>
                                    <p:cond delay="200"/>
                                  </p:stCondLst>
                                  <p:childTnLst>
                                    <p:animMotion origin="layout" path="M -3.125E-6 1.11111E-6 L -0.01484 1.11111E-6 " pathEditMode="relative" rAng="0" ptsTypes="AA">
                                      <p:cBhvr>
                                        <p:cTn id="20" dur="500" spd="-100000" fill="hold"/>
                                        <p:tgtEl>
                                          <p:spTgt spid="5"/>
                                        </p:tgtEl>
                                        <p:attrNameLst>
                                          <p:attrName>ppt_x</p:attrName>
                                          <p:attrName>ppt_y</p:attrName>
                                        </p:attrNameLst>
                                      </p:cBhvr>
                                      <p:rCtr x="-742" y="0"/>
                                    </p:animMotion>
                                  </p:childTnLst>
                                </p:cTn>
                              </p:par>
                              <p:par>
                                <p:cTn id="21" presetID="10" presetClass="entr" presetSubtype="0" fill="hold" grpId="0" nodeType="withEffect">
                                  <p:stCondLst>
                                    <p:cond delay="20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42" presetClass="path" presetSubtype="0" decel="100000" fill="hold" grpId="1" nodeType="withEffect">
                                  <p:stCondLst>
                                    <p:cond delay="200"/>
                                  </p:stCondLst>
                                  <p:childTnLst>
                                    <p:animMotion origin="layout" path="M -3.125E-6 3.33333E-6 L -0.01484 3.33333E-6 " pathEditMode="relative" rAng="0" ptsTypes="AA">
                                      <p:cBhvr>
                                        <p:cTn id="25" dur="500" spd="-100000" fill="hold"/>
                                        <p:tgtEl>
                                          <p:spTgt spid="9"/>
                                        </p:tgtEl>
                                        <p:attrNameLst>
                                          <p:attrName>ppt_x</p:attrName>
                                          <p:attrName>ppt_y</p:attrName>
                                        </p:attrNameLst>
                                      </p:cBhvr>
                                      <p:rCtr x="-742" y="0"/>
                                    </p:animMotion>
                                  </p:childTnLst>
                                </p:cTn>
                              </p:par>
                              <p:par>
                                <p:cTn id="26" presetID="10" presetClass="entr" presetSubtype="0" fill="hold" grpId="0" nodeType="withEffect">
                                  <p:stCondLst>
                                    <p:cond delay="2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500"/>
                                        <p:tgtEl>
                                          <p:spTgt spid="10"/>
                                        </p:tgtEl>
                                      </p:cBhvr>
                                    </p:animEffect>
                                  </p:childTnLst>
                                </p:cTn>
                              </p:par>
                              <p:par>
                                <p:cTn id="29" presetID="42" presetClass="path" presetSubtype="0" decel="100000" fill="hold" grpId="1" nodeType="withEffect">
                                  <p:stCondLst>
                                    <p:cond delay="200"/>
                                  </p:stCondLst>
                                  <p:childTnLst>
                                    <p:animMotion origin="layout" path="M -2.29167E-6 1.48148E-6 L -0.01484 1.48148E-6 " pathEditMode="relative" rAng="0" ptsTypes="AA">
                                      <p:cBhvr>
                                        <p:cTn id="30" dur="500" spd="-100000" fill="hold"/>
                                        <p:tgtEl>
                                          <p:spTgt spid="10"/>
                                        </p:tgtEl>
                                        <p:attrNameLst>
                                          <p:attrName>ppt_x</p:attrName>
                                          <p:attrName>ppt_y</p:attrName>
                                        </p:attrNameLst>
                                      </p:cBhvr>
                                      <p:rCtr x="-742" y="0"/>
                                    </p:animMotion>
                                  </p:childTnLst>
                                </p:cTn>
                              </p:par>
                              <p:par>
                                <p:cTn id="31" presetID="10" presetClass="entr" presetSubtype="0" fill="hold" grpId="0" nodeType="withEffect">
                                  <p:stCondLst>
                                    <p:cond delay="20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42" presetClass="path" presetSubtype="0" decel="100000" fill="hold" grpId="1" nodeType="withEffect">
                                  <p:stCondLst>
                                    <p:cond delay="200"/>
                                  </p:stCondLst>
                                  <p:childTnLst>
                                    <p:animMotion origin="layout" path="M 3.75E-6 1.48148E-6 L -0.01485 1.48148E-6 " pathEditMode="relative" rAng="0" ptsTypes="AA">
                                      <p:cBhvr>
                                        <p:cTn id="35" dur="500" spd="-100000" fill="hold"/>
                                        <p:tgtEl>
                                          <p:spTgt spid="20"/>
                                        </p:tgtEl>
                                        <p:attrNameLst>
                                          <p:attrName>ppt_x</p:attrName>
                                          <p:attrName>ppt_y</p:attrName>
                                        </p:attrNameLst>
                                      </p:cBhvr>
                                      <p:rCtr x="-742" y="0"/>
                                    </p:animMotion>
                                  </p:childTnLst>
                                </p:cTn>
                              </p:par>
                              <p:par>
                                <p:cTn id="36" presetID="10" presetClass="entr" presetSubtype="0" fill="hold" grpId="0" nodeType="withEffect">
                                  <p:stCondLst>
                                    <p:cond delay="20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par>
                                <p:cTn id="39" presetID="42" presetClass="path" presetSubtype="0" decel="100000" fill="hold" grpId="1" nodeType="withEffect">
                                  <p:stCondLst>
                                    <p:cond delay="200"/>
                                  </p:stCondLst>
                                  <p:childTnLst>
                                    <p:animMotion origin="layout" path="M -3.54167E-6 4.07407E-6 L -0.01484 4.07407E-6 " pathEditMode="relative" rAng="0" ptsTypes="AA">
                                      <p:cBhvr>
                                        <p:cTn id="40" dur="500" spd="-100000" fill="hold"/>
                                        <p:tgtEl>
                                          <p:spTgt spid="14"/>
                                        </p:tgtEl>
                                        <p:attrNameLst>
                                          <p:attrName>ppt_x</p:attrName>
                                          <p:attrName>ppt_y</p:attrName>
                                        </p:attrNameLst>
                                      </p:cBhvr>
                                      <p:rCtr x="-742" y="0"/>
                                    </p:animMotion>
                                  </p:childTnLst>
                                </p:cTn>
                              </p:par>
                              <p:par>
                                <p:cTn id="41" presetID="10" presetClass="entr" presetSubtype="0" fill="hold" grpId="0" nodeType="withEffect">
                                  <p:stCondLst>
                                    <p:cond delay="2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42" presetClass="path" presetSubtype="0" decel="100000" fill="hold" grpId="1" nodeType="withEffect">
                                  <p:stCondLst>
                                    <p:cond delay="200"/>
                                  </p:stCondLst>
                                  <p:childTnLst>
                                    <p:animMotion origin="layout" path="M 3.75E-6 -2.96296E-6 L -0.01485 -2.96296E-6 " pathEditMode="relative" rAng="0" ptsTypes="AA">
                                      <p:cBhvr>
                                        <p:cTn id="45" dur="500" spd="-100000" fill="hold"/>
                                        <p:tgtEl>
                                          <p:spTgt spid="21"/>
                                        </p:tgtEl>
                                        <p:attrNameLst>
                                          <p:attrName>ppt_x</p:attrName>
                                          <p:attrName>ppt_y</p:attrName>
                                        </p:attrNameLst>
                                      </p:cBhvr>
                                      <p:rCtr x="-74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9" grpId="0"/>
      <p:bldP spid="9" grpId="1"/>
      <p:bldP spid="10" grpId="0"/>
      <p:bldP spid="10" grpId="1"/>
      <p:bldP spid="14" grpId="0"/>
      <p:bldP spid="14" grpId="1"/>
      <p:bldP spid="20" grpId="0"/>
      <p:bldP spid="20" grpId="1"/>
      <p:bldP spid="21" grpId="0"/>
      <p:bldP spid="21"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ear with compass turning gears without">
            <a:extLst>
              <a:ext uri="{FF2B5EF4-FFF2-40B4-BE49-F238E27FC236}">
                <a16:creationId xmlns:a16="http://schemas.microsoft.com/office/drawing/2014/main" id="{CFEE38CC-B731-755A-316A-AF63685C8E59}"/>
              </a:ext>
            </a:extLst>
          </p:cNvPr>
          <p:cNvPicPr>
            <a:picLocks noChangeAspect="1"/>
          </p:cNvPicPr>
          <p:nvPr/>
        </p:nvPicPr>
        <p:blipFill rotWithShape="1">
          <a:blip r:embed="rId2"/>
          <a:srcRect b="15730"/>
          <a:stretch/>
        </p:blipFill>
        <p:spPr>
          <a:xfrm>
            <a:off x="20" y="10"/>
            <a:ext cx="12191979" cy="6857989"/>
          </a:xfrm>
          <a:prstGeom prst="rect">
            <a:avLst/>
          </a:prstGeom>
        </p:spPr>
      </p:pic>
      <p:sp>
        <p:nvSpPr>
          <p:cNvPr id="2" name="Title 1">
            <a:extLst>
              <a:ext uri="{FF2B5EF4-FFF2-40B4-BE49-F238E27FC236}">
                <a16:creationId xmlns:a16="http://schemas.microsoft.com/office/drawing/2014/main" id="{B00691FE-CC7A-F712-3C04-3BBF08CCC19E}"/>
              </a:ext>
            </a:extLst>
          </p:cNvPr>
          <p:cNvSpPr>
            <a:spLocks noGrp="1"/>
          </p:cNvSpPr>
          <p:nvPr>
            <p:ph type="title"/>
          </p:nvPr>
        </p:nvSpPr>
        <p:spPr>
          <a:xfrm>
            <a:off x="5882446" y="3092651"/>
            <a:ext cx="5429290" cy="2142559"/>
          </a:xfrm>
        </p:spPr>
        <p:txBody>
          <a:bodyPr vert="horz" lIns="91440" tIns="45720" rIns="91440" bIns="45720" rtlCol="0" anchor="b">
            <a:normAutofit fontScale="90000"/>
          </a:bodyPr>
          <a:lstStyle/>
          <a:p>
            <a:pPr algn="r"/>
            <a:r>
              <a:rPr lang="en-US" sz="4800" dirty="0">
                <a:effectLst/>
              </a:rPr>
              <a:t>Ethical Considerations and Challenges</a:t>
            </a:r>
            <a:endParaRPr lang="en-US" sz="4800" dirty="0"/>
          </a:p>
        </p:txBody>
      </p:sp>
    </p:spTree>
    <p:extLst>
      <p:ext uri="{BB962C8B-B14F-4D97-AF65-F5344CB8AC3E}">
        <p14:creationId xmlns:p14="http://schemas.microsoft.com/office/powerpoint/2010/main" val="474927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1B548-77AD-610F-D96F-514EAF4CA00B}"/>
              </a:ext>
            </a:extLst>
          </p:cNvPr>
          <p:cNvSpPr>
            <a:spLocks noGrp="1"/>
          </p:cNvSpPr>
          <p:nvPr>
            <p:ph type="title"/>
          </p:nvPr>
        </p:nvSpPr>
        <p:spPr>
          <a:xfrm>
            <a:off x="586740" y="94958"/>
            <a:ext cx="11018520" cy="553998"/>
          </a:xfrm>
        </p:spPr>
        <p:txBody>
          <a:bodyPr/>
          <a:lstStyle/>
          <a:p>
            <a:pPr algn="ctr"/>
            <a:r>
              <a:rPr lang="en-GB" dirty="0"/>
              <a:t>Microsoft is putting responsible AI into action</a:t>
            </a:r>
          </a:p>
        </p:txBody>
      </p:sp>
      <p:pic>
        <p:nvPicPr>
          <p:cNvPr id="6" name="Picture 5" descr="Building AI products responsibly">
            <a:extLst>
              <a:ext uri="{FF2B5EF4-FFF2-40B4-BE49-F238E27FC236}">
                <a16:creationId xmlns:a16="http://schemas.microsoft.com/office/drawing/2014/main" id="{CA938AF1-FB31-C282-8CB0-755DADB9724C}"/>
              </a:ext>
              <a:ext uri="{C183D7F6-B498-43B3-948B-1728B52AA6E4}">
                <adec:decorative xmlns:adec="http://schemas.microsoft.com/office/drawing/2017/decorative" val="0"/>
              </a:ext>
            </a:extLst>
          </p:cNvPr>
          <p:cNvPicPr>
            <a:picLocks noChangeAspect="1"/>
          </p:cNvPicPr>
          <p:nvPr/>
        </p:nvPicPr>
        <p:blipFill rotWithShape="1">
          <a:blip r:embed="rId3"/>
          <a:srcRect l="14627" t="32065" r="62961" b="17955"/>
          <a:stretch/>
        </p:blipFill>
        <p:spPr>
          <a:xfrm>
            <a:off x="650514" y="1079006"/>
            <a:ext cx="3473159" cy="5163258"/>
          </a:xfrm>
          <a:prstGeom prst="rect">
            <a:avLst/>
          </a:prstGeom>
        </p:spPr>
      </p:pic>
      <p:pic>
        <p:nvPicPr>
          <p:cNvPr id="8" name="Picture 7" descr="Providing tools for customers to use AI responsibly">
            <a:extLst>
              <a:ext uri="{FF2B5EF4-FFF2-40B4-BE49-F238E27FC236}">
                <a16:creationId xmlns:a16="http://schemas.microsoft.com/office/drawing/2014/main" id="{9EA68396-9927-F5A8-FEDE-0FF3C35FFD77}"/>
              </a:ext>
              <a:ext uri="{C183D7F6-B498-43B3-948B-1728B52AA6E4}">
                <adec:decorative xmlns:adec="http://schemas.microsoft.com/office/drawing/2017/decorative" val="0"/>
              </a:ext>
            </a:extLst>
          </p:cNvPr>
          <p:cNvPicPr>
            <a:picLocks noChangeAspect="1"/>
          </p:cNvPicPr>
          <p:nvPr/>
        </p:nvPicPr>
        <p:blipFill rotWithShape="1">
          <a:blip r:embed="rId3"/>
          <a:srcRect l="36703" t="32065" r="40339" b="17955"/>
          <a:stretch/>
        </p:blipFill>
        <p:spPr>
          <a:xfrm>
            <a:off x="4226518" y="1075872"/>
            <a:ext cx="3597640" cy="5221278"/>
          </a:xfrm>
          <a:prstGeom prst="rect">
            <a:avLst/>
          </a:prstGeom>
        </p:spPr>
      </p:pic>
      <p:pic>
        <p:nvPicPr>
          <p:cNvPr id="7" name="Picture 6" descr="Ensuring responsible use of Ai">
            <a:extLst>
              <a:ext uri="{FF2B5EF4-FFF2-40B4-BE49-F238E27FC236}">
                <a16:creationId xmlns:a16="http://schemas.microsoft.com/office/drawing/2014/main" id="{0FBDAC13-1B64-98C9-4BBF-BF03F76EE443}"/>
              </a:ext>
              <a:ext uri="{C183D7F6-B498-43B3-948B-1728B52AA6E4}">
                <adec:decorative xmlns:adec="http://schemas.microsoft.com/office/drawing/2017/decorative" val="0"/>
              </a:ext>
            </a:extLst>
          </p:cNvPr>
          <p:cNvPicPr>
            <a:picLocks noChangeAspect="1"/>
          </p:cNvPicPr>
          <p:nvPr/>
        </p:nvPicPr>
        <p:blipFill rotWithShape="1">
          <a:blip r:embed="rId3"/>
          <a:srcRect l="59162" t="32065" r="18043" b="17955"/>
          <a:stretch/>
        </p:blipFill>
        <p:spPr>
          <a:xfrm>
            <a:off x="8068326" y="1072250"/>
            <a:ext cx="3536933" cy="5170014"/>
          </a:xfrm>
          <a:prstGeom prst="rect">
            <a:avLst/>
          </a:prstGeom>
        </p:spPr>
      </p:pic>
    </p:spTree>
    <p:extLst>
      <p:ext uri="{BB962C8B-B14F-4D97-AF65-F5344CB8AC3E}">
        <p14:creationId xmlns:p14="http://schemas.microsoft.com/office/powerpoint/2010/main" val="11627382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nodeType="withEffect">
                                  <p:stCondLst>
                                    <p:cond delay="0"/>
                                  </p:stCondLst>
                                  <p:childTnLst>
                                    <p:animMotion origin="layout" path="M 1.45833E-6 -3.7037E-6 L 1.45833E-6 0.04352 " pathEditMode="relative" rAng="0" ptsTypes="AA">
                                      <p:cBhvr>
                                        <p:cTn id="9" dur="600" spd="-100000" fill="hold"/>
                                        <p:tgtEl>
                                          <p:spTgt spid="6"/>
                                        </p:tgtEl>
                                        <p:attrNameLst>
                                          <p:attrName>ppt_x</p:attrName>
                                          <p:attrName>ppt_y</p:attrName>
                                        </p:attrNameLst>
                                      </p:cBhvr>
                                      <p:rCtr x="0" y="2176"/>
                                    </p:animMotion>
                                  </p:childTnLst>
                                </p:cTn>
                              </p:par>
                              <p:par>
                                <p:cTn id="10" presetID="10" presetClass="entr" presetSubtype="0" fill="hold" nodeType="withEffect">
                                  <p:stCondLst>
                                    <p:cond delay="10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100"/>
                                  </p:stCondLst>
                                  <p:childTnLst>
                                    <p:animMotion origin="layout" path="M 1.45833E-6 -3.7037E-6 L 1.45833E-6 0.04352 " pathEditMode="relative" rAng="0" ptsTypes="AA">
                                      <p:cBhvr>
                                        <p:cTn id="14" dur="600" spd="-100000" fill="hold"/>
                                        <p:tgtEl>
                                          <p:spTgt spid="8"/>
                                        </p:tgtEl>
                                        <p:attrNameLst>
                                          <p:attrName>ppt_x</p:attrName>
                                          <p:attrName>ppt_y</p:attrName>
                                        </p:attrNameLst>
                                      </p:cBhvr>
                                      <p:rCtr x="0" y="2176"/>
                                    </p:animMotion>
                                  </p:childTnLst>
                                </p:cTn>
                              </p:par>
                              <p:par>
                                <p:cTn id="15" presetID="10" presetClass="entr" presetSubtype="0" fill="hold" nodeType="withEffect">
                                  <p:stCondLst>
                                    <p:cond delay="20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200"/>
                                  </p:stCondLst>
                                  <p:childTnLst>
                                    <p:animMotion origin="layout" path="M 1.45833E-6 -3.7037E-6 L 1.45833E-6 0.04352 " pathEditMode="relative" rAng="0" ptsTypes="AA">
                                      <p:cBhvr>
                                        <p:cTn id="19" dur="600" spd="-100000" fill="hold"/>
                                        <p:tgtEl>
                                          <p:spTgt spid="7"/>
                                        </p:tgtEl>
                                        <p:attrNameLst>
                                          <p:attrName>ppt_x</p:attrName>
                                          <p:attrName>ppt_y</p:attrName>
                                        </p:attrNameLst>
                                      </p:cBhvr>
                                      <p:rCtr x="0" y="217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B4725-4712-7FDB-C897-03AC30915774}"/>
              </a:ext>
            </a:extLst>
          </p:cNvPr>
          <p:cNvSpPr>
            <a:spLocks noGrp="1"/>
          </p:cNvSpPr>
          <p:nvPr>
            <p:ph type="title"/>
          </p:nvPr>
        </p:nvSpPr>
        <p:spPr/>
        <p:txBody>
          <a:bodyPr/>
          <a:lstStyle/>
          <a:p>
            <a:r>
              <a:rPr lang="en-US">
                <a:ea typeface="+mj-ea"/>
                <a:cs typeface="+mj-cs"/>
              </a:rPr>
              <a:t>Swift </a:t>
            </a:r>
          </a:p>
        </p:txBody>
      </p:sp>
      <p:grpSp>
        <p:nvGrpSpPr>
          <p:cNvPr id="27" name="Group 26">
            <a:extLst>
              <a:ext uri="{FF2B5EF4-FFF2-40B4-BE49-F238E27FC236}">
                <a16:creationId xmlns:a16="http://schemas.microsoft.com/office/drawing/2014/main" id="{78C2E316-39F2-1C77-EEDA-203DA281AF20}"/>
              </a:ext>
              <a:ext uri="{C183D7F6-B498-43B3-948B-1728B52AA6E4}">
                <adec:decorative xmlns:adec="http://schemas.microsoft.com/office/drawing/2017/decorative" val="1"/>
              </a:ext>
            </a:extLst>
          </p:cNvPr>
          <p:cNvGrpSpPr/>
          <p:nvPr/>
        </p:nvGrpSpPr>
        <p:grpSpPr>
          <a:xfrm>
            <a:off x="0" y="1250944"/>
            <a:ext cx="5906925" cy="152167"/>
            <a:chOff x="-2252973" y="4046193"/>
            <a:chExt cx="5906925" cy="152167"/>
          </a:xfrm>
        </p:grpSpPr>
        <p:cxnSp>
          <p:nvCxnSpPr>
            <p:cNvPr id="28" name="Straight Connector 27">
              <a:extLst>
                <a:ext uri="{FF2B5EF4-FFF2-40B4-BE49-F238E27FC236}">
                  <a16:creationId xmlns:a16="http://schemas.microsoft.com/office/drawing/2014/main" id="{C5DB3849-B849-0C6A-C807-5D47BD95772C}"/>
                </a:ext>
              </a:extLst>
            </p:cNvPr>
            <p:cNvCxnSpPr>
              <a:cxnSpLocks/>
            </p:cNvCxnSpPr>
            <p:nvPr userDrawn="1"/>
          </p:nvCxnSpPr>
          <p:spPr>
            <a:xfrm>
              <a:off x="-2252973" y="4122276"/>
              <a:ext cx="5309612" cy="0"/>
            </a:xfrm>
            <a:prstGeom prst="line">
              <a:avLst/>
            </a:prstGeom>
            <a:noFill/>
            <a:ln w="22225" cap="flat" cmpd="sng" algn="ctr">
              <a:solidFill>
                <a:schemeClr val="bg1"/>
              </a:solidFill>
              <a:prstDash val="solid"/>
              <a:headEnd type="none" w="lg" len="med"/>
              <a:tailEnd type="none" w="lg" len="med"/>
            </a:ln>
            <a:effectLst>
              <a:outerShdw blurRad="25400" dist="25400" dir="5400000" algn="t" rotWithShape="0">
                <a:schemeClr val="bg1">
                  <a:lumMod val="50000"/>
                  <a:alpha val="30000"/>
                </a:schemeClr>
              </a:outerShdw>
            </a:effectLst>
          </p:spPr>
        </p:cxnSp>
        <p:grpSp>
          <p:nvGrpSpPr>
            <p:cNvPr id="29" name="Group 28">
              <a:extLst>
                <a:ext uri="{FF2B5EF4-FFF2-40B4-BE49-F238E27FC236}">
                  <a16:creationId xmlns:a16="http://schemas.microsoft.com/office/drawing/2014/main" id="{8065273B-6AA4-A619-7F1E-68D33C13B2AD}"/>
                </a:ext>
              </a:extLst>
            </p:cNvPr>
            <p:cNvGrpSpPr/>
            <p:nvPr userDrawn="1"/>
          </p:nvGrpSpPr>
          <p:grpSpPr>
            <a:xfrm>
              <a:off x="3049826" y="4046193"/>
              <a:ext cx="604126" cy="152167"/>
              <a:chOff x="3049826" y="4046193"/>
              <a:chExt cx="604126" cy="152167"/>
            </a:xfrm>
            <a:effectLst>
              <a:outerShdw blurRad="25400" dist="25400" dir="5400000" algn="t" rotWithShape="0">
                <a:schemeClr val="bg1">
                  <a:lumMod val="50000"/>
                  <a:alpha val="30000"/>
                </a:schemeClr>
              </a:outerShdw>
            </a:effectLst>
          </p:grpSpPr>
          <p:sp>
            <p:nvSpPr>
              <p:cNvPr id="30" name="Oval 29">
                <a:extLst>
                  <a:ext uri="{FF2B5EF4-FFF2-40B4-BE49-F238E27FC236}">
                    <a16:creationId xmlns:a16="http://schemas.microsoft.com/office/drawing/2014/main" id="{C9DB4EB3-FAC6-CA6C-0CD3-5766FA3E3DC2}"/>
                  </a:ext>
                </a:extLst>
              </p:cNvPr>
              <p:cNvSpPr/>
              <p:nvPr/>
            </p:nvSpPr>
            <p:spPr bwMode="auto">
              <a:xfrm>
                <a:off x="3049826" y="4046193"/>
                <a:ext cx="152167" cy="152167"/>
              </a:xfrm>
              <a:prstGeom prst="ellipse">
                <a:avLst/>
              </a:prstGeom>
              <a:solidFill>
                <a:srgbClr val="225B62"/>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A4DF33DE-98EC-ABD3-35B1-45D44373F28D}"/>
                  </a:ext>
                </a:extLst>
              </p:cNvPr>
              <p:cNvSpPr>
                <a:spLocks/>
              </p:cNvSpPr>
              <p:nvPr/>
            </p:nvSpPr>
            <p:spPr bwMode="auto">
              <a:xfrm>
                <a:off x="3275805" y="4046193"/>
                <a:ext cx="152167" cy="152167"/>
              </a:xfrm>
              <a:prstGeom prst="ellipse">
                <a:avLst/>
              </a:prstGeom>
              <a:solidFill>
                <a:srgbClr val="57B9C5"/>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3AD6C57-5CD8-FF0A-C960-FE2A6D37DDD0}"/>
                  </a:ext>
                </a:extLst>
              </p:cNvPr>
              <p:cNvSpPr/>
              <p:nvPr/>
            </p:nvSpPr>
            <p:spPr bwMode="auto">
              <a:xfrm>
                <a:off x="3501785" y="4046193"/>
                <a:ext cx="152167" cy="152167"/>
              </a:xfrm>
              <a:prstGeom prst="ellipse">
                <a:avLst/>
              </a:prstGeom>
              <a:solidFill>
                <a:srgbClr val="8EC8E9"/>
              </a:solidFill>
              <a:ln w="22225"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grpSp>
      </p:grpSp>
      <p:sp>
        <p:nvSpPr>
          <p:cNvPr id="20" name="TextBox 19">
            <a:extLst>
              <a:ext uri="{FF2B5EF4-FFF2-40B4-BE49-F238E27FC236}">
                <a16:creationId xmlns:a16="http://schemas.microsoft.com/office/drawing/2014/main" id="{AD3E4065-9C8B-4D8F-BDA0-F667BF4DC4C7}"/>
              </a:ext>
            </a:extLst>
          </p:cNvPr>
          <p:cNvSpPr txBox="1"/>
          <p:nvPr/>
        </p:nvSpPr>
        <p:spPr>
          <a:xfrm>
            <a:off x="588263" y="1508581"/>
            <a:ext cx="5299178" cy="161582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a:ln>
                  <a:noFill/>
                </a:ln>
                <a:solidFill>
                  <a:srgbClr val="225B62"/>
                </a:solidFill>
                <a:effectLst/>
                <a:uLnTx/>
                <a:uFillTx/>
                <a:latin typeface="Segoe Sans Display Semibold"/>
                <a:ea typeface="+mn-ea"/>
                <a:cs typeface="+mn-cs"/>
              </a:rPr>
              <a:t>Situation</a:t>
            </a:r>
          </a:p>
          <a:p>
            <a:pPr marL="285750" marR="0" lvl="0" indent="-171450"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Swift’s network and platform is trusted to provide seamless automated transmission, receipt, and processing of more than nine billion financial messages a year.</a:t>
            </a:r>
          </a:p>
          <a:p>
            <a:pPr marL="285750" marR="0" lvl="0" indent="-171450"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91F2C"/>
                </a:solidFill>
                <a:effectLst/>
                <a:highlight>
                  <a:srgbClr val="FFFFFF"/>
                </a:highlight>
                <a:uLnTx/>
                <a:uFillTx/>
                <a:latin typeface="SegoeUI"/>
                <a:ea typeface="+mn-ea"/>
                <a:cs typeface="+mn-cs"/>
              </a:rPr>
              <a:t>Detecting and stopping fraudulent attacks and crime is a priority for Swift’s customers so the cooperative is constantly innovating to strengthen security</a:t>
            </a:r>
            <a:endPar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endParaRPr>
          </a:p>
        </p:txBody>
      </p:sp>
      <p:cxnSp>
        <p:nvCxnSpPr>
          <p:cNvPr id="45" name="Straight Connector 44">
            <a:extLst>
              <a:ext uri="{FF2B5EF4-FFF2-40B4-BE49-F238E27FC236}">
                <a16:creationId xmlns:a16="http://schemas.microsoft.com/office/drawing/2014/main" id="{5A9B411B-9CBA-7987-8D2E-CD0BF330EB86}"/>
              </a:ext>
              <a:ext uri="{C183D7F6-B498-43B3-948B-1728B52AA6E4}">
                <adec:decorative xmlns:adec="http://schemas.microsoft.com/office/drawing/2017/decorative" val="1"/>
              </a:ext>
            </a:extLst>
          </p:cNvPr>
          <p:cNvCxnSpPr>
            <a:cxnSpLocks/>
          </p:cNvCxnSpPr>
          <p:nvPr/>
        </p:nvCxnSpPr>
        <p:spPr>
          <a:xfrm>
            <a:off x="588263" y="2807747"/>
            <a:ext cx="5299178" cy="0"/>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3274D2FA-145D-48E6-E2DE-98868E4B7533}"/>
              </a:ext>
            </a:extLst>
          </p:cNvPr>
          <p:cNvSpPr txBox="1"/>
          <p:nvPr/>
        </p:nvSpPr>
        <p:spPr>
          <a:xfrm>
            <a:off x="588263" y="3315212"/>
            <a:ext cx="5299178" cy="1438855"/>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225B62"/>
                </a:solidFill>
                <a:effectLst/>
                <a:uLnTx/>
                <a:uFillTx/>
                <a:latin typeface="Segoe Sans Display Semibold"/>
                <a:ea typeface="+mn-ea"/>
                <a:cs typeface="+mn-cs"/>
              </a:rPr>
              <a:t>Solution</a:t>
            </a:r>
          </a:p>
          <a:p>
            <a:pPr marL="285750" marR="0" lvl="0" indent="-171450"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Swift collaborated with Microsoft to use federated machine learning techniques and Azure Confidential Compute to build a highly accurate anomaly detection model.</a:t>
            </a:r>
          </a:p>
          <a:p>
            <a:pPr marL="285750" marR="0" lvl="0" indent="-171450"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Their banking partners can securely and compliantly share data to pool their financial intelligence fraud insights  </a:t>
            </a:r>
          </a:p>
        </p:txBody>
      </p:sp>
      <p:cxnSp>
        <p:nvCxnSpPr>
          <p:cNvPr id="63" name="Straight Connector 62">
            <a:extLst>
              <a:ext uri="{FF2B5EF4-FFF2-40B4-BE49-F238E27FC236}">
                <a16:creationId xmlns:a16="http://schemas.microsoft.com/office/drawing/2014/main" id="{DE062229-BC40-53AC-0ADA-891C5C0D351C}"/>
              </a:ext>
              <a:ext uri="{C183D7F6-B498-43B3-948B-1728B52AA6E4}">
                <adec:decorative xmlns:adec="http://schemas.microsoft.com/office/drawing/2017/decorative" val="1"/>
              </a:ext>
            </a:extLst>
          </p:cNvPr>
          <p:cNvCxnSpPr>
            <a:cxnSpLocks/>
          </p:cNvCxnSpPr>
          <p:nvPr/>
        </p:nvCxnSpPr>
        <p:spPr>
          <a:xfrm>
            <a:off x="531663" y="4836762"/>
            <a:ext cx="5299178" cy="0"/>
          </a:xfrm>
          <a:prstGeom prst="line">
            <a:avLst/>
          </a:prstGeom>
          <a:ln w="6350" cap="rnd">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54" name="TextBox 2053">
            <a:extLst>
              <a:ext uri="{FF2B5EF4-FFF2-40B4-BE49-F238E27FC236}">
                <a16:creationId xmlns:a16="http://schemas.microsoft.com/office/drawing/2014/main" id="{AB235FF5-9182-F2BC-1806-18C97296AE74}"/>
              </a:ext>
            </a:extLst>
          </p:cNvPr>
          <p:cNvSpPr txBox="1"/>
          <p:nvPr/>
        </p:nvSpPr>
        <p:spPr>
          <a:xfrm>
            <a:off x="607747" y="5146551"/>
            <a:ext cx="5299178" cy="96949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225B62"/>
                </a:solidFill>
                <a:effectLst/>
                <a:uLnTx/>
                <a:uFillTx/>
                <a:latin typeface="Segoe Sans Display Semibold"/>
                <a:ea typeface="+mn-ea"/>
                <a:cs typeface="+mn-cs"/>
              </a:rPr>
              <a:t>Impact </a:t>
            </a:r>
          </a:p>
          <a:p>
            <a:pPr marL="285750" marR="0" lvl="0" indent="-171450" algn="l" defTabSz="914367"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D2D2D2">
                    <a:lumMod val="10000"/>
                  </a:srgbClr>
                </a:solidFill>
                <a:effectLst/>
                <a:uLnTx/>
                <a:uFillTx/>
                <a:latin typeface="Segoe Sans Text"/>
                <a:ea typeface="+mn-ea"/>
                <a:cs typeface="+mn-cs"/>
              </a:rPr>
              <a:t>The shared vision is that it will become a potent new tool for reducing financial crime while achieving the highest level of security, privacy, and cost efficiency.</a:t>
            </a:r>
          </a:p>
        </p:txBody>
      </p:sp>
      <p:sp>
        <p:nvSpPr>
          <p:cNvPr id="2060" name="Rectangle: Single Corner Rounded 2059">
            <a:extLst>
              <a:ext uri="{FF2B5EF4-FFF2-40B4-BE49-F238E27FC236}">
                <a16:creationId xmlns:a16="http://schemas.microsoft.com/office/drawing/2014/main" id="{8DC54274-D226-C7EF-8D96-9987A0F3E9DF}"/>
              </a:ext>
              <a:ext uri="{C183D7F6-B498-43B3-948B-1728B52AA6E4}">
                <adec:decorative xmlns:adec="http://schemas.microsoft.com/office/drawing/2017/decorative" val="1"/>
              </a:ext>
            </a:extLst>
          </p:cNvPr>
          <p:cNvSpPr/>
          <p:nvPr/>
        </p:nvSpPr>
        <p:spPr bwMode="auto">
          <a:xfrm flipH="1" flipV="1">
            <a:off x="6192240" y="5309427"/>
            <a:ext cx="5999760" cy="1386011"/>
          </a:xfrm>
          <a:prstGeom prst="round1Rect">
            <a:avLst>
              <a:gd name="adj" fmla="val 9751"/>
            </a:avLst>
          </a:prstGeom>
          <a:solidFill>
            <a:schemeClr val="bg1"/>
          </a:solidFill>
          <a:ln w="3175" cap="flat">
            <a:solidFill>
              <a:schemeClr val="bg1">
                <a:lumMod val="95000"/>
              </a:schemeClr>
            </a:solidFill>
            <a:prstDash val="solid"/>
            <a:miter/>
          </a:ln>
          <a:effectLst>
            <a:outerShdw blurRad="50800" dist="38100" dir="8100000" algn="tr" rotWithShape="0">
              <a:prstClr val="black">
                <a:alpha val="5000"/>
              </a:prstClr>
            </a:outerShdw>
          </a:effectLst>
        </p:spPr>
        <p:txBody>
          <a:bodyPr rot="0" spcFirstLastPara="0" vertOverflow="overflow" horzOverflow="overflow" vert="horz" wrap="square" lIns="91440" tIns="45720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err="1">
              <a:ln>
                <a:noFill/>
              </a:ln>
              <a:gradFill flip="none" rotWithShape="1">
                <a:gsLst>
                  <a:gs pos="18000">
                    <a:srgbClr val="091F2C">
                      <a:lumMod val="50000"/>
                      <a:lumOff val="50000"/>
                    </a:srgbClr>
                  </a:gs>
                  <a:gs pos="67000">
                    <a:srgbClr val="091F2C">
                      <a:lumMod val="90000"/>
                      <a:lumOff val="10000"/>
                    </a:srgbClr>
                  </a:gs>
                </a:gsLst>
                <a:path path="circle">
                  <a:fillToRect r="100000" b="100000"/>
                </a:path>
                <a:tileRect l="-100000" t="-100000"/>
              </a:gradFill>
              <a:effectLst/>
              <a:uLnTx/>
              <a:uFillTx/>
              <a:latin typeface="Segoe Sans Display Semibold" pitchFamily="2" charset="0"/>
              <a:ea typeface="+mn-ea"/>
              <a:cs typeface="Segoe Sans Display Semibold" pitchFamily="2" charset="0"/>
            </a:endParaRPr>
          </a:p>
        </p:txBody>
      </p:sp>
      <p:cxnSp>
        <p:nvCxnSpPr>
          <p:cNvPr id="2061" name="Straight Connector 2060">
            <a:extLst>
              <a:ext uri="{FF2B5EF4-FFF2-40B4-BE49-F238E27FC236}">
                <a16:creationId xmlns:a16="http://schemas.microsoft.com/office/drawing/2014/main" id="{33678563-4E0C-196F-6AE1-26AE4227C5D7}"/>
              </a:ext>
              <a:ext uri="{C183D7F6-B498-43B3-948B-1728B52AA6E4}">
                <adec:decorative xmlns:adec="http://schemas.microsoft.com/office/drawing/2017/decorative" val="1"/>
              </a:ext>
            </a:extLst>
          </p:cNvPr>
          <p:cNvCxnSpPr>
            <a:cxnSpLocks/>
          </p:cNvCxnSpPr>
          <p:nvPr/>
        </p:nvCxnSpPr>
        <p:spPr>
          <a:xfrm>
            <a:off x="6191250" y="5303520"/>
            <a:ext cx="6000750" cy="0"/>
          </a:xfrm>
          <a:prstGeom prst="line">
            <a:avLst/>
          </a:prstGeom>
          <a:ln w="57150">
            <a:gradFill flip="none" rotWithShape="1">
              <a:gsLst>
                <a:gs pos="0">
                  <a:schemeClr val="accent3">
                    <a:lumMod val="40000"/>
                    <a:lumOff val="60000"/>
                  </a:schemeClr>
                </a:gs>
                <a:gs pos="100000">
                  <a:srgbClr val="57B9C5"/>
                </a:gs>
              </a:gsLst>
              <a:lin ang="0" scaled="1"/>
              <a:tileRect/>
            </a:gradFill>
            <a:headEnd type="none"/>
            <a:tailEnd type="none"/>
          </a:ln>
          <a:effectLst>
            <a:outerShdw blurRad="50800" dist="38100" dir="2700000" algn="tl" rotWithShape="0">
              <a:srgbClr val="CFCBBB">
                <a:alpha val="40000"/>
              </a:srgbClr>
            </a:outerShdw>
          </a:effectLst>
        </p:spPr>
        <p:style>
          <a:lnRef idx="1">
            <a:schemeClr val="accent1"/>
          </a:lnRef>
          <a:fillRef idx="0">
            <a:schemeClr val="accent1"/>
          </a:fillRef>
          <a:effectRef idx="0">
            <a:schemeClr val="accent1"/>
          </a:effectRef>
          <a:fontRef idx="minor">
            <a:schemeClr val="tx1"/>
          </a:fontRef>
        </p:style>
      </p:cxnSp>
      <p:sp>
        <p:nvSpPr>
          <p:cNvPr id="2062" name="Graphic 16">
            <a:extLst>
              <a:ext uri="{FF2B5EF4-FFF2-40B4-BE49-F238E27FC236}">
                <a16:creationId xmlns:a16="http://schemas.microsoft.com/office/drawing/2014/main" id="{EDDBA2CF-6D00-13DC-FFA9-B5A80819AE99}"/>
              </a:ext>
              <a:ext uri="{C183D7F6-B498-43B3-948B-1728B52AA6E4}">
                <adec:decorative xmlns:adec="http://schemas.microsoft.com/office/drawing/2017/decorative" val="1"/>
              </a:ext>
            </a:extLst>
          </p:cNvPr>
          <p:cNvSpPr>
            <a:spLocks/>
          </p:cNvSpPr>
          <p:nvPr/>
        </p:nvSpPr>
        <p:spPr>
          <a:xfrm>
            <a:off x="6546153" y="5823672"/>
            <a:ext cx="355918" cy="357521"/>
          </a:xfrm>
          <a:custGeom>
            <a:avLst/>
            <a:gdLst>
              <a:gd name="connsiteX0" fmla="*/ 146972 w 293944"/>
              <a:gd name="connsiteY0" fmla="*/ 0 h 293944"/>
              <a:gd name="connsiteX1" fmla="*/ 293944 w 293944"/>
              <a:gd name="connsiteY1" fmla="*/ 146972 h 293944"/>
              <a:gd name="connsiteX2" fmla="*/ 146972 w 293944"/>
              <a:gd name="connsiteY2" fmla="*/ 293944 h 293944"/>
              <a:gd name="connsiteX3" fmla="*/ 0 w 293944"/>
              <a:gd name="connsiteY3" fmla="*/ 146972 h 293944"/>
              <a:gd name="connsiteX4" fmla="*/ 146972 w 293944"/>
              <a:gd name="connsiteY4" fmla="*/ 0 h 293944"/>
              <a:gd name="connsiteX5" fmla="*/ 158451 w 293944"/>
              <a:gd name="connsiteY5" fmla="*/ 80379 h 293944"/>
              <a:gd name="connsiteX6" fmla="*/ 157216 w 293944"/>
              <a:gd name="connsiteY6" fmla="*/ 79306 h 293944"/>
              <a:gd name="connsiteX7" fmla="*/ 144238 w 293944"/>
              <a:gd name="connsiteY7" fmla="*/ 79203 h 293944"/>
              <a:gd name="connsiteX8" fmla="*/ 142857 w 293944"/>
              <a:gd name="connsiteY8" fmla="*/ 80379 h 293944"/>
              <a:gd name="connsiteX9" fmla="*/ 141799 w 293944"/>
              <a:gd name="connsiteY9" fmla="*/ 81614 h 293944"/>
              <a:gd name="connsiteX10" fmla="*/ 141696 w 293944"/>
              <a:gd name="connsiteY10" fmla="*/ 94591 h 293944"/>
              <a:gd name="connsiteX11" fmla="*/ 142872 w 293944"/>
              <a:gd name="connsiteY11" fmla="*/ 95973 h 293944"/>
              <a:gd name="connsiteX12" fmla="*/ 182833 w 293944"/>
              <a:gd name="connsiteY12" fmla="*/ 135949 h 293944"/>
              <a:gd name="connsiteX13" fmla="*/ 84509 w 293944"/>
              <a:gd name="connsiteY13" fmla="*/ 135949 h 293944"/>
              <a:gd name="connsiteX14" fmla="*/ 83010 w 293944"/>
              <a:gd name="connsiteY14" fmla="*/ 136037 h 293944"/>
              <a:gd name="connsiteX15" fmla="*/ 73589 w 293944"/>
              <a:gd name="connsiteY15" fmla="*/ 145473 h 293944"/>
              <a:gd name="connsiteX16" fmla="*/ 73486 w 293944"/>
              <a:gd name="connsiteY16" fmla="*/ 146957 h 293944"/>
              <a:gd name="connsiteX17" fmla="*/ 73589 w 293944"/>
              <a:gd name="connsiteY17" fmla="*/ 148457 h 293944"/>
              <a:gd name="connsiteX18" fmla="*/ 83010 w 293944"/>
              <a:gd name="connsiteY18" fmla="*/ 157877 h 293944"/>
              <a:gd name="connsiteX19" fmla="*/ 84509 w 293944"/>
              <a:gd name="connsiteY19" fmla="*/ 157980 h 293944"/>
              <a:gd name="connsiteX20" fmla="*/ 182833 w 293944"/>
              <a:gd name="connsiteY20" fmla="*/ 157980 h 293944"/>
              <a:gd name="connsiteX21" fmla="*/ 142857 w 293944"/>
              <a:gd name="connsiteY21" fmla="*/ 197957 h 293944"/>
              <a:gd name="connsiteX22" fmla="*/ 141784 w 293944"/>
              <a:gd name="connsiteY22" fmla="*/ 199206 h 293944"/>
              <a:gd name="connsiteX23" fmla="*/ 143989 w 293944"/>
              <a:gd name="connsiteY23" fmla="*/ 214638 h 293944"/>
              <a:gd name="connsiteX24" fmla="*/ 157216 w 293944"/>
              <a:gd name="connsiteY24" fmla="*/ 214638 h 293944"/>
              <a:gd name="connsiteX25" fmla="*/ 158436 w 293944"/>
              <a:gd name="connsiteY25" fmla="*/ 213565 h 293944"/>
              <a:gd name="connsiteX26" fmla="*/ 217254 w 293944"/>
              <a:gd name="connsiteY26" fmla="*/ 154776 h 293944"/>
              <a:gd name="connsiteX27" fmla="*/ 218312 w 293944"/>
              <a:gd name="connsiteY27" fmla="*/ 153527 h 293944"/>
              <a:gd name="connsiteX28" fmla="*/ 218430 w 293944"/>
              <a:gd name="connsiteY28" fmla="*/ 140564 h 293944"/>
              <a:gd name="connsiteX29" fmla="*/ 217254 w 293944"/>
              <a:gd name="connsiteY29" fmla="*/ 139183 h 293944"/>
              <a:gd name="connsiteX30" fmla="*/ 158465 w 293944"/>
              <a:gd name="connsiteY30" fmla="*/ 80379 h 293944"/>
              <a:gd name="connsiteX31" fmla="*/ 157216 w 293944"/>
              <a:gd name="connsiteY31" fmla="*/ 79306 h 293944"/>
              <a:gd name="connsiteX32" fmla="*/ 158451 w 293944"/>
              <a:gd name="connsiteY32" fmla="*/ 80379 h 29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3944" h="293944">
                <a:moveTo>
                  <a:pt x="146972" y="0"/>
                </a:moveTo>
                <a:cubicBezTo>
                  <a:pt x="228159" y="0"/>
                  <a:pt x="293944" y="65799"/>
                  <a:pt x="293944" y="146972"/>
                </a:cubicBezTo>
                <a:cubicBezTo>
                  <a:pt x="293944" y="228145"/>
                  <a:pt x="228159" y="293944"/>
                  <a:pt x="146972" y="293944"/>
                </a:cubicBezTo>
                <a:cubicBezTo>
                  <a:pt x="65814" y="293944"/>
                  <a:pt x="0" y="228145"/>
                  <a:pt x="0" y="146972"/>
                </a:cubicBezTo>
                <a:cubicBezTo>
                  <a:pt x="0" y="65799"/>
                  <a:pt x="65814" y="0"/>
                  <a:pt x="146972" y="0"/>
                </a:cubicBezTo>
                <a:close/>
                <a:moveTo>
                  <a:pt x="158451" y="80379"/>
                </a:moveTo>
                <a:lnTo>
                  <a:pt x="157216" y="79306"/>
                </a:lnTo>
                <a:cubicBezTo>
                  <a:pt x="153371" y="76459"/>
                  <a:pt x="148129" y="76417"/>
                  <a:pt x="144238" y="79203"/>
                </a:cubicBezTo>
                <a:lnTo>
                  <a:pt x="142857" y="80379"/>
                </a:lnTo>
                <a:lnTo>
                  <a:pt x="141799" y="81614"/>
                </a:lnTo>
                <a:cubicBezTo>
                  <a:pt x="138952" y="85459"/>
                  <a:pt x="138911" y="90701"/>
                  <a:pt x="141696" y="94591"/>
                </a:cubicBezTo>
                <a:lnTo>
                  <a:pt x="142872" y="95973"/>
                </a:lnTo>
                <a:lnTo>
                  <a:pt x="182833" y="135949"/>
                </a:lnTo>
                <a:lnTo>
                  <a:pt x="84509" y="135949"/>
                </a:lnTo>
                <a:lnTo>
                  <a:pt x="83010" y="136037"/>
                </a:lnTo>
                <a:cubicBezTo>
                  <a:pt x="78108" y="136712"/>
                  <a:pt x="74255" y="140570"/>
                  <a:pt x="73589" y="145473"/>
                </a:cubicBezTo>
                <a:lnTo>
                  <a:pt x="73486" y="146957"/>
                </a:lnTo>
                <a:lnTo>
                  <a:pt x="73589" y="148457"/>
                </a:lnTo>
                <a:cubicBezTo>
                  <a:pt x="74261" y="153354"/>
                  <a:pt x="78112" y="157204"/>
                  <a:pt x="83010" y="157877"/>
                </a:cubicBezTo>
                <a:lnTo>
                  <a:pt x="84509" y="157980"/>
                </a:lnTo>
                <a:lnTo>
                  <a:pt x="182833" y="157980"/>
                </a:lnTo>
                <a:lnTo>
                  <a:pt x="142857" y="197957"/>
                </a:lnTo>
                <a:lnTo>
                  <a:pt x="141784" y="199206"/>
                </a:lnTo>
                <a:cubicBezTo>
                  <a:pt x="138132" y="204077"/>
                  <a:pt x="139118" y="210986"/>
                  <a:pt x="143989" y="214638"/>
                </a:cubicBezTo>
                <a:cubicBezTo>
                  <a:pt x="147908" y="217577"/>
                  <a:pt x="153296" y="217577"/>
                  <a:pt x="157216" y="214638"/>
                </a:cubicBezTo>
                <a:lnTo>
                  <a:pt x="158436" y="213565"/>
                </a:lnTo>
                <a:lnTo>
                  <a:pt x="217254" y="154776"/>
                </a:lnTo>
                <a:lnTo>
                  <a:pt x="218312" y="153527"/>
                </a:lnTo>
                <a:cubicBezTo>
                  <a:pt x="221156" y="149688"/>
                  <a:pt x="221205" y="144454"/>
                  <a:pt x="218430" y="140564"/>
                </a:cubicBezTo>
                <a:lnTo>
                  <a:pt x="217254" y="139183"/>
                </a:lnTo>
                <a:lnTo>
                  <a:pt x="158465" y="80379"/>
                </a:lnTo>
                <a:lnTo>
                  <a:pt x="157216" y="79306"/>
                </a:lnTo>
                <a:lnTo>
                  <a:pt x="158451" y="80379"/>
                </a:lnTo>
                <a:close/>
              </a:path>
            </a:pathLst>
          </a:custGeom>
          <a:gradFill flip="none" rotWithShape="1">
            <a:gsLst>
              <a:gs pos="0">
                <a:srgbClr val="D4EC8E"/>
              </a:gs>
              <a:gs pos="31000">
                <a:srgbClr val="57B9C5"/>
              </a:gs>
              <a:gs pos="88000">
                <a:srgbClr val="0F656B"/>
              </a:gs>
            </a:gsLst>
            <a:path path="circle">
              <a:fillToRect l="100000" t="100000"/>
            </a:path>
            <a:tileRect r="-100000" b="-100000"/>
          </a:gradFill>
          <a:ln w="9525" cap="flat">
            <a:noFill/>
            <a:prstDash val="solid"/>
            <a:miter/>
          </a:ln>
          <a:effectLst>
            <a:outerShdw blurRad="50800" dist="25400" dir="5400000" algn="t" rotWithShape="0">
              <a:schemeClr val="bg1">
                <a:lumMod val="65000"/>
                <a:alpha val="40000"/>
              </a:scheme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063" name="TextBox 2062">
            <a:extLst>
              <a:ext uri="{FF2B5EF4-FFF2-40B4-BE49-F238E27FC236}">
                <a16:creationId xmlns:a16="http://schemas.microsoft.com/office/drawing/2014/main" id="{FE6E5638-AEDF-EE66-FE5A-EA73E875FE09}"/>
              </a:ext>
            </a:extLst>
          </p:cNvPr>
          <p:cNvSpPr txBox="1"/>
          <p:nvPr/>
        </p:nvSpPr>
        <p:spPr>
          <a:xfrm>
            <a:off x="7067634" y="5685160"/>
            <a:ext cx="4773845" cy="646331"/>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91F2C"/>
                </a:solidFill>
                <a:effectLst/>
                <a:uLnTx/>
                <a:uFillTx/>
                <a:latin typeface="Segoe Sans Text"/>
                <a:ea typeface="+mn-ea"/>
                <a:cs typeface="+mn-cs"/>
                <a:hlinkClick r:id="rId3"/>
              </a:rPr>
              <a:t>Microsoft Customer Story-Swift innovates with Azure confidential computing to help secure global financial transactions</a:t>
            </a:r>
            <a:endParaRPr kumimoji="0" lang="en-US" sz="1400" b="0" i="0" u="none" strike="noStrike" kern="1200" cap="none" spc="0" normalizeH="0" baseline="0" noProof="0">
              <a:ln>
                <a:noFill/>
              </a:ln>
              <a:solidFill>
                <a:srgbClr val="0078D4"/>
              </a:solidFill>
              <a:effectLst/>
              <a:uLnTx/>
              <a:uFillTx/>
              <a:latin typeface="Segoe Sans Display Semibold"/>
              <a:ea typeface="+mn-ea"/>
              <a:cs typeface="+mn-cs"/>
            </a:endParaRPr>
          </a:p>
        </p:txBody>
      </p:sp>
      <p:pic>
        <p:nvPicPr>
          <p:cNvPr id="6" name="Picture 5">
            <a:extLst>
              <a:ext uri="{FF2B5EF4-FFF2-40B4-BE49-F238E27FC236}">
                <a16:creationId xmlns:a16="http://schemas.microsoft.com/office/drawing/2014/main" id="{F4B7C046-78A4-0FCD-91C0-929A0F97DACE}"/>
              </a:ext>
            </a:extLst>
          </p:cNvPr>
          <p:cNvPicPr>
            <a:picLocks noChangeAspect="1"/>
          </p:cNvPicPr>
          <p:nvPr/>
        </p:nvPicPr>
        <p:blipFill>
          <a:blip r:embed="rId4"/>
          <a:stretch>
            <a:fillRect/>
          </a:stretch>
        </p:blipFill>
        <p:spPr>
          <a:xfrm>
            <a:off x="3695700" y="102430"/>
            <a:ext cx="2400300" cy="990600"/>
          </a:xfrm>
          <a:prstGeom prst="rect">
            <a:avLst/>
          </a:prstGeom>
        </p:spPr>
      </p:pic>
      <p:pic>
        <p:nvPicPr>
          <p:cNvPr id="8" name="Picture 7">
            <a:extLst>
              <a:ext uri="{FF2B5EF4-FFF2-40B4-BE49-F238E27FC236}">
                <a16:creationId xmlns:a16="http://schemas.microsoft.com/office/drawing/2014/main" id="{86209FB6-722F-4E11-9981-6C4CA6E0FB22}"/>
              </a:ext>
            </a:extLst>
          </p:cNvPr>
          <p:cNvPicPr>
            <a:picLocks noChangeAspect="1"/>
          </p:cNvPicPr>
          <p:nvPr/>
        </p:nvPicPr>
        <p:blipFill>
          <a:blip r:embed="rId5"/>
          <a:stretch>
            <a:fillRect/>
          </a:stretch>
        </p:blipFill>
        <p:spPr>
          <a:xfrm>
            <a:off x="6191250" y="0"/>
            <a:ext cx="8866041" cy="5389543"/>
          </a:xfrm>
          <a:prstGeom prst="rect">
            <a:avLst/>
          </a:prstGeom>
        </p:spPr>
      </p:pic>
    </p:spTree>
    <p:extLst>
      <p:ext uri="{BB962C8B-B14F-4D97-AF65-F5344CB8AC3E}">
        <p14:creationId xmlns:p14="http://schemas.microsoft.com/office/powerpoint/2010/main" val="12034634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rey rectangle holding picture and title of presenter Erin Rifkin">
            <a:extLst>
              <a:ext uri="{FF2B5EF4-FFF2-40B4-BE49-F238E27FC236}">
                <a16:creationId xmlns:a16="http://schemas.microsoft.com/office/drawing/2014/main" id="{1915F693-6194-6A93-334D-B478AD99310C}"/>
              </a:ext>
              <a:ext uri="{C183D7F6-B498-43B3-948B-1728B52AA6E4}">
                <adec:decorative xmlns:adec="http://schemas.microsoft.com/office/drawing/2017/decorative" val="1"/>
              </a:ext>
            </a:extLst>
          </p:cNvPr>
          <p:cNvSpPr>
            <a:spLocks/>
          </p:cNvSpPr>
          <p:nvPr/>
        </p:nvSpPr>
        <p:spPr>
          <a:xfrm>
            <a:off x="568660" y="921657"/>
            <a:ext cx="11054681" cy="5253150"/>
          </a:xfrm>
          <a:prstGeom prst="roundRect">
            <a:avLst>
              <a:gd name="adj" fmla="val 3526"/>
            </a:avLst>
          </a:prstGeom>
          <a:noFill/>
          <a:ln w="9525">
            <a:solidFill>
              <a:srgbClr val="657076"/>
            </a:solidFill>
            <a:headEnd type="none" w="med" len="med"/>
            <a:tailEnd type="none" w="med" len="med"/>
          </a:ln>
          <a:effectLst>
            <a:outerShdw blurRad="127000" dist="127000" dir="6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91F2C"/>
              </a:solidFill>
              <a:effectLst/>
              <a:uLnTx/>
              <a:uFillTx/>
              <a:latin typeface="Segoe UI Semibold"/>
              <a:ea typeface="+mn-ea"/>
              <a:cs typeface="Segoe UI" pitchFamily="34" charset="0"/>
              <a:sym typeface="Segoe UI"/>
            </a:endParaRPr>
          </a:p>
        </p:txBody>
      </p:sp>
      <p:sp>
        <p:nvSpPr>
          <p:cNvPr id="4" name="Rectangle 3">
            <a:extLst>
              <a:ext uri="{FF2B5EF4-FFF2-40B4-BE49-F238E27FC236}">
                <a16:creationId xmlns:a16="http://schemas.microsoft.com/office/drawing/2014/main" id="{D8384503-599B-450F-EF86-8B2A01C21F3A}"/>
              </a:ext>
              <a:ext uri="{C183D7F6-B498-43B3-948B-1728B52AA6E4}">
                <adec:decorative xmlns:adec="http://schemas.microsoft.com/office/drawing/2017/decorative" val="1"/>
              </a:ext>
            </a:extLst>
          </p:cNvPr>
          <p:cNvSpPr>
            <a:spLocks/>
          </p:cNvSpPr>
          <p:nvPr/>
        </p:nvSpPr>
        <p:spPr bwMode="auto">
          <a:xfrm>
            <a:off x="568660" y="1240461"/>
            <a:ext cx="11054681" cy="4615543"/>
          </a:xfrm>
          <a:prstGeom prst="rect">
            <a:avLst/>
          </a:prstGeom>
          <a:solidFill>
            <a:schemeClr val="bg1">
              <a:lumMod val="85000"/>
              <a:lumOff val="15000"/>
              <a:alpha val="10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Segoe UI Semibold"/>
              <a:ea typeface="+mn-ea"/>
              <a:cs typeface="Segoe UI" pitchFamily="34" charset="0"/>
            </a:endParaRPr>
          </a:p>
        </p:txBody>
      </p:sp>
      <p:sp>
        <p:nvSpPr>
          <p:cNvPr id="5" name="Title 1">
            <a:extLst>
              <a:ext uri="{FF2B5EF4-FFF2-40B4-BE49-F238E27FC236}">
                <a16:creationId xmlns:a16="http://schemas.microsoft.com/office/drawing/2014/main" id="{F6B540A3-3F68-97E4-CD3A-BD33F488E163}"/>
              </a:ext>
            </a:extLst>
          </p:cNvPr>
          <p:cNvSpPr txBox="1">
            <a:spLocks/>
          </p:cNvSpPr>
          <p:nvPr/>
        </p:nvSpPr>
        <p:spPr>
          <a:xfrm>
            <a:off x="1643063" y="2751932"/>
            <a:ext cx="8905875" cy="1354137"/>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Segoe UI Semibold"/>
                <a:ea typeface="+mn-ea"/>
                <a:cs typeface="Segoe UI" pitchFamily="34" charset="0"/>
              </a:rPr>
              <a:t>The potential of AI is clear</a:t>
            </a:r>
            <a:r>
              <a:rPr kumimoji="0" lang="en-US" sz="4400" b="0" i="0" u="none" strike="noStrike" kern="1200" cap="none" spc="-50" normalizeH="0" baseline="0" noProof="0">
                <a:ln w="3175">
                  <a:noFill/>
                </a:ln>
                <a:solidFill>
                  <a:srgbClr val="FFFFFF"/>
                </a:solidFill>
                <a:effectLst/>
                <a:uLnTx/>
                <a:uFillTx/>
                <a:latin typeface="Segoe UI Semibold"/>
                <a:ea typeface="+mn-ea"/>
                <a:cs typeface="Segoe UI" pitchFamily="34" charset="0"/>
              </a:rPr>
              <a:t>…</a:t>
            </a:r>
            <a:br>
              <a:rPr kumimoji="0" lang="en-US" sz="4400" b="0" i="0" u="none" strike="noStrike" kern="1200" cap="none" spc="-50" normalizeH="0" baseline="0" noProof="0">
                <a:ln w="3175">
                  <a:noFill/>
                </a:ln>
                <a:solidFill>
                  <a:srgbClr val="FFFFFF"/>
                </a:solidFill>
                <a:effectLst/>
                <a:uLnTx/>
                <a:uFillTx/>
                <a:latin typeface="Segoe UI Semibold"/>
                <a:ea typeface="+mn-ea"/>
                <a:cs typeface="Segoe UI" pitchFamily="34" charset="0"/>
              </a:rPr>
            </a:br>
            <a:r>
              <a:rPr kumimoji="0" lang="en-US" sz="4400" b="0" i="0" u="none" strike="noStrike" kern="1200" cap="none" spc="-50" normalizeH="0" baseline="0" noProof="0">
                <a:ln w="3175">
                  <a:noFill/>
                </a:ln>
                <a:solidFill>
                  <a:srgbClr val="FFFFFF"/>
                </a:solidFill>
                <a:effectLst/>
                <a:uLnTx/>
                <a:uFillTx/>
                <a:latin typeface="Segoe UI Semibold"/>
                <a:ea typeface="+mn-ea"/>
                <a:cs typeface="Segoe UI" pitchFamily="34" charset="0"/>
              </a:rPr>
              <a:t>the question is </a:t>
            </a:r>
            <a:r>
              <a:rPr kumimoji="0" lang="en-US" sz="4400" b="0" i="0" u="none" strike="noStrike" kern="1200" cap="none" spc="-50" normalizeH="0" baseline="0" noProof="0">
                <a:ln w="3175">
                  <a:noFill/>
                </a:ln>
                <a:gradFill>
                  <a:gsLst>
                    <a:gs pos="25000">
                      <a:srgbClr val="8DC8E8"/>
                    </a:gs>
                    <a:gs pos="75000">
                      <a:srgbClr val="CD98CF"/>
                    </a:gs>
                  </a:gsLst>
                  <a:lin ang="2700000" scaled="0"/>
                </a:gradFill>
                <a:effectLst/>
                <a:uLnTx/>
                <a:uFillTx/>
                <a:latin typeface="Segoe UI Semibold"/>
                <a:ea typeface="+mn-ea"/>
                <a:cs typeface="Segoe UI Semibold" panose="020B0702040204020203" pitchFamily="34" charset="0"/>
              </a:rPr>
              <a:t>what will you build?</a:t>
            </a:r>
          </a:p>
        </p:txBody>
      </p:sp>
      <p:sp>
        <p:nvSpPr>
          <p:cNvPr id="9" name="Grey oval containing warning">
            <a:extLst>
              <a:ext uri="{FF2B5EF4-FFF2-40B4-BE49-F238E27FC236}">
                <a16:creationId xmlns:a16="http://schemas.microsoft.com/office/drawing/2014/main" id="{12122770-9A88-0DAA-382F-2E2029A2C6E3}"/>
              </a:ext>
              <a:ext uri="{C183D7F6-B498-43B3-948B-1728B52AA6E4}">
                <adec:decorative xmlns:adec="http://schemas.microsoft.com/office/drawing/2017/decorative" val="1"/>
              </a:ext>
            </a:extLst>
          </p:cNvPr>
          <p:cNvSpPr/>
          <p:nvPr/>
        </p:nvSpPr>
        <p:spPr>
          <a:xfrm>
            <a:off x="4449883" y="6134300"/>
            <a:ext cx="3292235" cy="91440"/>
          </a:xfrm>
          <a:prstGeom prst="roundRect">
            <a:avLst>
              <a:gd name="adj" fmla="val 50000"/>
            </a:avLst>
          </a:prstGeom>
          <a:gradFill flip="none" rotWithShape="1">
            <a:gsLst>
              <a:gs pos="0">
                <a:srgbClr val="CD9AD0"/>
              </a:gs>
              <a:gs pos="100000">
                <a:srgbClr val="8EC8E8"/>
              </a:gs>
            </a:gsLst>
            <a:lin ang="0" scaled="1"/>
            <a:tileRect/>
          </a:gradFill>
          <a:ln w="12700">
            <a:miter lim="400000"/>
          </a:ln>
          <a:effectLst>
            <a:outerShdw blurRad="254000" dist="50800" dir="2700000" sx="103000" sy="103000" rotWithShape="0">
              <a:srgbClr val="000000">
                <a:alpha val="20000"/>
              </a:srgbClr>
            </a:outerShdw>
          </a:effectLst>
        </p:spPr>
        <p:txBody>
          <a:bodyPr lIns="45718" tIns="45718" rIns="45718" bIns="45718" anchor="ctr"/>
          <a:lstStyle/>
          <a:p>
            <a:pPr marL="0" marR="0" lvl="0" indent="0" algn="ctr" defTabSz="932114" rtl="0" eaLnBrk="1" fontAlgn="auto" latinLnBrk="0" hangingPunct="0">
              <a:lnSpc>
                <a:spcPct val="100000"/>
              </a:lnSpc>
              <a:spcBef>
                <a:spcPts val="0"/>
              </a:spcBef>
              <a:spcAft>
                <a:spcPts val="0"/>
              </a:spcAft>
              <a:buClrTx/>
              <a:buSzTx/>
              <a:buFontTx/>
              <a:buNone/>
              <a:tabLst/>
              <a:defRPr sz="2000">
                <a:gradFill flip="none" rotWithShape="1">
                  <a:gsLst>
                    <a:gs pos="0">
                      <a:srgbClr val="FFFFFF"/>
                    </a:gs>
                    <a:gs pos="100000">
                      <a:srgbClr val="FFFFFF"/>
                    </a:gs>
                  </a:gsLst>
                  <a:lin ang="5400000" scaled="0"/>
                </a:gradFill>
                <a:latin typeface="Segoe UI Semilight"/>
                <a:ea typeface="Segoe UI Semilight"/>
                <a:cs typeface="Segoe UI Semilight"/>
                <a:sym typeface="Segoe UI Semilight"/>
              </a:defRPr>
            </a:pPr>
            <a:endParaRPr kumimoji="0" sz="2000" b="0" i="0" u="none" strike="noStrike" kern="0" cap="none" spc="0" normalizeH="0" baseline="0" noProof="0">
              <a:ln>
                <a:noFill/>
              </a:ln>
              <a:gradFill flip="none" rotWithShape="1">
                <a:gsLst>
                  <a:gs pos="0">
                    <a:srgbClr val="FFFFFF"/>
                  </a:gs>
                  <a:gs pos="100000">
                    <a:srgbClr val="FFFFFF"/>
                  </a:gs>
                </a:gsLst>
                <a:lin ang="5400000" scaled="0"/>
              </a:gradFill>
              <a:effectLst/>
              <a:uLnTx/>
              <a:uFillTx/>
              <a:latin typeface="Segoe UI Semilight"/>
              <a:cs typeface="Segoe UI Semilight"/>
              <a:sym typeface="Segoe UI Semilight"/>
            </a:endParaRPr>
          </a:p>
        </p:txBody>
      </p:sp>
    </p:spTree>
    <p:extLst>
      <p:ext uri="{BB962C8B-B14F-4D97-AF65-F5344CB8AC3E}">
        <p14:creationId xmlns:p14="http://schemas.microsoft.com/office/powerpoint/2010/main" val="4112762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10" presetClass="entr" presetSubtype="0" fill="hold" grpId="0" nodeType="withEffect">
                                  <p:stCondLst>
                                    <p:cond delay="1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42" presetClass="path" presetSubtype="0" decel="100000" fill="hold" grpId="1" nodeType="withEffect">
                                  <p:stCondLst>
                                    <p:cond delay="100"/>
                                  </p:stCondLst>
                                  <p:childTnLst>
                                    <p:animMotion origin="layout" path="M 0 0 L 0 0.03542 " pathEditMode="relative" rAng="0" ptsTypes="AA">
                                      <p:cBhvr>
                                        <p:cTn id="18"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p:bldP spid="5" grpId="1"/>
      <p:bldP spid="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27812-3C24-4A2D-8EA0-39792568453E}"/>
              </a:ext>
            </a:extLst>
          </p:cNvPr>
          <p:cNvSpPr>
            <a:spLocks noGrp="1"/>
          </p:cNvSpPr>
          <p:nvPr>
            <p:ph type="title"/>
          </p:nvPr>
        </p:nvSpPr>
        <p:spPr>
          <a:xfrm>
            <a:off x="1283017" y="2410721"/>
            <a:ext cx="8723647" cy="2303584"/>
          </a:xfrm>
        </p:spPr>
        <p:txBody>
          <a:bodyPr/>
          <a:lstStyle/>
          <a:p>
            <a:pPr algn="ctr"/>
            <a:r>
              <a:rPr lang="en-US" sz="7200" dirty="0">
                <a:solidFill>
                  <a:schemeClr val="accent3"/>
                </a:solidFill>
              </a:rPr>
              <a:t>Thank you</a:t>
            </a:r>
            <a:br>
              <a:rPr lang="en-US" sz="7200" dirty="0">
                <a:solidFill>
                  <a:schemeClr val="accent2"/>
                </a:solidFill>
              </a:rPr>
            </a:br>
            <a:endParaRPr lang="en-US" sz="7200" dirty="0">
              <a:solidFill>
                <a:schemeClr val="accent2"/>
              </a:solidFill>
            </a:endParaRPr>
          </a:p>
        </p:txBody>
      </p:sp>
    </p:spTree>
    <p:extLst>
      <p:ext uri="{BB962C8B-B14F-4D97-AF65-F5344CB8AC3E}">
        <p14:creationId xmlns:p14="http://schemas.microsoft.com/office/powerpoint/2010/main" val="277928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CE0C6736-73A0-5D9A-6F84-CC4BDD5EBC86}"/>
              </a:ext>
              <a:ext uri="{C183D7F6-B498-43B3-948B-1728B52AA6E4}">
                <adec:decorative xmlns:adec="http://schemas.microsoft.com/office/drawing/2017/decorative" val="1"/>
              </a:ext>
            </a:extLst>
          </p:cNvPr>
          <p:cNvSpPr>
            <a:spLocks/>
          </p:cNvSpPr>
          <p:nvPr/>
        </p:nvSpPr>
        <p:spPr bwMode="auto">
          <a:xfrm>
            <a:off x="588264" y="1349829"/>
            <a:ext cx="11018520" cy="4612821"/>
          </a:xfrm>
          <a:prstGeom prst="roundRect">
            <a:avLst>
              <a:gd name="adj" fmla="val 4345"/>
            </a:avLst>
          </a:prstGeom>
          <a:solidFill>
            <a:schemeClr val="bg1"/>
          </a:solidFill>
          <a:ln w="6350">
            <a:solidFill>
              <a:schemeClr val="accent1">
                <a:lumMod val="20000"/>
                <a:lumOff val="80000"/>
                <a:alpha val="50000"/>
              </a:schemeClr>
            </a:solidFill>
            <a:headEnd type="none" w="med" len="med"/>
            <a:tailEnd type="none" w="med" len="med"/>
          </a:ln>
          <a:effectLst>
            <a:outerShdw blurRad="533400" sx="124000" sy="124000" algn="ctr" rotWithShape="0">
              <a:schemeClr val="bg1">
                <a:lumMod val="85000"/>
                <a:alpha val="26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27" name="Picture 26">
            <a:extLst>
              <a:ext uri="{FF2B5EF4-FFF2-40B4-BE49-F238E27FC236}">
                <a16:creationId xmlns:a16="http://schemas.microsoft.com/office/drawing/2014/main" id="{FD93E682-C4B5-6A62-4DE8-01549534E2C5}"/>
              </a:ext>
              <a:ext uri="{C183D7F6-B498-43B3-948B-1728B52AA6E4}">
                <adec:decorative xmlns:adec="http://schemas.microsoft.com/office/drawing/2017/decorative" val="1"/>
              </a:ext>
            </a:extLst>
          </p:cNvPr>
          <p:cNvPicPr>
            <a:picLocks noChangeAspect="1"/>
          </p:cNvPicPr>
          <p:nvPr/>
        </p:nvPicPr>
        <p:blipFill rotWithShape="1">
          <a:blip r:embed="rId3"/>
          <a:srcRect b="62160"/>
          <a:stretch/>
        </p:blipFill>
        <p:spPr>
          <a:xfrm>
            <a:off x="5415" y="4260431"/>
            <a:ext cx="12193057" cy="2597570"/>
          </a:xfrm>
          <a:custGeom>
            <a:avLst/>
            <a:gdLst>
              <a:gd name="connsiteX0" fmla="*/ 0 w 12193057"/>
              <a:gd name="connsiteY0" fmla="*/ 0 h 2597570"/>
              <a:gd name="connsiteX1" fmla="*/ 582846 w 12193057"/>
              <a:gd name="connsiteY1" fmla="*/ 0 h 2597570"/>
              <a:gd name="connsiteX2" fmla="*/ 582846 w 12193057"/>
              <a:gd name="connsiteY2" fmla="*/ 1531519 h 2597570"/>
              <a:gd name="connsiteX3" fmla="*/ 582847 w 12193057"/>
              <a:gd name="connsiteY3" fmla="*/ 1531525 h 2597570"/>
              <a:gd name="connsiteX4" fmla="*/ 582847 w 12193057"/>
              <a:gd name="connsiteY4" fmla="*/ 1548633 h 2597570"/>
              <a:gd name="connsiteX5" fmla="*/ 736433 w 12193057"/>
              <a:gd name="connsiteY5" fmla="*/ 1702219 h 2597570"/>
              <a:gd name="connsiteX6" fmla="*/ 753546 w 12193057"/>
              <a:gd name="connsiteY6" fmla="*/ 1702219 h 2597570"/>
              <a:gd name="connsiteX7" fmla="*/ 3964028 w 12193057"/>
              <a:gd name="connsiteY7" fmla="*/ 1702219 h 2597570"/>
              <a:gd name="connsiteX8" fmla="*/ 4478309 w 12193057"/>
              <a:gd name="connsiteY8" fmla="*/ 1702219 h 2597570"/>
              <a:gd name="connsiteX9" fmla="*/ 7705904 w 12193057"/>
              <a:gd name="connsiteY9" fmla="*/ 1702219 h 2597570"/>
              <a:gd name="connsiteX10" fmla="*/ 8220186 w 12193057"/>
              <a:gd name="connsiteY10" fmla="*/ 1702219 h 2597570"/>
              <a:gd name="connsiteX11" fmla="*/ 11430666 w 12193057"/>
              <a:gd name="connsiteY11" fmla="*/ 1702219 h 2597570"/>
              <a:gd name="connsiteX12" fmla="*/ 11447781 w 12193057"/>
              <a:gd name="connsiteY12" fmla="*/ 1702219 h 2597570"/>
              <a:gd name="connsiteX13" fmla="*/ 11601367 w 12193057"/>
              <a:gd name="connsiteY13" fmla="*/ 1548633 h 2597570"/>
              <a:gd name="connsiteX14" fmla="*/ 11601367 w 12193057"/>
              <a:gd name="connsiteY14" fmla="*/ 0 h 2597570"/>
              <a:gd name="connsiteX15" fmla="*/ 12193057 w 12193057"/>
              <a:gd name="connsiteY15" fmla="*/ 0 h 2597570"/>
              <a:gd name="connsiteX16" fmla="*/ 12193057 w 12193057"/>
              <a:gd name="connsiteY16" fmla="*/ 2597570 h 2597570"/>
              <a:gd name="connsiteX17" fmla="*/ 0 w 12193057"/>
              <a:gd name="connsiteY17" fmla="*/ 2597570 h 2597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057" h="2597570">
                <a:moveTo>
                  <a:pt x="0" y="0"/>
                </a:moveTo>
                <a:lnTo>
                  <a:pt x="582846" y="0"/>
                </a:lnTo>
                <a:lnTo>
                  <a:pt x="582846" y="1531519"/>
                </a:lnTo>
                <a:lnTo>
                  <a:pt x="582847" y="1531525"/>
                </a:lnTo>
                <a:lnTo>
                  <a:pt x="582847" y="1548633"/>
                </a:lnTo>
                <a:cubicBezTo>
                  <a:pt x="582847" y="1633456"/>
                  <a:pt x="651610" y="1702219"/>
                  <a:pt x="736433" y="1702219"/>
                </a:cubicBezTo>
                <a:lnTo>
                  <a:pt x="753546" y="1702219"/>
                </a:lnTo>
                <a:lnTo>
                  <a:pt x="3964028" y="1702219"/>
                </a:lnTo>
                <a:lnTo>
                  <a:pt x="4478309" y="1702219"/>
                </a:lnTo>
                <a:lnTo>
                  <a:pt x="7705904" y="1702219"/>
                </a:lnTo>
                <a:lnTo>
                  <a:pt x="8220186" y="1702219"/>
                </a:lnTo>
                <a:lnTo>
                  <a:pt x="11430666" y="1702219"/>
                </a:lnTo>
                <a:lnTo>
                  <a:pt x="11447781" y="1702219"/>
                </a:lnTo>
                <a:cubicBezTo>
                  <a:pt x="11532604" y="1702219"/>
                  <a:pt x="11601367" y="1633456"/>
                  <a:pt x="11601367" y="1548633"/>
                </a:cubicBezTo>
                <a:lnTo>
                  <a:pt x="11601367" y="0"/>
                </a:lnTo>
                <a:lnTo>
                  <a:pt x="12193057" y="0"/>
                </a:lnTo>
                <a:lnTo>
                  <a:pt x="12193057" y="2597570"/>
                </a:lnTo>
                <a:lnTo>
                  <a:pt x="0" y="2597570"/>
                </a:lnTo>
                <a:close/>
              </a:path>
            </a:pathLst>
          </a:custGeom>
          <a:effectLst>
            <a:outerShdw blurRad="50800" dist="38100" dir="16200000" rotWithShape="0">
              <a:schemeClr val="bg1">
                <a:lumMod val="65000"/>
                <a:alpha val="40000"/>
              </a:schemeClr>
            </a:outerShdw>
          </a:effectLst>
        </p:spPr>
      </p:pic>
      <p:sp>
        <p:nvSpPr>
          <p:cNvPr id="2" name="Title 1">
            <a:extLst>
              <a:ext uri="{FF2B5EF4-FFF2-40B4-BE49-F238E27FC236}">
                <a16:creationId xmlns:a16="http://schemas.microsoft.com/office/drawing/2014/main" id="{6D2CA229-8FF6-50C3-9200-62C19B869E33}"/>
              </a:ext>
            </a:extLst>
          </p:cNvPr>
          <p:cNvSpPr>
            <a:spLocks noGrp="1"/>
          </p:cNvSpPr>
          <p:nvPr>
            <p:ph type="title"/>
          </p:nvPr>
        </p:nvSpPr>
        <p:spPr>
          <a:xfrm>
            <a:off x="588263" y="457200"/>
            <a:ext cx="11018520" cy="492443"/>
          </a:xfrm>
        </p:spPr>
        <p:txBody>
          <a:bodyPr/>
          <a:lstStyle/>
          <a:p>
            <a:r>
              <a:rPr lang="en-US">
                <a:solidFill>
                  <a:srgbClr val="5084D8"/>
                </a:solidFill>
              </a:rPr>
              <a:t>What employees want from AI</a:t>
            </a:r>
          </a:p>
        </p:txBody>
      </p:sp>
      <p:grpSp>
        <p:nvGrpSpPr>
          <p:cNvPr id="21" name="Group 20" descr="A column chart of What employees want from AI that has data Finding info and answers - 86%; Summarizing meetings and action items - 80%; Analytical work - 79%; Admin tasks - 76%; Creative work - 73%; Planning their day - 70%&#10;">
            <a:extLst>
              <a:ext uri="{FF2B5EF4-FFF2-40B4-BE49-F238E27FC236}">
                <a16:creationId xmlns:a16="http://schemas.microsoft.com/office/drawing/2014/main" id="{BDB1B848-0B2C-55D3-2827-5D1EA40BFF07}"/>
              </a:ext>
            </a:extLst>
          </p:cNvPr>
          <p:cNvGrpSpPr/>
          <p:nvPr/>
        </p:nvGrpSpPr>
        <p:grpSpPr>
          <a:xfrm>
            <a:off x="588264" y="1634877"/>
            <a:ext cx="11018520" cy="3912962"/>
            <a:chOff x="588264" y="1884711"/>
            <a:chExt cx="11015474" cy="3912962"/>
          </a:xfrm>
        </p:grpSpPr>
        <p:graphicFrame>
          <p:nvGraphicFramePr>
            <p:cNvPr id="6" name="Chart 5">
              <a:extLst>
                <a:ext uri="{FF2B5EF4-FFF2-40B4-BE49-F238E27FC236}">
                  <a16:creationId xmlns:a16="http://schemas.microsoft.com/office/drawing/2014/main" id="{A150EBD3-9AE8-4D57-F3BF-5C705FCD7F00}"/>
                </a:ext>
              </a:extLst>
            </p:cNvPr>
            <p:cNvGraphicFramePr/>
            <p:nvPr/>
          </p:nvGraphicFramePr>
          <p:xfrm>
            <a:off x="588264" y="1884711"/>
            <a:ext cx="11015474" cy="3223889"/>
          </p:xfrm>
          <a:graphic>
            <a:graphicData uri="http://schemas.openxmlformats.org/drawingml/2006/chart">
              <c:chart xmlns:c="http://schemas.openxmlformats.org/drawingml/2006/chart" xmlns:r="http://schemas.openxmlformats.org/officeDocument/2006/relationships" r:id="rId4"/>
            </a:graphicData>
          </a:graphic>
        </p:graphicFrame>
        <p:pic>
          <p:nvPicPr>
            <p:cNvPr id="7" name="Graphic 6">
              <a:extLst>
                <a:ext uri="{FF2B5EF4-FFF2-40B4-BE49-F238E27FC236}">
                  <a16:creationId xmlns:a16="http://schemas.microsoft.com/office/drawing/2014/main" id="{5B72A093-8A17-B0DB-E070-4DFD7ECB317F}"/>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98436" y="4280055"/>
              <a:ext cx="423301" cy="468460"/>
            </a:xfrm>
            <a:prstGeom prst="rect">
              <a:avLst/>
            </a:prstGeom>
          </p:spPr>
        </p:pic>
        <p:pic>
          <p:nvPicPr>
            <p:cNvPr id="8" name="Graphic 7">
              <a:extLst>
                <a:ext uri="{FF2B5EF4-FFF2-40B4-BE49-F238E27FC236}">
                  <a16:creationId xmlns:a16="http://schemas.microsoft.com/office/drawing/2014/main" id="{2F4F73D4-425C-0278-BDDF-DAD7ED02749A}"/>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4979468" y="4293981"/>
              <a:ext cx="440486" cy="440608"/>
            </a:xfrm>
            <a:prstGeom prst="rect">
              <a:avLst/>
            </a:prstGeom>
          </p:spPr>
        </p:pic>
        <p:pic>
          <p:nvPicPr>
            <p:cNvPr id="9" name="Graphic 8">
              <a:extLst>
                <a:ext uri="{FF2B5EF4-FFF2-40B4-BE49-F238E27FC236}">
                  <a16:creationId xmlns:a16="http://schemas.microsoft.com/office/drawing/2014/main" id="{898179D0-C514-E7A3-38EF-778D0E728CE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752924" y="4243190"/>
              <a:ext cx="472821" cy="537446"/>
            </a:xfrm>
            <a:prstGeom prst="rect">
              <a:avLst/>
            </a:prstGeom>
          </p:spPr>
        </p:pic>
        <p:pic>
          <p:nvPicPr>
            <p:cNvPr id="10" name="Graphic 9">
              <a:extLst>
                <a:ext uri="{FF2B5EF4-FFF2-40B4-BE49-F238E27FC236}">
                  <a16:creationId xmlns:a16="http://schemas.microsoft.com/office/drawing/2014/main" id="{D7801E81-837E-EA4B-95A6-C85F0A2E6A13}"/>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0290710" y="4239016"/>
              <a:ext cx="555748" cy="545794"/>
            </a:xfrm>
            <a:prstGeom prst="rect">
              <a:avLst/>
            </a:prstGeom>
          </p:spPr>
        </p:pic>
        <p:sp>
          <p:nvSpPr>
            <p:cNvPr id="11" name="TextBox 10">
              <a:extLst>
                <a:ext uri="{FF2B5EF4-FFF2-40B4-BE49-F238E27FC236}">
                  <a16:creationId xmlns:a16="http://schemas.microsoft.com/office/drawing/2014/main" id="{8625E257-67A8-FF94-D85B-6187F2B5C0ED}"/>
                </a:ext>
              </a:extLst>
            </p:cNvPr>
            <p:cNvSpPr txBox="1"/>
            <p:nvPr/>
          </p:nvSpPr>
          <p:spPr>
            <a:xfrm>
              <a:off x="741232" y="5151342"/>
              <a:ext cx="1758462" cy="430887"/>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Finding info </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and answers </a:t>
              </a:r>
            </a:p>
          </p:txBody>
        </p:sp>
        <p:sp>
          <p:nvSpPr>
            <p:cNvPr id="12" name="TextBox 11">
              <a:extLst>
                <a:ext uri="{FF2B5EF4-FFF2-40B4-BE49-F238E27FC236}">
                  <a16:creationId xmlns:a16="http://schemas.microsoft.com/office/drawing/2014/main" id="{3DED89E3-1F08-8112-8C20-AFC0BE3D9222}"/>
                </a:ext>
              </a:extLst>
            </p:cNvPr>
            <p:cNvSpPr txBox="1"/>
            <p:nvPr/>
          </p:nvSpPr>
          <p:spPr>
            <a:xfrm>
              <a:off x="2530856" y="5151342"/>
              <a:ext cx="1758462" cy="646331"/>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Summarizing</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meetings and </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action items</a:t>
              </a:r>
            </a:p>
          </p:txBody>
        </p:sp>
        <p:sp>
          <p:nvSpPr>
            <p:cNvPr id="13" name="TextBox 12">
              <a:extLst>
                <a:ext uri="{FF2B5EF4-FFF2-40B4-BE49-F238E27FC236}">
                  <a16:creationId xmlns:a16="http://schemas.microsoft.com/office/drawing/2014/main" id="{8CEC203A-27E5-96F5-A7B5-E8EB70E746B1}"/>
                </a:ext>
              </a:extLst>
            </p:cNvPr>
            <p:cNvSpPr txBox="1"/>
            <p:nvPr/>
          </p:nvSpPr>
          <p:spPr>
            <a:xfrm>
              <a:off x="4320480" y="5151342"/>
              <a:ext cx="1758462" cy="430887"/>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nalytical </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work</a:t>
              </a:r>
            </a:p>
          </p:txBody>
        </p:sp>
        <p:sp>
          <p:nvSpPr>
            <p:cNvPr id="14" name="TextBox 13">
              <a:extLst>
                <a:ext uri="{FF2B5EF4-FFF2-40B4-BE49-F238E27FC236}">
                  <a16:creationId xmlns:a16="http://schemas.microsoft.com/office/drawing/2014/main" id="{0FF1000B-7C33-41F7-F1DE-EF7A198ACC0D}"/>
                </a:ext>
              </a:extLst>
            </p:cNvPr>
            <p:cNvSpPr txBox="1"/>
            <p:nvPr/>
          </p:nvSpPr>
          <p:spPr>
            <a:xfrm>
              <a:off x="6110104" y="5151342"/>
              <a:ext cx="1758462" cy="430887"/>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Admin</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tasks</a:t>
              </a:r>
            </a:p>
          </p:txBody>
        </p:sp>
        <p:sp>
          <p:nvSpPr>
            <p:cNvPr id="15" name="TextBox 14">
              <a:extLst>
                <a:ext uri="{FF2B5EF4-FFF2-40B4-BE49-F238E27FC236}">
                  <a16:creationId xmlns:a16="http://schemas.microsoft.com/office/drawing/2014/main" id="{74DF4BE6-23C4-14C1-9342-5DD0742EEA06}"/>
                </a:ext>
              </a:extLst>
            </p:cNvPr>
            <p:cNvSpPr txBox="1"/>
            <p:nvPr/>
          </p:nvSpPr>
          <p:spPr>
            <a:xfrm>
              <a:off x="7899728" y="5151342"/>
              <a:ext cx="1758462" cy="430887"/>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Creative </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work</a:t>
              </a:r>
            </a:p>
          </p:txBody>
        </p:sp>
        <p:sp>
          <p:nvSpPr>
            <p:cNvPr id="16" name="TextBox 15">
              <a:extLst>
                <a:ext uri="{FF2B5EF4-FFF2-40B4-BE49-F238E27FC236}">
                  <a16:creationId xmlns:a16="http://schemas.microsoft.com/office/drawing/2014/main" id="{21E13CFC-4A9E-18D5-B074-A717306E3423}"/>
                </a:ext>
              </a:extLst>
            </p:cNvPr>
            <p:cNvSpPr txBox="1"/>
            <p:nvPr/>
          </p:nvSpPr>
          <p:spPr>
            <a:xfrm>
              <a:off x="9689353" y="5151342"/>
              <a:ext cx="1758462" cy="430887"/>
            </a:xfrm>
            <a:prstGeom prst="rect">
              <a:avLst/>
            </a:prstGeom>
            <a:noFill/>
          </p:spPr>
          <p:txBody>
            <a:bodyPr wrap="squar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Segoe UI Semibold"/>
                  <a:ea typeface="+mn-ea"/>
                  <a:cs typeface="+mn-cs"/>
                </a:rPr>
                <a:t>Planning </a:t>
              </a:r>
              <a:br>
                <a:rPr kumimoji="0" lang="en-US" sz="1400" b="0" i="0" u="none" strike="noStrike" kern="1200" cap="none" spc="0" normalizeH="0" baseline="0" noProof="0" dirty="0">
                  <a:ln>
                    <a:noFill/>
                  </a:ln>
                  <a:effectLst/>
                  <a:uLnTx/>
                  <a:uFillTx/>
                  <a:latin typeface="Segoe UI Semibold"/>
                  <a:ea typeface="+mn-ea"/>
                  <a:cs typeface="+mn-cs"/>
                </a:rPr>
              </a:br>
              <a:r>
                <a:rPr kumimoji="0" lang="en-US" sz="1400" b="0" i="0" u="none" strike="noStrike" kern="1200" cap="none" spc="0" normalizeH="0" baseline="0" noProof="0" dirty="0">
                  <a:ln>
                    <a:noFill/>
                  </a:ln>
                  <a:effectLst/>
                  <a:uLnTx/>
                  <a:uFillTx/>
                  <a:latin typeface="Segoe UI Semibold"/>
                  <a:ea typeface="+mn-ea"/>
                  <a:cs typeface="+mn-cs"/>
                </a:rPr>
                <a:t>their day </a:t>
              </a:r>
            </a:p>
          </p:txBody>
        </p:sp>
        <p:cxnSp>
          <p:nvCxnSpPr>
            <p:cNvPr id="17" name="Straight Connector 16">
              <a:extLst>
                <a:ext uri="{FF2B5EF4-FFF2-40B4-BE49-F238E27FC236}">
                  <a16:creationId xmlns:a16="http://schemas.microsoft.com/office/drawing/2014/main" id="{98E5F635-87E6-EBBE-AB0F-73925049BCD5}"/>
                </a:ext>
              </a:extLst>
            </p:cNvPr>
            <p:cNvCxnSpPr>
              <a:cxnSpLocks/>
            </p:cNvCxnSpPr>
            <p:nvPr/>
          </p:nvCxnSpPr>
          <p:spPr>
            <a:xfrm>
              <a:off x="666224" y="4971898"/>
              <a:ext cx="10859552" cy="0"/>
            </a:xfrm>
            <a:prstGeom prst="line">
              <a:avLst/>
            </a:prstGeom>
            <a:ln w="9525" cap="rnd">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AFFE83F0-C05C-C75D-E387-7F0F5DC35F43}"/>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1377314" y="4271193"/>
              <a:ext cx="495581" cy="486184"/>
            </a:xfrm>
            <a:prstGeom prst="rect">
              <a:avLst/>
            </a:prstGeom>
          </p:spPr>
        </p:pic>
        <p:pic>
          <p:nvPicPr>
            <p:cNvPr id="19" name="Graphic 18">
              <a:extLst>
                <a:ext uri="{FF2B5EF4-FFF2-40B4-BE49-F238E27FC236}">
                  <a16:creationId xmlns:a16="http://schemas.microsoft.com/office/drawing/2014/main" id="{25B16816-5E9E-F332-29B1-930ACB6260AC}"/>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8517435" y="4238034"/>
              <a:ext cx="556298" cy="547757"/>
            </a:xfrm>
            <a:prstGeom prst="rect">
              <a:avLst/>
            </a:prstGeom>
          </p:spPr>
        </p:pic>
      </p:grpSp>
    </p:spTree>
    <p:extLst>
      <p:ext uri="{BB962C8B-B14F-4D97-AF65-F5344CB8AC3E}">
        <p14:creationId xmlns:p14="http://schemas.microsoft.com/office/powerpoint/2010/main" val="19604268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2.08333E-7 -4.07407E-6 L -2.08333E-7 -0.0331 " pathEditMode="relative" rAng="0" ptsTypes="AA">
                                      <p:cBhvr>
                                        <p:cTn id="9" dur="700" spd="-100000" fill="hold"/>
                                        <p:tgtEl>
                                          <p:spTgt spid="2"/>
                                        </p:tgtEl>
                                        <p:attrNameLst>
                                          <p:attrName>ppt_x</p:attrName>
                                          <p:attrName>ppt_y</p:attrName>
                                        </p:attrNameLst>
                                      </p:cBhvr>
                                      <p:rCtr x="0" y="-1667"/>
                                    </p:animMotion>
                                  </p:childTnLst>
                                </p:cTn>
                              </p:par>
                              <p:par>
                                <p:cTn id="10" presetID="10" presetClass="entr" presetSubtype="0" fill="hold" nodeType="withEffect">
                                  <p:stCondLst>
                                    <p:cond delay="3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nodeType="withEffect">
                                  <p:stCondLst>
                                    <p:cond delay="300"/>
                                  </p:stCondLst>
                                  <p:childTnLst>
                                    <p:animMotion origin="layout" path="M 0 -1.48148E-6 L 0 0.03542 " pathEditMode="relative" rAng="0" ptsTypes="AA">
                                      <p:cBhvr>
                                        <p:cTn id="14" dur="700" spd="-100000" fill="hold"/>
                                        <p:tgtEl>
                                          <p:spTgt spid="21"/>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1C507A-B449-9C96-689D-ECF680EBD04B}"/>
            </a:ext>
          </a:extLst>
        </p:cNvPr>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165EC378-12DD-088B-6639-7B3D5B0FAD1C}"/>
              </a:ext>
              <a:ext uri="{C183D7F6-B498-43B3-948B-1728B52AA6E4}">
                <adec:decorative xmlns:adec="http://schemas.microsoft.com/office/drawing/2017/decorative" val="1"/>
              </a:ext>
            </a:extLst>
          </p:cNvPr>
          <p:cNvCxnSpPr>
            <a:cxnSpLocks/>
          </p:cNvCxnSpPr>
          <p:nvPr/>
        </p:nvCxnSpPr>
        <p:spPr>
          <a:xfrm>
            <a:off x="3379025" y="3205604"/>
            <a:ext cx="0" cy="1925782"/>
          </a:xfrm>
          <a:prstGeom prst="line">
            <a:avLst/>
          </a:prstGeom>
          <a:noFill/>
          <a:ln w="19050">
            <a:solidFill>
              <a:srgbClr val="2E404B"/>
            </a:soli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cxnSp>
      <p:cxnSp>
        <p:nvCxnSpPr>
          <p:cNvPr id="8" name="Straight Connector 7">
            <a:extLst>
              <a:ext uri="{FF2B5EF4-FFF2-40B4-BE49-F238E27FC236}">
                <a16:creationId xmlns:a16="http://schemas.microsoft.com/office/drawing/2014/main" id="{EB4D1300-341F-EBEB-C66C-43C13A98218E}"/>
              </a:ext>
              <a:ext uri="{C183D7F6-B498-43B3-948B-1728B52AA6E4}">
                <adec:decorative xmlns:adec="http://schemas.microsoft.com/office/drawing/2017/decorative" val="1"/>
              </a:ext>
            </a:extLst>
          </p:cNvPr>
          <p:cNvCxnSpPr>
            <a:cxnSpLocks/>
          </p:cNvCxnSpPr>
          <p:nvPr/>
        </p:nvCxnSpPr>
        <p:spPr>
          <a:xfrm>
            <a:off x="6258269" y="3205604"/>
            <a:ext cx="0" cy="1925782"/>
          </a:xfrm>
          <a:prstGeom prst="line">
            <a:avLst/>
          </a:prstGeom>
          <a:noFill/>
          <a:ln w="19050">
            <a:solidFill>
              <a:srgbClr val="2E404B"/>
            </a:soli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28E41E37-6AAA-4AC8-116B-191B578844DC}"/>
              </a:ext>
              <a:ext uri="{C183D7F6-B498-43B3-948B-1728B52AA6E4}">
                <adec:decorative xmlns:adec="http://schemas.microsoft.com/office/drawing/2017/decorative" val="1"/>
              </a:ext>
            </a:extLst>
          </p:cNvPr>
          <p:cNvCxnSpPr>
            <a:cxnSpLocks/>
          </p:cNvCxnSpPr>
          <p:nvPr/>
        </p:nvCxnSpPr>
        <p:spPr>
          <a:xfrm>
            <a:off x="9044453" y="3205604"/>
            <a:ext cx="0" cy="1925782"/>
          </a:xfrm>
          <a:prstGeom prst="line">
            <a:avLst/>
          </a:prstGeom>
          <a:noFill/>
          <a:ln w="19050">
            <a:solidFill>
              <a:srgbClr val="2E404B"/>
            </a:soli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cxnSp>
      <p:sp>
        <p:nvSpPr>
          <p:cNvPr id="15" name="Title 14">
            <a:extLst>
              <a:ext uri="{FF2B5EF4-FFF2-40B4-BE49-F238E27FC236}">
                <a16:creationId xmlns:a16="http://schemas.microsoft.com/office/drawing/2014/main" id="{255C017C-E1B4-5C5D-CB54-8DD85611C9C4}"/>
              </a:ext>
            </a:extLst>
          </p:cNvPr>
          <p:cNvSpPr>
            <a:spLocks noGrp="1"/>
          </p:cNvSpPr>
          <p:nvPr>
            <p:ph type="title"/>
          </p:nvPr>
        </p:nvSpPr>
        <p:spPr>
          <a:xfrm>
            <a:off x="0" y="1410949"/>
            <a:ext cx="12281836"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27940" marR="0" lvl="0" indent="0" algn="ctr" defTabSz="914073" rtl="0" eaLnBrk="1" fontAlgn="base" latinLnBrk="0" hangingPunct="1">
              <a:lnSpc>
                <a:spcPct val="100000"/>
              </a:lnSpc>
              <a:spcBef>
                <a:spcPct val="0"/>
              </a:spcBef>
              <a:spcAft>
                <a:spcPct val="0"/>
              </a:spcAft>
              <a:buClrTx/>
              <a:buSzTx/>
              <a:buFontTx/>
              <a:buNone/>
              <a:tabLst/>
              <a:defRPr/>
            </a:pPr>
            <a:r>
              <a:rPr lang="en-US" sz="4400" b="1" spc="0" dirty="0">
                <a:solidFill>
                  <a:srgbClr val="FFFFFF"/>
                </a:solidFill>
                <a:latin typeface="Segoe UI Semibold"/>
                <a:cs typeface="Segoe UI Semibold"/>
              </a:rPr>
              <a:t>Where do we see AI?</a:t>
            </a:r>
            <a:endParaRPr lang="en-US" sz="4400" dirty="0">
              <a:gradFill>
                <a:gsLst>
                  <a:gs pos="25000">
                    <a:srgbClr val="8DC8E8"/>
                  </a:gs>
                  <a:gs pos="75000">
                    <a:srgbClr val="CD98CF"/>
                  </a:gs>
                </a:gsLst>
                <a:lin ang="2700000" scaled="0"/>
              </a:gradFill>
              <a:latin typeface="Segoe UI Semibold"/>
              <a:ea typeface="+mj-lt"/>
              <a:cs typeface="Segoe UI Semibold" panose="020B0702040204020203" pitchFamily="34" charset="0"/>
            </a:endParaRPr>
          </a:p>
        </p:txBody>
      </p:sp>
      <p:sp>
        <p:nvSpPr>
          <p:cNvPr id="2" name="Rectangle: Rounded Corners 1">
            <a:extLst>
              <a:ext uri="{FF2B5EF4-FFF2-40B4-BE49-F238E27FC236}">
                <a16:creationId xmlns:a16="http://schemas.microsoft.com/office/drawing/2014/main" id="{21BCE86D-7A41-CC87-F27B-399E7D502E3D}"/>
              </a:ext>
              <a:ext uri="{C183D7F6-B498-43B3-948B-1728B52AA6E4}">
                <adec:decorative xmlns:adec="http://schemas.microsoft.com/office/drawing/2017/decorative" val="1"/>
              </a:ext>
            </a:extLst>
          </p:cNvPr>
          <p:cNvSpPr/>
          <p:nvPr/>
        </p:nvSpPr>
        <p:spPr bwMode="auto">
          <a:xfrm>
            <a:off x="588263" y="2884806"/>
            <a:ext cx="11018520" cy="2567379"/>
          </a:xfrm>
          <a:prstGeom prst="roundRect">
            <a:avLst>
              <a:gd name="adj" fmla="val 5785"/>
            </a:avLst>
          </a:prstGeom>
          <a:noFill/>
          <a:ln w="19050">
            <a:solidFill>
              <a:srgbClr val="2E404B"/>
            </a:solidFill>
            <a:headEnd type="none" w="med" len="med"/>
            <a:tailEnd type="none" w="med" len="med"/>
          </a:ln>
          <a:effectLst>
            <a:outerShdw blurRad="63500" dist="127000" dir="2700000" algn="tl" rotWithShape="0">
              <a:prstClr val="black">
                <a:alpha val="5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ts val="1200"/>
              </a:spcBef>
              <a:spcAft>
                <a:spcPct val="0"/>
              </a:spcAft>
              <a:buClrTx/>
              <a:buSzTx/>
              <a:buFontTx/>
              <a:buNone/>
              <a:tabLst/>
              <a:defRPr/>
            </a:pPr>
            <a:endParaRPr kumimoji="0" lang="en-US" sz="2800" b="0" i="0" u="none" strike="noStrike" kern="1200" cap="none" spc="0" normalizeH="0" baseline="0" noProof="0">
              <a:ln>
                <a:noFill/>
              </a:ln>
              <a:gradFill>
                <a:gsLst>
                  <a:gs pos="0">
                    <a:srgbClr val="8DC8E8"/>
                  </a:gs>
                  <a:gs pos="100000">
                    <a:srgbClr val="8DC8E8"/>
                  </a:gs>
                </a:gsLst>
                <a:lin ang="18900000" scaled="1"/>
              </a:gradFill>
              <a:effectLst/>
              <a:uLnTx/>
              <a:uFillTx/>
              <a:latin typeface="Segoe UI Semibold"/>
              <a:ea typeface="+mn-ea"/>
              <a:cs typeface="Segoe UI" pitchFamily="34" charset="0"/>
            </a:endParaRPr>
          </a:p>
        </p:txBody>
      </p:sp>
      <p:sp>
        <p:nvSpPr>
          <p:cNvPr id="16" name="engage">
            <a:extLst>
              <a:ext uri="{FF2B5EF4-FFF2-40B4-BE49-F238E27FC236}">
                <a16:creationId xmlns:a16="http://schemas.microsoft.com/office/drawing/2014/main" id="{5E0752B4-91FD-7C12-DED5-08703D0FCC40}"/>
              </a:ext>
            </a:extLst>
          </p:cNvPr>
          <p:cNvSpPr/>
          <p:nvPr/>
        </p:nvSpPr>
        <p:spPr bwMode="auto">
          <a:xfrm>
            <a:off x="1004678" y="2548127"/>
            <a:ext cx="2060276" cy="615553"/>
          </a:xfrm>
          <a:prstGeom prst="rect">
            <a:avLst/>
          </a:prstGeom>
          <a:solidFill>
            <a:srgbClr val="091F2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8DC8E8"/>
                    </a:gs>
                    <a:gs pos="100000">
                      <a:srgbClr val="8DC8E8"/>
                    </a:gs>
                  </a:gsLst>
                  <a:lin ang="16200000" scaled="1"/>
                </a:gradFill>
                <a:effectLst/>
                <a:uLnTx/>
                <a:uFillTx/>
                <a:latin typeface="Segoe UI Semibold"/>
                <a:ea typeface="+mn-ea"/>
                <a:cs typeface="Segoe UI" panose="020B0502040204020203" pitchFamily="34" charset="0"/>
              </a:rPr>
              <a:t>Enrich</a:t>
            </a: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employee experiences</a:t>
            </a:r>
          </a:p>
        </p:txBody>
      </p:sp>
      <p:sp>
        <p:nvSpPr>
          <p:cNvPr id="18" name="transform">
            <a:extLst>
              <a:ext uri="{FF2B5EF4-FFF2-40B4-BE49-F238E27FC236}">
                <a16:creationId xmlns:a16="http://schemas.microsoft.com/office/drawing/2014/main" id="{163DB514-F67B-9615-32E3-05D17C75496E}"/>
              </a:ext>
            </a:extLst>
          </p:cNvPr>
          <p:cNvSpPr/>
          <p:nvPr/>
        </p:nvSpPr>
        <p:spPr bwMode="auto">
          <a:xfrm>
            <a:off x="3693096" y="2548127"/>
            <a:ext cx="2251102" cy="615553"/>
          </a:xfrm>
          <a:prstGeom prst="rect">
            <a:avLst/>
          </a:prstGeom>
          <a:solidFill>
            <a:srgbClr val="091F2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8DC8E8"/>
                    </a:gs>
                    <a:gs pos="100000">
                      <a:srgbClr val="8DC8E8"/>
                    </a:gs>
                  </a:gsLst>
                  <a:lin ang="16200000" scaled="1"/>
                </a:gradFill>
                <a:effectLst/>
                <a:uLnTx/>
                <a:uFillTx/>
                <a:latin typeface="Segoe UI Semibold"/>
                <a:ea typeface="+mn-ea"/>
                <a:cs typeface="Segoe UI" panose="020B0502040204020203" pitchFamily="34" charset="0"/>
              </a:rPr>
              <a:t>Reinvent</a:t>
            </a: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customer engagement</a:t>
            </a:r>
          </a:p>
        </p:txBody>
      </p:sp>
      <p:sp>
        <p:nvSpPr>
          <p:cNvPr id="20" name="optimize">
            <a:extLst>
              <a:ext uri="{FF2B5EF4-FFF2-40B4-BE49-F238E27FC236}">
                <a16:creationId xmlns:a16="http://schemas.microsoft.com/office/drawing/2014/main" id="{DD1E3126-D119-77E4-B480-973DAD5BBF3B}"/>
              </a:ext>
            </a:extLst>
          </p:cNvPr>
          <p:cNvSpPr/>
          <p:nvPr/>
        </p:nvSpPr>
        <p:spPr bwMode="auto">
          <a:xfrm>
            <a:off x="6572340" y="2548127"/>
            <a:ext cx="2158042" cy="615553"/>
          </a:xfrm>
          <a:prstGeom prst="rect">
            <a:avLst/>
          </a:prstGeom>
          <a:solidFill>
            <a:srgbClr val="091F2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8DC8E8"/>
                    </a:gs>
                    <a:gs pos="100000">
                      <a:srgbClr val="8DC8E8"/>
                    </a:gs>
                  </a:gsLst>
                  <a:lin ang="16200000" scaled="1"/>
                </a:gradFill>
                <a:effectLst/>
                <a:uLnTx/>
                <a:uFillTx/>
                <a:latin typeface="Segoe UI Semibold"/>
                <a:ea typeface="+mn-ea"/>
                <a:cs typeface="Segoe UI" panose="020B0502040204020203" pitchFamily="34" charset="0"/>
              </a:rPr>
              <a:t>Reshape</a:t>
            </a: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 business processes</a:t>
            </a:r>
          </a:p>
        </p:txBody>
      </p:sp>
      <p:sp>
        <p:nvSpPr>
          <p:cNvPr id="28" name="Rectangle 27">
            <a:extLst>
              <a:ext uri="{FF2B5EF4-FFF2-40B4-BE49-F238E27FC236}">
                <a16:creationId xmlns:a16="http://schemas.microsoft.com/office/drawing/2014/main" id="{A8B8B8F5-19E1-925E-643E-4C3E61D5D310}"/>
              </a:ext>
              <a:ext uri="{C183D7F6-B498-43B3-948B-1728B52AA6E4}">
                <adec:decorative xmlns:adec="http://schemas.microsoft.com/office/drawing/2017/decorative" val="1"/>
              </a:ext>
            </a:extLst>
          </p:cNvPr>
          <p:cNvSpPr/>
          <p:nvPr/>
        </p:nvSpPr>
        <p:spPr bwMode="auto">
          <a:xfrm>
            <a:off x="0" y="3340100"/>
            <a:ext cx="12192000" cy="1549400"/>
          </a:xfrm>
          <a:prstGeom prst="rect">
            <a:avLst/>
          </a:prstGeom>
          <a:gradFill>
            <a:gsLst>
              <a:gs pos="52000">
                <a:srgbClr val="A191FF">
                  <a:alpha val="40000"/>
                </a:srgbClr>
              </a:gs>
              <a:gs pos="0">
                <a:srgbClr val="43A1FF">
                  <a:alpha val="20000"/>
                </a:srgbClr>
              </a:gs>
              <a:gs pos="100000">
                <a:srgbClr val="FF81FF">
                  <a:alpha val="60000"/>
                </a:srgbClr>
              </a:gs>
            </a:gsLst>
            <a:lin ang="189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2" name="empower">
            <a:extLst>
              <a:ext uri="{FF2B5EF4-FFF2-40B4-BE49-F238E27FC236}">
                <a16:creationId xmlns:a16="http://schemas.microsoft.com/office/drawing/2014/main" id="{7F51AF5A-1C5D-99B0-441F-8D75C7C254CF}"/>
              </a:ext>
            </a:extLst>
          </p:cNvPr>
          <p:cNvSpPr/>
          <p:nvPr/>
        </p:nvSpPr>
        <p:spPr bwMode="auto">
          <a:xfrm>
            <a:off x="9358522" y="2548127"/>
            <a:ext cx="1828800" cy="615553"/>
          </a:xfrm>
          <a:prstGeom prst="rect">
            <a:avLst/>
          </a:prstGeom>
          <a:solidFill>
            <a:srgbClr val="091F2C"/>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gradFill>
                  <a:gsLst>
                    <a:gs pos="0">
                      <a:srgbClr val="8DC8E8"/>
                    </a:gs>
                    <a:gs pos="100000">
                      <a:srgbClr val="8DC8E8"/>
                    </a:gs>
                  </a:gsLst>
                  <a:lin ang="16200000" scaled="1"/>
                </a:gradFill>
                <a:effectLst/>
                <a:uLnTx/>
                <a:uFillTx/>
                <a:latin typeface="Segoe UI Semibold"/>
                <a:ea typeface="+mn-ea"/>
                <a:cs typeface="Segoe UI" panose="020B0502040204020203" pitchFamily="34" charset="0"/>
              </a:rPr>
              <a:t>Bend the curve </a:t>
            </a:r>
            <a:b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on innovation</a:t>
            </a:r>
          </a:p>
        </p:txBody>
      </p:sp>
      <p:sp>
        <p:nvSpPr>
          <p:cNvPr id="3" name="TextBox 2">
            <a:extLst>
              <a:ext uri="{FF2B5EF4-FFF2-40B4-BE49-F238E27FC236}">
                <a16:creationId xmlns:a16="http://schemas.microsoft.com/office/drawing/2014/main" id="{D592C2E3-F76F-C3C0-A1F5-9CA9957844A9}"/>
              </a:ext>
            </a:extLst>
          </p:cNvPr>
          <p:cNvSpPr txBox="1"/>
          <p:nvPr/>
        </p:nvSpPr>
        <p:spPr>
          <a:xfrm>
            <a:off x="1474565" y="3447826"/>
            <a:ext cx="1120500"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Segoe UI Semibold"/>
                <a:ea typeface="+mn-ea"/>
                <a:cs typeface="+mn-cs"/>
              </a:rPr>
              <a:t>41%</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7" name="Rectangle 6">
            <a:extLst>
              <a:ext uri="{FF2B5EF4-FFF2-40B4-BE49-F238E27FC236}">
                <a16:creationId xmlns:a16="http://schemas.microsoft.com/office/drawing/2014/main" id="{D020CF30-0ADE-4ABC-408B-6F367A5AE8C1}"/>
              </a:ext>
              <a:ext uri="{C183D7F6-B498-43B3-948B-1728B52AA6E4}">
                <adec:decorative xmlns:adec="http://schemas.microsoft.com/office/drawing/2017/decorative" val="1"/>
              </a:ext>
            </a:extLst>
          </p:cNvPr>
          <p:cNvSpPr/>
          <p:nvPr/>
        </p:nvSpPr>
        <p:spPr bwMode="auto">
          <a:xfrm>
            <a:off x="1282700" y="5132533"/>
            <a:ext cx="1549400" cy="673346"/>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10" name="TextBox 9">
            <a:extLst>
              <a:ext uri="{FF2B5EF4-FFF2-40B4-BE49-F238E27FC236}">
                <a16:creationId xmlns:a16="http://schemas.microsoft.com/office/drawing/2014/main" id="{11E0E002-015E-E331-A50D-B049B24D48CC}"/>
              </a:ext>
            </a:extLst>
          </p:cNvPr>
          <p:cNvSpPr txBox="1"/>
          <p:nvPr/>
        </p:nvSpPr>
        <p:spPr>
          <a:xfrm>
            <a:off x="3858737" y="3463241"/>
            <a:ext cx="1919821"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Segoe UI Semibold"/>
                <a:ea typeface="+mn-ea"/>
                <a:cs typeface="+mn-cs"/>
              </a:rPr>
              <a:t>24 </a:t>
            </a:r>
            <a:r>
              <a:rPr kumimoji="0" lang="en-US" sz="3200" b="0" i="0" u="none" strike="noStrike" kern="1200" cap="none" spc="0" normalizeH="0" baseline="0" noProof="0">
                <a:ln>
                  <a:noFill/>
                </a:ln>
                <a:solidFill>
                  <a:srgbClr val="FFFFFF"/>
                </a:solidFill>
                <a:effectLst/>
                <a:uLnTx/>
                <a:uFillTx/>
                <a:latin typeface="Segoe UI Semibold"/>
                <a:ea typeface="+mn-ea"/>
                <a:cs typeface="+mn-cs"/>
              </a:rPr>
              <a:t>hours</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1" name="TextBox 10">
            <a:extLst>
              <a:ext uri="{FF2B5EF4-FFF2-40B4-BE49-F238E27FC236}">
                <a16:creationId xmlns:a16="http://schemas.microsoft.com/office/drawing/2014/main" id="{00B9F312-3352-D24C-BF93-19AE362858FA}"/>
              </a:ext>
            </a:extLst>
          </p:cNvPr>
          <p:cNvSpPr txBox="1"/>
          <p:nvPr/>
        </p:nvSpPr>
        <p:spPr>
          <a:xfrm>
            <a:off x="7062300" y="3463241"/>
            <a:ext cx="1189428"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Segoe UI Semibold"/>
                <a:ea typeface="+mn-ea"/>
                <a:cs typeface="+mn-cs"/>
              </a:rPr>
              <a:t>70%</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2" name="TextBox 11">
            <a:extLst>
              <a:ext uri="{FF2B5EF4-FFF2-40B4-BE49-F238E27FC236}">
                <a16:creationId xmlns:a16="http://schemas.microsoft.com/office/drawing/2014/main" id="{1D9A5F4A-69B9-4E84-E0E9-9F2DC7ED388C}"/>
              </a:ext>
            </a:extLst>
          </p:cNvPr>
          <p:cNvSpPr txBox="1"/>
          <p:nvPr/>
        </p:nvSpPr>
        <p:spPr>
          <a:xfrm>
            <a:off x="9808710" y="3447826"/>
            <a:ext cx="1202253" cy="73866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rgbClr val="FFFFFF"/>
                </a:solidFill>
                <a:effectLst/>
                <a:uLnTx/>
                <a:uFillTx/>
                <a:latin typeface="Segoe UI Semibold"/>
                <a:ea typeface="+mn-ea"/>
                <a:cs typeface="+mn-cs"/>
              </a:rPr>
              <a:t>98%</a:t>
            </a:r>
            <a:endParaRPr kumimoji="0" lang="en-US" sz="20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13" name="TextBox 12">
            <a:extLst>
              <a:ext uri="{FF2B5EF4-FFF2-40B4-BE49-F238E27FC236}">
                <a16:creationId xmlns:a16="http://schemas.microsoft.com/office/drawing/2014/main" id="{0A2051EF-A418-9D1E-3435-B7744ED04CBD}"/>
              </a:ext>
            </a:extLst>
          </p:cNvPr>
          <p:cNvSpPr txBox="1"/>
          <p:nvPr/>
        </p:nvSpPr>
        <p:spPr>
          <a:xfrm>
            <a:off x="816696" y="4238763"/>
            <a:ext cx="24362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increase in search &amp; response quality </a:t>
            </a:r>
            <a:r>
              <a:rPr lang="en-US" sz="1400">
                <a:solidFill>
                  <a:srgbClr val="FFFFFF"/>
                </a:solidFill>
                <a:latin typeface="Segoe UI"/>
              </a:rPr>
              <a:t>to increase productivity</a:t>
            </a:r>
            <a:endParaRPr kumimoji="0" lang="en-US" sz="14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TextBox 16">
            <a:extLst>
              <a:ext uri="{FF2B5EF4-FFF2-40B4-BE49-F238E27FC236}">
                <a16:creationId xmlns:a16="http://schemas.microsoft.com/office/drawing/2014/main" id="{0FBE4740-A9A2-5518-E1F9-C4280CB22628}"/>
              </a:ext>
            </a:extLst>
          </p:cNvPr>
          <p:cNvSpPr txBox="1"/>
          <p:nvPr/>
        </p:nvSpPr>
        <p:spPr>
          <a:xfrm>
            <a:off x="3809435" y="4251731"/>
            <a:ext cx="1919821"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Healthcare staff time saved weekly</a:t>
            </a:r>
          </a:p>
        </p:txBody>
      </p:sp>
      <p:sp>
        <p:nvSpPr>
          <p:cNvPr id="19" name="TextBox 18">
            <a:extLst>
              <a:ext uri="{FF2B5EF4-FFF2-40B4-BE49-F238E27FC236}">
                <a16:creationId xmlns:a16="http://schemas.microsoft.com/office/drawing/2014/main" id="{FD04807D-54F1-FC96-43BE-609081974B73}"/>
              </a:ext>
            </a:extLst>
          </p:cNvPr>
          <p:cNvSpPr txBox="1"/>
          <p:nvPr/>
        </p:nvSpPr>
        <p:spPr>
          <a:xfrm>
            <a:off x="6482124" y="4251731"/>
            <a:ext cx="2338474"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faster investigations into financial crime &amp; risk</a:t>
            </a:r>
          </a:p>
        </p:txBody>
      </p:sp>
      <p:sp>
        <p:nvSpPr>
          <p:cNvPr id="21" name="TextBox 20">
            <a:extLst>
              <a:ext uri="{FF2B5EF4-FFF2-40B4-BE49-F238E27FC236}">
                <a16:creationId xmlns:a16="http://schemas.microsoft.com/office/drawing/2014/main" id="{C7B13B05-DFD3-C2F5-5E9E-D28CBF987346}"/>
              </a:ext>
            </a:extLst>
          </p:cNvPr>
          <p:cNvSpPr txBox="1"/>
          <p:nvPr/>
        </p:nvSpPr>
        <p:spPr>
          <a:xfrm>
            <a:off x="9274428" y="4238763"/>
            <a:ext cx="227081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f initial development work done by Copilot</a:t>
            </a:r>
          </a:p>
        </p:txBody>
      </p:sp>
      <p:pic>
        <p:nvPicPr>
          <p:cNvPr id="6" name="Picture 2" descr="KPMG logo">
            <a:hlinkClick r:id="" action="ppaction://noaction"/>
            <a:extLst>
              <a:ext uri="{FF2B5EF4-FFF2-40B4-BE49-F238E27FC236}">
                <a16:creationId xmlns:a16="http://schemas.microsoft.com/office/drawing/2014/main" id="{E50668C2-972F-339F-B08D-B9D1C3A805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98032" y="5167190"/>
            <a:ext cx="1267935" cy="512642"/>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7928DAD2-8971-EB14-54B5-7EB776C8C1AC}"/>
              </a:ext>
              <a:ext uri="{C183D7F6-B498-43B3-948B-1728B52AA6E4}">
                <adec:decorative xmlns:adec="http://schemas.microsoft.com/office/drawing/2017/decorative" val="1"/>
              </a:ext>
            </a:extLst>
          </p:cNvPr>
          <p:cNvSpPr/>
          <p:nvPr/>
        </p:nvSpPr>
        <p:spPr bwMode="auto">
          <a:xfrm>
            <a:off x="3994642" y="5074516"/>
            <a:ext cx="1549400" cy="673346"/>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23" name="Graphic 2" descr="NHS logo">
            <a:hlinkClick r:id="" action="ppaction://noaction"/>
            <a:extLst>
              <a:ext uri="{FF2B5EF4-FFF2-40B4-BE49-F238E27FC236}">
                <a16:creationId xmlns:a16="http://schemas.microsoft.com/office/drawing/2014/main" id="{03EA8AB1-06C2-E58A-746D-C760B95C82D8}"/>
              </a:ext>
            </a:extLst>
          </p:cNvPr>
          <p:cNvPicPr>
            <a:picLocks noChangeAspect="1"/>
          </p:cNvPicPr>
          <p:nvPr/>
        </p:nvPicPr>
        <p:blipFill>
          <a:blip r:embed="rId4">
            <a:clrChange>
              <a:clrFrom>
                <a:srgbClr val="005EB8"/>
              </a:clrFrom>
              <a:clrTo>
                <a:srgbClr val="005EB8">
                  <a:alpha val="0"/>
                </a:srgbClr>
              </a:clrTo>
            </a:clrChange>
            <a:extLst>
              <a:ext uri="{28A0092B-C50C-407E-A947-70E740481C1C}">
                <a14:useLocalDpi xmlns:a14="http://schemas.microsoft.com/office/drawing/2010/main" val="0"/>
              </a:ext>
            </a:extLst>
          </a:blip>
          <a:srcRect/>
          <a:stretch/>
        </p:blipFill>
        <p:spPr>
          <a:xfrm>
            <a:off x="4131269" y="5176158"/>
            <a:ext cx="1276145" cy="515942"/>
          </a:xfrm>
          <a:prstGeom prst="rect">
            <a:avLst/>
          </a:prstGeom>
        </p:spPr>
      </p:pic>
      <p:sp>
        <p:nvSpPr>
          <p:cNvPr id="24" name="Rectangle 23">
            <a:extLst>
              <a:ext uri="{FF2B5EF4-FFF2-40B4-BE49-F238E27FC236}">
                <a16:creationId xmlns:a16="http://schemas.microsoft.com/office/drawing/2014/main" id="{831D035F-8189-CABE-6D2B-6521137B1530}"/>
              </a:ext>
              <a:ext uri="{C183D7F6-B498-43B3-948B-1728B52AA6E4}">
                <adec:decorative xmlns:adec="http://schemas.microsoft.com/office/drawing/2017/decorative" val="1"/>
              </a:ext>
            </a:extLst>
          </p:cNvPr>
          <p:cNvSpPr/>
          <p:nvPr/>
        </p:nvSpPr>
        <p:spPr bwMode="auto">
          <a:xfrm>
            <a:off x="6876661" y="5131386"/>
            <a:ext cx="1549400" cy="673346"/>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D39F4A3A-14BA-5824-D325-EC0745F3B09B}"/>
              </a:ext>
              <a:ext uri="{C183D7F6-B498-43B3-948B-1728B52AA6E4}">
                <adec:decorative xmlns:adec="http://schemas.microsoft.com/office/drawing/2017/decorative" val="1"/>
              </a:ext>
            </a:extLst>
          </p:cNvPr>
          <p:cNvSpPr/>
          <p:nvPr/>
        </p:nvSpPr>
        <p:spPr bwMode="auto">
          <a:xfrm>
            <a:off x="9900883" y="5131386"/>
            <a:ext cx="1008417" cy="673346"/>
          </a:xfrm>
          <a:prstGeom prst="rect">
            <a:avLst/>
          </a:prstGeom>
          <a:solidFill>
            <a:srgbClr val="091F2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91F2C"/>
              </a:solidFill>
              <a:effectLst/>
              <a:uLnTx/>
              <a:uFillTx/>
              <a:latin typeface="Segoe UI"/>
              <a:ea typeface="Segoe UI" pitchFamily="34" charset="0"/>
              <a:cs typeface="Segoe UI" pitchFamily="34" charset="0"/>
            </a:endParaRPr>
          </a:p>
        </p:txBody>
      </p:sp>
      <p:pic>
        <p:nvPicPr>
          <p:cNvPr id="26" name="Picture 2" descr="About SymphonyAI Retail | CPG - SymphonyAI">
            <a:hlinkClick r:id="" action="ppaction://noaction"/>
            <a:extLst>
              <a:ext uri="{FF2B5EF4-FFF2-40B4-BE49-F238E27FC236}">
                <a16:creationId xmlns:a16="http://schemas.microsoft.com/office/drawing/2014/main" id="{B78C1F40-4B3B-A935-BF2E-FA95B875712C}"/>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734457" y="5170707"/>
            <a:ext cx="1833807" cy="76561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General Motors New Logo PNG | Vector - FREE Vector Design - Cdr, Ai, EPS,  PNG, SVG">
            <a:hlinkClick r:id="" action="ppaction://noaction"/>
            <a:extLst>
              <a:ext uri="{FF2B5EF4-FFF2-40B4-BE49-F238E27FC236}">
                <a16:creationId xmlns:a16="http://schemas.microsoft.com/office/drawing/2014/main" id="{A790AF5F-245E-2A25-FF28-A9C1A9DC90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52659" y="5074516"/>
            <a:ext cx="730216" cy="7302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493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path" presetSubtype="0" decel="100000" fill="hold" grpId="1" nodeType="withEffect">
                                  <p:stCondLst>
                                    <p:cond delay="200"/>
                                  </p:stCondLst>
                                  <p:childTnLst>
                                    <p:animMotion origin="layout" path="M 2.91667E-6 4.07407E-6 L 2.91667E-6 0.03541 " pathEditMode="relative" rAng="0" ptsTypes="AA">
                                      <p:cBhvr>
                                        <p:cTn id="9" dur="700" spd="-100000" fill="hold"/>
                                        <p:tgtEl>
                                          <p:spTgt spid="16"/>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200"/>
                                  </p:stCondLst>
                                  <p:childTnLst>
                                    <p:animMotion origin="layout" path="M -2.29167E-6 4.07407E-6 L -2.29167E-6 0.03541 " pathEditMode="relative" rAng="0" ptsTypes="AA">
                                      <p:cBhvr>
                                        <p:cTn id="14" dur="700" spd="-100000" fill="hold"/>
                                        <p:tgtEl>
                                          <p:spTgt spid="18"/>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42" presetClass="path" presetSubtype="0" decel="100000" fill="hold" grpId="1" nodeType="withEffect">
                                  <p:stCondLst>
                                    <p:cond delay="200"/>
                                  </p:stCondLst>
                                  <p:childTnLst>
                                    <p:animMotion origin="layout" path="M -3.95833E-6 4.07407E-6 L -3.95833E-6 0.03541 " pathEditMode="relative" rAng="0" ptsTypes="AA">
                                      <p:cBhvr>
                                        <p:cTn id="19" dur="700" spd="-100000" fill="hold"/>
                                        <p:tgtEl>
                                          <p:spTgt spid="20"/>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par>
                                <p:cTn id="23" presetID="42" presetClass="path" presetSubtype="0" decel="100000" fill="hold" grpId="1" nodeType="withEffect">
                                  <p:stCondLst>
                                    <p:cond delay="200"/>
                                  </p:stCondLst>
                                  <p:childTnLst>
                                    <p:animMotion origin="layout" path="M 1.875E-6 4.07407E-6 L 1.875E-6 0.03541 " pathEditMode="relative" rAng="0" ptsTypes="AA">
                                      <p:cBhvr>
                                        <p:cTn id="24" dur="700" spd="-100000" fill="hold"/>
                                        <p:tgtEl>
                                          <p:spTgt spid="22"/>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grpId="1" nodeType="withEffect">
                                  <p:stCondLst>
                                    <p:cond delay="100"/>
                                  </p:stCondLst>
                                  <p:childTnLst>
                                    <p:animMotion origin="layout" path="M -2.08333E-7 1.11111E-6 L -2.08333E-7 0.03542 " pathEditMode="relative" rAng="0" ptsTypes="AA">
                                      <p:cBhvr>
                                        <p:cTn id="29" dur="700" spd="-100000" fill="hold"/>
                                        <p:tgtEl>
                                          <p:spTgt spid="15"/>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par>
                                <p:cTn id="33" presetID="42" presetClass="path" presetSubtype="0" decel="100000" fill="hold" grpId="1" nodeType="withEffect">
                                  <p:stCondLst>
                                    <p:cond delay="200"/>
                                  </p:stCondLst>
                                  <p:childTnLst>
                                    <p:animMotion origin="layout" path="M -2.08333E-7 3.7037E-7 L -2.08333E-7 0.03542 " pathEditMode="relative" rAng="0" ptsTypes="AA">
                                      <p:cBhvr>
                                        <p:cTn id="34" dur="700" spd="-100000" fill="hold"/>
                                        <p:tgtEl>
                                          <p:spTgt spid="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2" grpId="0" animBg="1"/>
      <p:bldP spid="2" grpId="1" animBg="1"/>
      <p:bldP spid="16" grpId="0" animBg="1"/>
      <p:bldP spid="16" grpId="1" animBg="1"/>
      <p:bldP spid="18" grpId="0" animBg="1"/>
      <p:bldP spid="18" grpId="1" animBg="1"/>
      <p:bldP spid="20" grpId="0" animBg="1"/>
      <p:bldP spid="20" grpId="1" animBg="1"/>
      <p:bldP spid="22" grpId="0" animBg="1"/>
      <p:bldP spid="22"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Rectangle 454">
            <a:extLst>
              <a:ext uri="{FF2B5EF4-FFF2-40B4-BE49-F238E27FC236}">
                <a16:creationId xmlns:a16="http://schemas.microsoft.com/office/drawing/2014/main" id="{7B512AEF-B2A0-2479-7667-A41DBDBC31AD}"/>
              </a:ext>
              <a:ext uri="{C183D7F6-B498-43B3-948B-1728B52AA6E4}">
                <adec:decorative xmlns:adec="http://schemas.microsoft.com/office/drawing/2017/decorative" val="1"/>
              </a:ext>
            </a:extLst>
          </p:cNvPr>
          <p:cNvSpPr/>
          <p:nvPr/>
        </p:nvSpPr>
        <p:spPr bwMode="auto">
          <a:xfrm>
            <a:off x="0" y="3733800"/>
            <a:ext cx="12192000" cy="2840038"/>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1" name="Rectangle: Rounded Corners 510">
            <a:extLst>
              <a:ext uri="{FF2B5EF4-FFF2-40B4-BE49-F238E27FC236}">
                <a16:creationId xmlns:a16="http://schemas.microsoft.com/office/drawing/2014/main" id="{A8EE8812-A5A1-4FE1-6A43-1A67E53D6E7B}"/>
              </a:ext>
              <a:ext uri="{C183D7F6-B498-43B3-948B-1728B52AA6E4}">
                <adec:decorative xmlns:adec="http://schemas.microsoft.com/office/drawing/2017/decorative" val="1"/>
              </a:ext>
            </a:extLst>
          </p:cNvPr>
          <p:cNvSpPr>
            <a:spLocks/>
          </p:cNvSpPr>
          <p:nvPr/>
        </p:nvSpPr>
        <p:spPr bwMode="auto">
          <a:xfrm>
            <a:off x="8029527"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456" name="Rectangle: Rounded Corners 455">
            <a:extLst>
              <a:ext uri="{FF2B5EF4-FFF2-40B4-BE49-F238E27FC236}">
                <a16:creationId xmlns:a16="http://schemas.microsoft.com/office/drawing/2014/main" id="{EAE8CAF9-F000-78D5-D75C-F4D5555A5BF5}"/>
              </a:ext>
              <a:ext uri="{C183D7F6-B498-43B3-948B-1728B52AA6E4}">
                <adec:decorative xmlns:adec="http://schemas.microsoft.com/office/drawing/2017/decorative" val="1"/>
              </a:ext>
            </a:extLst>
          </p:cNvPr>
          <p:cNvSpPr>
            <a:spLocks/>
          </p:cNvSpPr>
          <p:nvPr/>
        </p:nvSpPr>
        <p:spPr bwMode="auto">
          <a:xfrm>
            <a:off x="4306863"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510" name="Rectangle: Rounded Corners 509">
            <a:extLst>
              <a:ext uri="{FF2B5EF4-FFF2-40B4-BE49-F238E27FC236}">
                <a16:creationId xmlns:a16="http://schemas.microsoft.com/office/drawing/2014/main" id="{2C3782B2-895F-8B92-85C1-02D29DB9BD9E}"/>
              </a:ext>
              <a:ext uri="{C183D7F6-B498-43B3-948B-1728B52AA6E4}">
                <adec:decorative xmlns:adec="http://schemas.microsoft.com/office/drawing/2017/decorative" val="1"/>
              </a:ext>
            </a:extLst>
          </p:cNvPr>
          <p:cNvSpPr>
            <a:spLocks/>
          </p:cNvSpPr>
          <p:nvPr/>
        </p:nvSpPr>
        <p:spPr bwMode="auto">
          <a:xfrm>
            <a:off x="584200"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E0E2FD27-71CE-4213-8C74-51D3BB2F40B8}"/>
              </a:ext>
            </a:extLst>
          </p:cNvPr>
          <p:cNvSpPr>
            <a:spLocks noGrp="1"/>
          </p:cNvSpPr>
          <p:nvPr>
            <p:ph type="title"/>
            <p:custDataLst>
              <p:tags r:id="rId1"/>
            </p:custDataLst>
          </p:nvPr>
        </p:nvSpPr>
        <p:spPr>
          <a:xfrm>
            <a:off x="588263" y="457200"/>
            <a:ext cx="11018520" cy="492443"/>
          </a:xfrm>
        </p:spPr>
        <p:txBody>
          <a:bodyPr/>
          <a:lstStyle/>
          <a:p>
            <a:pPr algn="l"/>
            <a:r>
              <a:rPr lang="en-US"/>
              <a:t>AI Transforming Healthcare Ecosystem</a:t>
            </a:r>
          </a:p>
        </p:txBody>
      </p:sp>
      <p:pic>
        <p:nvPicPr>
          <p:cNvPr id="12" name="Picture 11" descr="Two individuals observing a computer screen displaying a scanned imaged of a brain">
            <a:extLst>
              <a:ext uri="{FF2B5EF4-FFF2-40B4-BE49-F238E27FC236}">
                <a16:creationId xmlns:a16="http://schemas.microsoft.com/office/drawing/2014/main" id="{958B5D24-68CA-F59C-6682-55F398319B10}"/>
              </a:ext>
            </a:extLst>
          </p:cNvPr>
          <p:cNvPicPr>
            <a:picLocks/>
          </p:cNvPicPr>
          <p:nvPr/>
        </p:nvPicPr>
        <p:blipFill rotWithShape="1">
          <a:blip r:embed="rId4" cstate="screen">
            <a:extLst>
              <a:ext uri="{28A0092B-C50C-407E-A947-70E740481C1C}">
                <a14:useLocalDpi xmlns:a14="http://schemas.microsoft.com/office/drawing/2010/main"/>
              </a:ext>
            </a:extLst>
          </a:blip>
          <a:srcRect l="10515" r="10515"/>
          <a:stretch/>
        </p:blipFill>
        <p:spPr>
          <a:xfrm>
            <a:off x="679450" y="1809069"/>
            <a:ext cx="3386186" cy="3169582"/>
          </a:xfrm>
          <a:prstGeom prst="roundRect">
            <a:avLst>
              <a:gd name="adj" fmla="val 4912"/>
            </a:avLst>
          </a:prstGeom>
        </p:spPr>
      </p:pic>
      <p:sp>
        <p:nvSpPr>
          <p:cNvPr id="458" name="Rectangle 457">
            <a:extLst>
              <a:ext uri="{FF2B5EF4-FFF2-40B4-BE49-F238E27FC236}">
                <a16:creationId xmlns:a16="http://schemas.microsoft.com/office/drawing/2014/main" id="{9D09A31A-8005-66C5-DAD6-5A213D3E9299}"/>
              </a:ext>
            </a:extLst>
          </p:cNvPr>
          <p:cNvSpPr>
            <a:spLocks/>
          </p:cNvSpPr>
          <p:nvPr/>
        </p:nvSpPr>
        <p:spPr bwMode="auto">
          <a:xfrm>
            <a:off x="1025322" y="5382159"/>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ccelerate clinical research, intelligence &amp; productivity</a:t>
            </a:r>
          </a:p>
        </p:txBody>
      </p:sp>
      <p:pic>
        <p:nvPicPr>
          <p:cNvPr id="5" name="Picture 4" descr="Two healthcare professional showing a patient a tablet">
            <a:extLst>
              <a:ext uri="{FF2B5EF4-FFF2-40B4-BE49-F238E27FC236}">
                <a16:creationId xmlns:a16="http://schemas.microsoft.com/office/drawing/2014/main" id="{69AD830A-3930-79F9-8FEF-031D6550489C}"/>
              </a:ext>
            </a:extLst>
          </p:cNvPr>
          <p:cNvPicPr>
            <a:picLocks/>
          </p:cNvPicPr>
          <p:nvPr/>
        </p:nvPicPr>
        <p:blipFill rotWithShape="1">
          <a:blip r:embed="rId5"/>
          <a:srcRect l="10394" r="19309"/>
          <a:stretch/>
        </p:blipFill>
        <p:spPr>
          <a:xfrm>
            <a:off x="4402113" y="1809069"/>
            <a:ext cx="3386186" cy="3169582"/>
          </a:xfrm>
          <a:prstGeom prst="roundRect">
            <a:avLst>
              <a:gd name="adj" fmla="val 4912"/>
            </a:avLst>
          </a:prstGeom>
        </p:spPr>
      </p:pic>
      <p:sp>
        <p:nvSpPr>
          <p:cNvPr id="457" name="Rectangle 456">
            <a:extLst>
              <a:ext uri="{FF2B5EF4-FFF2-40B4-BE49-F238E27FC236}">
                <a16:creationId xmlns:a16="http://schemas.microsoft.com/office/drawing/2014/main" id="{CA36A03D-0D56-5F52-2499-BDE46CE0ECA4}"/>
              </a:ext>
            </a:extLst>
          </p:cNvPr>
          <p:cNvSpPr>
            <a:spLocks/>
          </p:cNvSpPr>
          <p:nvPr/>
        </p:nvSpPr>
        <p:spPr bwMode="auto">
          <a:xfrm>
            <a:off x="4747986" y="5382159"/>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mpower </a:t>
            </a:r>
            <a:b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b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clinical teams to focus on patient outcome</a:t>
            </a:r>
          </a:p>
        </p:txBody>
      </p:sp>
      <p:pic>
        <p:nvPicPr>
          <p:cNvPr id="8" name="Picture 7" descr="A person looking at a monitor displaying a CT scan">
            <a:extLst>
              <a:ext uri="{FF2B5EF4-FFF2-40B4-BE49-F238E27FC236}">
                <a16:creationId xmlns:a16="http://schemas.microsoft.com/office/drawing/2014/main" id="{FEB7534E-8106-323A-2F57-3843EB2C638E}"/>
              </a:ext>
            </a:extLst>
          </p:cNvPr>
          <p:cNvPicPr>
            <a:picLocks/>
          </p:cNvPicPr>
          <p:nvPr/>
        </p:nvPicPr>
        <p:blipFill rotWithShape="1">
          <a:blip r:embed="rId6">
            <a:alphaModFix/>
          </a:blip>
          <a:srcRect l="22693" r="7349"/>
          <a:stretch/>
        </p:blipFill>
        <p:spPr>
          <a:xfrm>
            <a:off x="8124777" y="1819517"/>
            <a:ext cx="3386186" cy="3169582"/>
          </a:xfrm>
          <a:prstGeom prst="roundRect">
            <a:avLst>
              <a:gd name="adj" fmla="val 4912"/>
            </a:avLst>
          </a:prstGeom>
        </p:spPr>
      </p:pic>
      <p:sp>
        <p:nvSpPr>
          <p:cNvPr id="459" name="Rectangle 458">
            <a:extLst>
              <a:ext uri="{FF2B5EF4-FFF2-40B4-BE49-F238E27FC236}">
                <a16:creationId xmlns:a16="http://schemas.microsoft.com/office/drawing/2014/main" id="{D8EB23FF-2918-2369-B632-307F1B098F28}"/>
              </a:ext>
            </a:extLst>
          </p:cNvPr>
          <p:cNvSpPr>
            <a:spLocks/>
          </p:cNvSpPr>
          <p:nvPr/>
        </p:nvSpPr>
        <p:spPr bwMode="auto">
          <a:xfrm>
            <a:off x="8470649" y="5382159"/>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Accelerate innovation across Pharma &amp; MedTech</a:t>
            </a:r>
          </a:p>
        </p:txBody>
      </p:sp>
    </p:spTree>
    <p:extLst>
      <p:ext uri="{BB962C8B-B14F-4D97-AF65-F5344CB8AC3E}">
        <p14:creationId xmlns:p14="http://schemas.microsoft.com/office/powerpoint/2010/main" val="700987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8"/>
                                        </p:tgtEl>
                                        <p:attrNameLst>
                                          <p:attrName>style.visibility</p:attrName>
                                        </p:attrNameLst>
                                      </p:cBhvr>
                                      <p:to>
                                        <p:strVal val="visible"/>
                                      </p:to>
                                    </p:set>
                                    <p:animEffect transition="in" filter="fade">
                                      <p:cBhvr>
                                        <p:cTn id="7" dur="500"/>
                                        <p:tgtEl>
                                          <p:spTgt spid="4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7"/>
                                        </p:tgtEl>
                                        <p:attrNameLst>
                                          <p:attrName>style.visibility</p:attrName>
                                        </p:attrNameLst>
                                      </p:cBhvr>
                                      <p:to>
                                        <p:strVal val="visible"/>
                                      </p:to>
                                    </p:set>
                                    <p:animEffect transition="in" filter="fade">
                                      <p:cBhvr>
                                        <p:cTn id="10" dur="500"/>
                                        <p:tgtEl>
                                          <p:spTgt spid="4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9"/>
                                        </p:tgtEl>
                                        <p:attrNameLst>
                                          <p:attrName>style.visibility</p:attrName>
                                        </p:attrNameLst>
                                      </p:cBhvr>
                                      <p:to>
                                        <p:strVal val="visible"/>
                                      </p:to>
                                    </p:set>
                                    <p:animEffect transition="in" filter="fade">
                                      <p:cBhvr>
                                        <p:cTn id="13" dur="50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 grpId="0"/>
      <p:bldP spid="457" grpId="0"/>
      <p:bldP spid="45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Rectangle 454">
            <a:extLst>
              <a:ext uri="{FF2B5EF4-FFF2-40B4-BE49-F238E27FC236}">
                <a16:creationId xmlns:a16="http://schemas.microsoft.com/office/drawing/2014/main" id="{7B512AEF-B2A0-2479-7667-A41DBDBC31AD}"/>
              </a:ext>
              <a:ext uri="{C183D7F6-B498-43B3-948B-1728B52AA6E4}">
                <adec:decorative xmlns:adec="http://schemas.microsoft.com/office/drawing/2017/decorative" val="1"/>
              </a:ext>
            </a:extLst>
          </p:cNvPr>
          <p:cNvSpPr/>
          <p:nvPr/>
        </p:nvSpPr>
        <p:spPr bwMode="auto">
          <a:xfrm>
            <a:off x="0" y="3733800"/>
            <a:ext cx="12192000" cy="2840038"/>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1" name="Rectangle: Rounded Corners 510">
            <a:extLst>
              <a:ext uri="{FF2B5EF4-FFF2-40B4-BE49-F238E27FC236}">
                <a16:creationId xmlns:a16="http://schemas.microsoft.com/office/drawing/2014/main" id="{A8EE8812-A5A1-4FE1-6A43-1A67E53D6E7B}"/>
              </a:ext>
              <a:ext uri="{C183D7F6-B498-43B3-948B-1728B52AA6E4}">
                <adec:decorative xmlns:adec="http://schemas.microsoft.com/office/drawing/2017/decorative" val="1"/>
              </a:ext>
            </a:extLst>
          </p:cNvPr>
          <p:cNvSpPr>
            <a:spLocks/>
          </p:cNvSpPr>
          <p:nvPr/>
        </p:nvSpPr>
        <p:spPr bwMode="auto">
          <a:xfrm>
            <a:off x="8029527"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456" name="Rectangle: Rounded Corners 455">
            <a:extLst>
              <a:ext uri="{FF2B5EF4-FFF2-40B4-BE49-F238E27FC236}">
                <a16:creationId xmlns:a16="http://schemas.microsoft.com/office/drawing/2014/main" id="{EAE8CAF9-F000-78D5-D75C-F4D5555A5BF5}"/>
              </a:ext>
              <a:ext uri="{C183D7F6-B498-43B3-948B-1728B52AA6E4}">
                <adec:decorative xmlns:adec="http://schemas.microsoft.com/office/drawing/2017/decorative" val="1"/>
              </a:ext>
            </a:extLst>
          </p:cNvPr>
          <p:cNvSpPr>
            <a:spLocks/>
          </p:cNvSpPr>
          <p:nvPr/>
        </p:nvSpPr>
        <p:spPr bwMode="auto">
          <a:xfrm>
            <a:off x="4306863"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510" name="Rectangle: Rounded Corners 509">
            <a:extLst>
              <a:ext uri="{FF2B5EF4-FFF2-40B4-BE49-F238E27FC236}">
                <a16:creationId xmlns:a16="http://schemas.microsoft.com/office/drawing/2014/main" id="{2C3782B2-895F-8B92-85C1-02D29DB9BD9E}"/>
              </a:ext>
              <a:ext uri="{C183D7F6-B498-43B3-948B-1728B52AA6E4}">
                <adec:decorative xmlns:adec="http://schemas.microsoft.com/office/drawing/2017/decorative" val="1"/>
              </a:ext>
            </a:extLst>
          </p:cNvPr>
          <p:cNvSpPr>
            <a:spLocks/>
          </p:cNvSpPr>
          <p:nvPr/>
        </p:nvSpPr>
        <p:spPr bwMode="auto">
          <a:xfrm>
            <a:off x="584200"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E0E2FD27-71CE-4213-8C74-51D3BB2F40B8}"/>
              </a:ext>
            </a:extLst>
          </p:cNvPr>
          <p:cNvSpPr>
            <a:spLocks noGrp="1"/>
          </p:cNvSpPr>
          <p:nvPr>
            <p:ph type="title"/>
            <p:custDataLst>
              <p:tags r:id="rId1"/>
            </p:custDataLst>
          </p:nvPr>
        </p:nvSpPr>
        <p:spPr>
          <a:xfrm>
            <a:off x="588263" y="457200"/>
            <a:ext cx="11018520" cy="492443"/>
          </a:xfrm>
        </p:spPr>
        <p:txBody>
          <a:bodyPr/>
          <a:lstStyle/>
          <a:p>
            <a:pPr algn="l"/>
            <a:r>
              <a:rPr lang="en-US"/>
              <a:t>AI is Reinventing Financial Services</a:t>
            </a:r>
            <a:endParaRPr lang="en-US">
              <a:solidFill>
                <a:srgbClr val="FF0000"/>
              </a:solidFill>
            </a:endParaRPr>
          </a:p>
        </p:txBody>
      </p:sp>
      <p:sp>
        <p:nvSpPr>
          <p:cNvPr id="458" name="Rectangle 457">
            <a:extLst>
              <a:ext uri="{FF2B5EF4-FFF2-40B4-BE49-F238E27FC236}">
                <a16:creationId xmlns:a16="http://schemas.microsoft.com/office/drawing/2014/main" id="{9D09A31A-8005-66C5-DAD6-5A213D3E9299}"/>
              </a:ext>
            </a:extLst>
          </p:cNvPr>
          <p:cNvSpPr>
            <a:spLocks/>
          </p:cNvSpPr>
          <p:nvPr/>
        </p:nvSpPr>
        <p:spPr bwMode="auto">
          <a:xfrm>
            <a:off x="1025322" y="5382159"/>
            <a:ext cx="2694441"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mpowering Financial Advisors &amp; Brokers</a:t>
            </a:r>
          </a:p>
        </p:txBody>
      </p:sp>
      <p:sp>
        <p:nvSpPr>
          <p:cNvPr id="457" name="Rectangle 456">
            <a:extLst>
              <a:ext uri="{FF2B5EF4-FFF2-40B4-BE49-F238E27FC236}">
                <a16:creationId xmlns:a16="http://schemas.microsoft.com/office/drawing/2014/main" id="{CA36A03D-0D56-5F52-2499-BDE46CE0ECA4}"/>
              </a:ext>
            </a:extLst>
          </p:cNvPr>
          <p:cNvSpPr>
            <a:spLocks/>
          </p:cNvSpPr>
          <p:nvPr/>
        </p:nvSpPr>
        <p:spPr bwMode="auto">
          <a:xfrm>
            <a:off x="4747986" y="5382159"/>
            <a:ext cx="2694441"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nhancing Contact Center Experiences</a:t>
            </a:r>
          </a:p>
        </p:txBody>
      </p:sp>
      <p:sp>
        <p:nvSpPr>
          <p:cNvPr id="459" name="Rectangle 458">
            <a:extLst>
              <a:ext uri="{FF2B5EF4-FFF2-40B4-BE49-F238E27FC236}">
                <a16:creationId xmlns:a16="http://schemas.microsoft.com/office/drawing/2014/main" id="{D8EB23FF-2918-2369-B632-307F1B098F28}"/>
              </a:ext>
            </a:extLst>
          </p:cNvPr>
          <p:cNvSpPr>
            <a:spLocks/>
          </p:cNvSpPr>
          <p:nvPr/>
        </p:nvSpPr>
        <p:spPr bwMode="auto">
          <a:xfrm>
            <a:off x="8470649" y="5551196"/>
            <a:ext cx="2694441" cy="307777"/>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Know Your Product </a:t>
            </a:r>
          </a:p>
        </p:txBody>
      </p:sp>
      <p:pic>
        <p:nvPicPr>
          <p:cNvPr id="9" name="Picture 8" descr="A person looking at a tablet&#10;&#10;Description automatically generated">
            <a:extLst>
              <a:ext uri="{FF2B5EF4-FFF2-40B4-BE49-F238E27FC236}">
                <a16:creationId xmlns:a16="http://schemas.microsoft.com/office/drawing/2014/main" id="{0463CA87-58B4-944F-3ED5-EB4774A5B4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26" t="14978" r="42654" b="12222"/>
          <a:stretch/>
        </p:blipFill>
        <p:spPr>
          <a:xfrm>
            <a:off x="646649" y="1904522"/>
            <a:ext cx="3360914" cy="2958414"/>
          </a:xfrm>
          <a:prstGeom prst="roundRect">
            <a:avLst>
              <a:gd name="adj" fmla="val 5284"/>
            </a:avLst>
          </a:prstGeom>
        </p:spPr>
      </p:pic>
      <p:pic>
        <p:nvPicPr>
          <p:cNvPr id="10" name="Picture 9" descr="People collaborating together and pointing to data in a tablet">
            <a:extLst>
              <a:ext uri="{FF2B5EF4-FFF2-40B4-BE49-F238E27FC236}">
                <a16:creationId xmlns:a16="http://schemas.microsoft.com/office/drawing/2014/main" id="{45D2A764-DB96-D102-DEB6-3C9CB07C8279}"/>
              </a:ext>
              <a:ext uri="{C183D7F6-B498-43B3-948B-1728B52AA6E4}">
                <adec:decorative xmlns:adec="http://schemas.microsoft.com/office/drawing/2017/decorative" val="0"/>
              </a:ext>
            </a:extLst>
          </p:cNvPr>
          <p:cNvPicPr>
            <a:picLocks noChangeAspect="1"/>
          </p:cNvPicPr>
          <p:nvPr/>
        </p:nvPicPr>
        <p:blipFill rotWithShape="1">
          <a:blip r:embed="rId5"/>
          <a:srcRect t="9528" r="26466" b="9528"/>
          <a:stretch/>
        </p:blipFill>
        <p:spPr>
          <a:xfrm>
            <a:off x="8118976" y="1926664"/>
            <a:ext cx="3426375" cy="3014528"/>
          </a:xfrm>
          <a:custGeom>
            <a:avLst/>
            <a:gdLst>
              <a:gd name="connsiteX0" fmla="*/ 113999 w 2613718"/>
              <a:gd name="connsiteY0" fmla="*/ 0 h 1690931"/>
              <a:gd name="connsiteX1" fmla="*/ 2499719 w 2613718"/>
              <a:gd name="connsiteY1" fmla="*/ 0 h 1690931"/>
              <a:gd name="connsiteX2" fmla="*/ 2613718 w 2613718"/>
              <a:gd name="connsiteY2" fmla="*/ 118365 h 1690931"/>
              <a:gd name="connsiteX3" fmla="*/ 2613718 w 2613718"/>
              <a:gd name="connsiteY3" fmla="*/ 1572566 h 1690931"/>
              <a:gd name="connsiteX4" fmla="*/ 2499719 w 2613718"/>
              <a:gd name="connsiteY4" fmla="*/ 1690931 h 1690931"/>
              <a:gd name="connsiteX5" fmla="*/ 113999 w 2613718"/>
              <a:gd name="connsiteY5" fmla="*/ 1690931 h 1690931"/>
              <a:gd name="connsiteX6" fmla="*/ 0 w 2613718"/>
              <a:gd name="connsiteY6" fmla="*/ 1572566 h 1690931"/>
              <a:gd name="connsiteX7" fmla="*/ 0 w 2613718"/>
              <a:gd name="connsiteY7" fmla="*/ 118365 h 1690931"/>
              <a:gd name="connsiteX8" fmla="*/ 113999 w 2613718"/>
              <a:gd name="connsiteY8" fmla="*/ 0 h 169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13718" h="1690931">
                <a:moveTo>
                  <a:pt x="113999" y="0"/>
                </a:moveTo>
                <a:lnTo>
                  <a:pt x="2499719" y="0"/>
                </a:lnTo>
                <a:cubicBezTo>
                  <a:pt x="2562679" y="0"/>
                  <a:pt x="2613718" y="52994"/>
                  <a:pt x="2613718" y="118365"/>
                </a:cubicBezTo>
                <a:lnTo>
                  <a:pt x="2613718" y="1572566"/>
                </a:lnTo>
                <a:cubicBezTo>
                  <a:pt x="2613718" y="1637937"/>
                  <a:pt x="2562679" y="1690931"/>
                  <a:pt x="2499719" y="1690931"/>
                </a:cubicBezTo>
                <a:lnTo>
                  <a:pt x="113999" y="1690931"/>
                </a:lnTo>
                <a:cubicBezTo>
                  <a:pt x="51039" y="1690931"/>
                  <a:pt x="0" y="1637937"/>
                  <a:pt x="0" y="1572566"/>
                </a:cubicBezTo>
                <a:lnTo>
                  <a:pt x="0" y="118365"/>
                </a:lnTo>
                <a:cubicBezTo>
                  <a:pt x="0" y="52994"/>
                  <a:pt x="51039" y="0"/>
                  <a:pt x="113999" y="0"/>
                </a:cubicBezTo>
                <a:close/>
              </a:path>
            </a:pathLst>
          </a:custGeom>
          <a:ln w="19050">
            <a:solidFill>
              <a:schemeClr val="bg1"/>
            </a:solidFill>
          </a:ln>
        </p:spPr>
      </p:pic>
      <p:pic>
        <p:nvPicPr>
          <p:cNvPr id="11" name="Picture 10">
            <a:extLst>
              <a:ext uri="{FF2B5EF4-FFF2-40B4-BE49-F238E27FC236}">
                <a16:creationId xmlns:a16="http://schemas.microsoft.com/office/drawing/2014/main" id="{34D098F8-0BE0-4CA4-4BAC-0727879A198F}"/>
              </a:ext>
            </a:extLst>
          </p:cNvPr>
          <p:cNvPicPr>
            <a:picLocks noChangeAspect="1"/>
          </p:cNvPicPr>
          <p:nvPr/>
        </p:nvPicPr>
        <p:blipFill rotWithShape="1">
          <a:blip r:embed="rId6"/>
          <a:srcRect l="36500" r="22435"/>
          <a:stretch/>
        </p:blipFill>
        <p:spPr>
          <a:xfrm>
            <a:off x="4392163" y="1904522"/>
            <a:ext cx="3406086" cy="3033658"/>
          </a:xfrm>
          <a:prstGeom prst="roundRect">
            <a:avLst>
              <a:gd name="adj" fmla="val 3997"/>
            </a:avLst>
          </a:prstGeom>
          <a:solidFill>
            <a:srgbClr val="FFFFFF">
              <a:shade val="85000"/>
            </a:srgbClr>
          </a:solidFill>
          <a:ln>
            <a:noFill/>
          </a:ln>
          <a:effectLst/>
        </p:spPr>
      </p:pic>
    </p:spTree>
    <p:extLst>
      <p:ext uri="{BB962C8B-B14F-4D97-AF65-F5344CB8AC3E}">
        <p14:creationId xmlns:p14="http://schemas.microsoft.com/office/powerpoint/2010/main" val="194735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8"/>
                                        </p:tgtEl>
                                        <p:attrNameLst>
                                          <p:attrName>style.visibility</p:attrName>
                                        </p:attrNameLst>
                                      </p:cBhvr>
                                      <p:to>
                                        <p:strVal val="visible"/>
                                      </p:to>
                                    </p:set>
                                    <p:animEffect transition="in" filter="fade">
                                      <p:cBhvr>
                                        <p:cTn id="7" dur="500"/>
                                        <p:tgtEl>
                                          <p:spTgt spid="4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7"/>
                                        </p:tgtEl>
                                        <p:attrNameLst>
                                          <p:attrName>style.visibility</p:attrName>
                                        </p:attrNameLst>
                                      </p:cBhvr>
                                      <p:to>
                                        <p:strVal val="visible"/>
                                      </p:to>
                                    </p:set>
                                    <p:animEffect transition="in" filter="fade">
                                      <p:cBhvr>
                                        <p:cTn id="10" dur="500"/>
                                        <p:tgtEl>
                                          <p:spTgt spid="4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9"/>
                                        </p:tgtEl>
                                        <p:attrNameLst>
                                          <p:attrName>style.visibility</p:attrName>
                                        </p:attrNameLst>
                                      </p:cBhvr>
                                      <p:to>
                                        <p:strVal val="visible"/>
                                      </p:to>
                                    </p:set>
                                    <p:animEffect transition="in" filter="fade">
                                      <p:cBhvr>
                                        <p:cTn id="13" dur="50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 grpId="0"/>
      <p:bldP spid="457" grpId="0"/>
      <p:bldP spid="45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Rectangle 454">
            <a:extLst>
              <a:ext uri="{FF2B5EF4-FFF2-40B4-BE49-F238E27FC236}">
                <a16:creationId xmlns:a16="http://schemas.microsoft.com/office/drawing/2014/main" id="{7B512AEF-B2A0-2479-7667-A41DBDBC31AD}"/>
              </a:ext>
              <a:ext uri="{C183D7F6-B498-43B3-948B-1728B52AA6E4}">
                <adec:decorative xmlns:adec="http://schemas.microsoft.com/office/drawing/2017/decorative" val="1"/>
              </a:ext>
            </a:extLst>
          </p:cNvPr>
          <p:cNvSpPr/>
          <p:nvPr/>
        </p:nvSpPr>
        <p:spPr bwMode="auto">
          <a:xfrm>
            <a:off x="0" y="3733800"/>
            <a:ext cx="12192000" cy="2840038"/>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1" name="Rectangle: Rounded Corners 510">
            <a:extLst>
              <a:ext uri="{FF2B5EF4-FFF2-40B4-BE49-F238E27FC236}">
                <a16:creationId xmlns:a16="http://schemas.microsoft.com/office/drawing/2014/main" id="{A8EE8812-A5A1-4FE1-6A43-1A67E53D6E7B}"/>
              </a:ext>
              <a:ext uri="{C183D7F6-B498-43B3-948B-1728B52AA6E4}">
                <adec:decorative xmlns:adec="http://schemas.microsoft.com/office/drawing/2017/decorative" val="1"/>
              </a:ext>
            </a:extLst>
          </p:cNvPr>
          <p:cNvSpPr>
            <a:spLocks/>
          </p:cNvSpPr>
          <p:nvPr/>
        </p:nvSpPr>
        <p:spPr bwMode="auto">
          <a:xfrm>
            <a:off x="8029527"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456" name="Rectangle: Rounded Corners 455">
            <a:extLst>
              <a:ext uri="{FF2B5EF4-FFF2-40B4-BE49-F238E27FC236}">
                <a16:creationId xmlns:a16="http://schemas.microsoft.com/office/drawing/2014/main" id="{EAE8CAF9-F000-78D5-D75C-F4D5555A5BF5}"/>
              </a:ext>
              <a:ext uri="{C183D7F6-B498-43B3-948B-1728B52AA6E4}">
                <adec:decorative xmlns:adec="http://schemas.microsoft.com/office/drawing/2017/decorative" val="1"/>
              </a:ext>
            </a:extLst>
          </p:cNvPr>
          <p:cNvSpPr>
            <a:spLocks/>
          </p:cNvSpPr>
          <p:nvPr/>
        </p:nvSpPr>
        <p:spPr bwMode="auto">
          <a:xfrm>
            <a:off x="4306863"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510" name="Rectangle: Rounded Corners 509">
            <a:extLst>
              <a:ext uri="{FF2B5EF4-FFF2-40B4-BE49-F238E27FC236}">
                <a16:creationId xmlns:a16="http://schemas.microsoft.com/office/drawing/2014/main" id="{2C3782B2-895F-8B92-85C1-02D29DB9BD9E}"/>
              </a:ext>
              <a:ext uri="{C183D7F6-B498-43B3-948B-1728B52AA6E4}">
                <adec:decorative xmlns:adec="http://schemas.microsoft.com/office/drawing/2017/decorative" val="1"/>
              </a:ext>
            </a:extLst>
          </p:cNvPr>
          <p:cNvSpPr>
            <a:spLocks/>
          </p:cNvSpPr>
          <p:nvPr/>
        </p:nvSpPr>
        <p:spPr bwMode="auto">
          <a:xfrm>
            <a:off x="584200"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E0E2FD27-71CE-4213-8C74-51D3BB2F40B8}"/>
              </a:ext>
            </a:extLst>
          </p:cNvPr>
          <p:cNvSpPr>
            <a:spLocks noGrp="1"/>
          </p:cNvSpPr>
          <p:nvPr>
            <p:ph type="title"/>
            <p:custDataLst>
              <p:tags r:id="rId1"/>
            </p:custDataLst>
          </p:nvPr>
        </p:nvSpPr>
        <p:spPr>
          <a:xfrm>
            <a:off x="588263" y="457200"/>
            <a:ext cx="11018520" cy="492443"/>
          </a:xfrm>
        </p:spPr>
        <p:txBody>
          <a:bodyPr/>
          <a:lstStyle/>
          <a:p>
            <a:pPr algn="l"/>
            <a:r>
              <a:rPr lang="en-US"/>
              <a:t>AI Transforming Retail</a:t>
            </a:r>
          </a:p>
        </p:txBody>
      </p:sp>
      <p:sp>
        <p:nvSpPr>
          <p:cNvPr id="458" name="Rectangle 457">
            <a:extLst>
              <a:ext uri="{FF2B5EF4-FFF2-40B4-BE49-F238E27FC236}">
                <a16:creationId xmlns:a16="http://schemas.microsoft.com/office/drawing/2014/main" id="{9D09A31A-8005-66C5-DAD6-5A213D3E9299}"/>
              </a:ext>
            </a:extLst>
          </p:cNvPr>
          <p:cNvSpPr>
            <a:spLocks/>
          </p:cNvSpPr>
          <p:nvPr/>
        </p:nvSpPr>
        <p:spPr bwMode="auto">
          <a:xfrm>
            <a:off x="1025322" y="5382159"/>
            <a:ext cx="2694441"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Unlock new Shopping experiences</a:t>
            </a:r>
          </a:p>
        </p:txBody>
      </p:sp>
      <p:sp>
        <p:nvSpPr>
          <p:cNvPr id="457" name="Rectangle 456">
            <a:extLst>
              <a:ext uri="{FF2B5EF4-FFF2-40B4-BE49-F238E27FC236}">
                <a16:creationId xmlns:a16="http://schemas.microsoft.com/office/drawing/2014/main" id="{CA36A03D-0D56-5F52-2499-BDE46CE0ECA4}"/>
              </a:ext>
            </a:extLst>
          </p:cNvPr>
          <p:cNvSpPr>
            <a:spLocks/>
          </p:cNvSpPr>
          <p:nvPr/>
        </p:nvSpPr>
        <p:spPr bwMode="auto">
          <a:xfrm>
            <a:off x="4747986" y="5382159"/>
            <a:ext cx="2694441"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Empower Store Associates</a:t>
            </a:r>
          </a:p>
        </p:txBody>
      </p:sp>
      <p:sp>
        <p:nvSpPr>
          <p:cNvPr id="459" name="Rectangle 458">
            <a:extLst>
              <a:ext uri="{FF2B5EF4-FFF2-40B4-BE49-F238E27FC236}">
                <a16:creationId xmlns:a16="http://schemas.microsoft.com/office/drawing/2014/main" id="{D8EB23FF-2918-2369-B632-307F1B098F28}"/>
              </a:ext>
            </a:extLst>
          </p:cNvPr>
          <p:cNvSpPr>
            <a:spLocks/>
          </p:cNvSpPr>
          <p:nvPr/>
        </p:nvSpPr>
        <p:spPr bwMode="auto">
          <a:xfrm>
            <a:off x="8470649" y="5382159"/>
            <a:ext cx="2983414" cy="615553"/>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Personalize &amp; Transform E-Commerce</a:t>
            </a:r>
          </a:p>
        </p:txBody>
      </p:sp>
      <p:pic>
        <p:nvPicPr>
          <p:cNvPr id="3" name="Picture 2">
            <a:extLst>
              <a:ext uri="{FF2B5EF4-FFF2-40B4-BE49-F238E27FC236}">
                <a16:creationId xmlns:a16="http://schemas.microsoft.com/office/drawing/2014/main" id="{DBF8EC80-8102-EE08-C9F3-F399264B2E1A}"/>
              </a:ext>
            </a:extLst>
          </p:cNvPr>
          <p:cNvPicPr>
            <a:picLocks noChangeAspect="1"/>
          </p:cNvPicPr>
          <p:nvPr/>
        </p:nvPicPr>
        <p:blipFill rotWithShape="1">
          <a:blip r:embed="rId4"/>
          <a:srcRect l="51494" t="-316" r="1" b="903"/>
          <a:stretch/>
        </p:blipFill>
        <p:spPr>
          <a:xfrm>
            <a:off x="4369674" y="1285665"/>
            <a:ext cx="3437028" cy="3675198"/>
          </a:xfrm>
          <a:prstGeom prst="roundRect">
            <a:avLst>
              <a:gd name="adj" fmla="val 4520"/>
            </a:avLst>
          </a:prstGeom>
          <a:solidFill>
            <a:srgbClr val="FFFFFF">
              <a:shade val="85000"/>
            </a:srgbClr>
          </a:solidFill>
          <a:ln>
            <a:noFill/>
          </a:ln>
          <a:effectLst/>
        </p:spPr>
      </p:pic>
      <p:pic>
        <p:nvPicPr>
          <p:cNvPr id="11" name="Picture 10">
            <a:extLst>
              <a:ext uri="{FF2B5EF4-FFF2-40B4-BE49-F238E27FC236}">
                <a16:creationId xmlns:a16="http://schemas.microsoft.com/office/drawing/2014/main" id="{933603F6-0744-D2ED-064D-566DFB94B0D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0403" r="18133"/>
          <a:stretch/>
        </p:blipFill>
        <p:spPr>
          <a:xfrm>
            <a:off x="661180" y="1278338"/>
            <a:ext cx="3437028" cy="3612977"/>
          </a:xfrm>
          <a:prstGeom prst="roundRect">
            <a:avLst>
              <a:gd name="adj" fmla="val 4714"/>
            </a:avLst>
          </a:prstGeom>
          <a:solidFill>
            <a:srgbClr val="FFFFFF">
              <a:shade val="85000"/>
            </a:srgbClr>
          </a:solidFill>
          <a:ln>
            <a:noFill/>
          </a:ln>
          <a:effectLst/>
        </p:spPr>
      </p:pic>
      <p:pic>
        <p:nvPicPr>
          <p:cNvPr id="6148" name="Picture 4" descr="How Carrefour Brings GenAI to Life - 3 Real Use Cases">
            <a:extLst>
              <a:ext uri="{FF2B5EF4-FFF2-40B4-BE49-F238E27FC236}">
                <a16:creationId xmlns:a16="http://schemas.microsoft.com/office/drawing/2014/main" id="{4DD188E5-DC45-89FB-8DC9-9C54883EFB1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31157" r="20854"/>
          <a:stretch/>
        </p:blipFill>
        <p:spPr bwMode="auto">
          <a:xfrm>
            <a:off x="8099594" y="1257028"/>
            <a:ext cx="3437028" cy="3742164"/>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1278278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58"/>
                                        </p:tgtEl>
                                        <p:attrNameLst>
                                          <p:attrName>style.visibility</p:attrName>
                                        </p:attrNameLst>
                                      </p:cBhvr>
                                      <p:to>
                                        <p:strVal val="visible"/>
                                      </p:to>
                                    </p:set>
                                    <p:animEffect transition="in" filter="fade">
                                      <p:cBhvr>
                                        <p:cTn id="7" dur="500"/>
                                        <p:tgtEl>
                                          <p:spTgt spid="45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7"/>
                                        </p:tgtEl>
                                        <p:attrNameLst>
                                          <p:attrName>style.visibility</p:attrName>
                                        </p:attrNameLst>
                                      </p:cBhvr>
                                      <p:to>
                                        <p:strVal val="visible"/>
                                      </p:to>
                                    </p:set>
                                    <p:animEffect transition="in" filter="fade">
                                      <p:cBhvr>
                                        <p:cTn id="11" dur="500"/>
                                        <p:tgtEl>
                                          <p:spTgt spid="45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59"/>
                                        </p:tgtEl>
                                        <p:attrNameLst>
                                          <p:attrName>style.visibility</p:attrName>
                                        </p:attrNameLst>
                                      </p:cBhvr>
                                      <p:to>
                                        <p:strVal val="visible"/>
                                      </p:to>
                                    </p:set>
                                    <p:animEffect transition="in" filter="fade">
                                      <p:cBhvr>
                                        <p:cTn id="15" dur="50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 grpId="0"/>
      <p:bldP spid="457" grpId="0"/>
      <p:bldP spid="45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Rectangle 454">
            <a:extLst>
              <a:ext uri="{FF2B5EF4-FFF2-40B4-BE49-F238E27FC236}">
                <a16:creationId xmlns:a16="http://schemas.microsoft.com/office/drawing/2014/main" id="{7B512AEF-B2A0-2479-7667-A41DBDBC31AD}"/>
              </a:ext>
              <a:ext uri="{C183D7F6-B498-43B3-948B-1728B52AA6E4}">
                <adec:decorative xmlns:adec="http://schemas.microsoft.com/office/drawing/2017/decorative" val="1"/>
              </a:ext>
            </a:extLst>
          </p:cNvPr>
          <p:cNvSpPr/>
          <p:nvPr/>
        </p:nvSpPr>
        <p:spPr bwMode="auto">
          <a:xfrm>
            <a:off x="0" y="3733800"/>
            <a:ext cx="12192000" cy="2840038"/>
          </a:xfrm>
          <a:prstGeom prst="rect">
            <a:avLst/>
          </a:prstGeom>
          <a:gradFill flip="none" rotWithShape="1">
            <a:gsLst>
              <a:gs pos="72000">
                <a:schemeClr val="accent2">
                  <a:lumMod val="50000"/>
                </a:schemeClr>
              </a:gs>
              <a:gs pos="25000">
                <a:schemeClr val="accent4">
                  <a:lumMod val="50000"/>
                </a:schemeClr>
              </a:gs>
              <a:gs pos="0">
                <a:schemeClr val="accent4">
                  <a:lumMod val="75000"/>
                </a:schemeClr>
              </a:gs>
              <a:gs pos="100000">
                <a:schemeClr val="accent2">
                  <a:lumMod val="5000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11" name="Rectangle: Rounded Corners 510">
            <a:extLst>
              <a:ext uri="{FF2B5EF4-FFF2-40B4-BE49-F238E27FC236}">
                <a16:creationId xmlns:a16="http://schemas.microsoft.com/office/drawing/2014/main" id="{A8EE8812-A5A1-4FE1-6A43-1A67E53D6E7B}"/>
              </a:ext>
              <a:ext uri="{C183D7F6-B498-43B3-948B-1728B52AA6E4}">
                <adec:decorative xmlns:adec="http://schemas.microsoft.com/office/drawing/2017/decorative" val="1"/>
              </a:ext>
            </a:extLst>
          </p:cNvPr>
          <p:cNvSpPr>
            <a:spLocks/>
          </p:cNvSpPr>
          <p:nvPr/>
        </p:nvSpPr>
        <p:spPr bwMode="auto">
          <a:xfrm>
            <a:off x="8029527"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456" name="Rectangle: Rounded Corners 455">
            <a:extLst>
              <a:ext uri="{FF2B5EF4-FFF2-40B4-BE49-F238E27FC236}">
                <a16:creationId xmlns:a16="http://schemas.microsoft.com/office/drawing/2014/main" id="{EAE8CAF9-F000-78D5-D75C-F4D5555A5BF5}"/>
              </a:ext>
              <a:ext uri="{C183D7F6-B498-43B3-948B-1728B52AA6E4}">
                <adec:decorative xmlns:adec="http://schemas.microsoft.com/office/drawing/2017/decorative" val="1"/>
              </a:ext>
            </a:extLst>
          </p:cNvPr>
          <p:cNvSpPr>
            <a:spLocks/>
          </p:cNvSpPr>
          <p:nvPr/>
        </p:nvSpPr>
        <p:spPr bwMode="auto">
          <a:xfrm>
            <a:off x="4306863"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510" name="Rectangle: Rounded Corners 509">
            <a:extLst>
              <a:ext uri="{FF2B5EF4-FFF2-40B4-BE49-F238E27FC236}">
                <a16:creationId xmlns:a16="http://schemas.microsoft.com/office/drawing/2014/main" id="{2C3782B2-895F-8B92-85C1-02D29DB9BD9E}"/>
              </a:ext>
              <a:ext uri="{C183D7F6-B498-43B3-948B-1728B52AA6E4}">
                <adec:decorative xmlns:adec="http://schemas.microsoft.com/office/drawing/2017/decorative" val="1"/>
              </a:ext>
            </a:extLst>
          </p:cNvPr>
          <p:cNvSpPr>
            <a:spLocks/>
          </p:cNvSpPr>
          <p:nvPr/>
        </p:nvSpPr>
        <p:spPr bwMode="auto">
          <a:xfrm>
            <a:off x="584200" y="1713819"/>
            <a:ext cx="3576686" cy="3380978"/>
          </a:xfrm>
          <a:prstGeom prst="roundRect">
            <a:avLst>
              <a:gd name="adj" fmla="val 5000"/>
            </a:avLst>
          </a:prstGeom>
          <a:solidFill>
            <a:schemeClr val="bg1"/>
          </a:solidFill>
          <a:ln>
            <a:noFill/>
          </a:ln>
          <a:effectLst>
            <a:outerShdw blurRad="4445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530352" tIns="4572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IN" sz="1200" b="0" i="0" u="none" strike="noStrike" kern="0" cap="none" spc="0" normalizeH="0" baseline="0" noProof="0" err="1">
              <a:ln>
                <a:noFill/>
              </a:ln>
              <a:solidFill>
                <a:prstClr val="black"/>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E0E2FD27-71CE-4213-8C74-51D3BB2F40B8}"/>
              </a:ext>
            </a:extLst>
          </p:cNvPr>
          <p:cNvSpPr>
            <a:spLocks noGrp="1"/>
          </p:cNvSpPr>
          <p:nvPr>
            <p:ph type="title"/>
            <p:custDataLst>
              <p:tags r:id="rId1"/>
            </p:custDataLst>
          </p:nvPr>
        </p:nvSpPr>
        <p:spPr>
          <a:xfrm>
            <a:off x="588263" y="457200"/>
            <a:ext cx="11018520" cy="492443"/>
          </a:xfrm>
        </p:spPr>
        <p:txBody>
          <a:bodyPr/>
          <a:lstStyle/>
          <a:p>
            <a:pPr algn="l"/>
            <a:r>
              <a:rPr lang="en-US"/>
              <a:t>AI Transforming Government Sector </a:t>
            </a:r>
          </a:p>
        </p:txBody>
      </p:sp>
      <p:sp>
        <p:nvSpPr>
          <p:cNvPr id="458" name="Rectangle 457">
            <a:extLst>
              <a:ext uri="{FF2B5EF4-FFF2-40B4-BE49-F238E27FC236}">
                <a16:creationId xmlns:a16="http://schemas.microsoft.com/office/drawing/2014/main" id="{9D09A31A-8005-66C5-DAD6-5A213D3E9299}"/>
              </a:ext>
            </a:extLst>
          </p:cNvPr>
          <p:cNvSpPr>
            <a:spLocks/>
          </p:cNvSpPr>
          <p:nvPr/>
        </p:nvSpPr>
        <p:spPr bwMode="auto">
          <a:xfrm>
            <a:off x="1025322" y="5382159"/>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Transform Citizen Services across Ministries</a:t>
            </a:r>
          </a:p>
        </p:txBody>
      </p:sp>
      <p:sp>
        <p:nvSpPr>
          <p:cNvPr id="457" name="Rectangle 456">
            <a:extLst>
              <a:ext uri="{FF2B5EF4-FFF2-40B4-BE49-F238E27FC236}">
                <a16:creationId xmlns:a16="http://schemas.microsoft.com/office/drawing/2014/main" id="{CA36A03D-0D56-5F52-2499-BDE46CE0ECA4}"/>
              </a:ext>
            </a:extLst>
          </p:cNvPr>
          <p:cNvSpPr>
            <a:spLocks/>
          </p:cNvSpPr>
          <p:nvPr/>
        </p:nvSpPr>
        <p:spPr bwMode="auto">
          <a:xfrm>
            <a:off x="4821488" y="5391801"/>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Re-invent Education with personalized approach</a:t>
            </a:r>
          </a:p>
        </p:txBody>
      </p:sp>
      <p:sp>
        <p:nvSpPr>
          <p:cNvPr id="459" name="Rectangle 458">
            <a:extLst>
              <a:ext uri="{FF2B5EF4-FFF2-40B4-BE49-F238E27FC236}">
                <a16:creationId xmlns:a16="http://schemas.microsoft.com/office/drawing/2014/main" id="{D8EB23FF-2918-2369-B632-307F1B098F28}"/>
              </a:ext>
            </a:extLst>
          </p:cNvPr>
          <p:cNvSpPr>
            <a:spLocks/>
          </p:cNvSpPr>
          <p:nvPr/>
        </p:nvSpPr>
        <p:spPr bwMode="auto">
          <a:xfrm>
            <a:off x="8470649" y="5382159"/>
            <a:ext cx="2694441" cy="923330"/>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Build Intelligence in Military &amp; Defense Operations</a:t>
            </a:r>
          </a:p>
        </p:txBody>
      </p:sp>
      <p:pic>
        <p:nvPicPr>
          <p:cNvPr id="4" name="Picture 2" descr="A teacher helps her students as they work on laptop computers">
            <a:extLst>
              <a:ext uri="{FF2B5EF4-FFF2-40B4-BE49-F238E27FC236}">
                <a16:creationId xmlns:a16="http://schemas.microsoft.com/office/drawing/2014/main" id="{8F2B46A0-AB39-227D-E6E6-CFB1A0E1296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6097" t="4911" r="18242" b="20543"/>
          <a:stretch/>
        </p:blipFill>
        <p:spPr bwMode="auto">
          <a:xfrm>
            <a:off x="4302934" y="1710268"/>
            <a:ext cx="3580615" cy="3200400"/>
          </a:xfrm>
          <a:prstGeom prst="roundRect">
            <a:avLst>
              <a:gd name="adj" fmla="val 8594"/>
            </a:avLst>
          </a:prstGeom>
          <a:solidFill>
            <a:srgbClr val="FFFFFF">
              <a:shade val="85000"/>
            </a:srgbClr>
          </a:solidFill>
          <a:ln>
            <a:noFill/>
          </a:ln>
          <a:effectLst/>
        </p:spPr>
      </p:pic>
      <p:pic>
        <p:nvPicPr>
          <p:cNvPr id="7" name="Picture Placeholder 9" descr="A military woman from the Australian Department of Defence">
            <a:extLst>
              <a:ext uri="{FF2B5EF4-FFF2-40B4-BE49-F238E27FC236}">
                <a16:creationId xmlns:a16="http://schemas.microsoft.com/office/drawing/2014/main" id="{91097139-633A-467E-31A1-45D98BDE77B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6497" r="26940"/>
          <a:stretch/>
        </p:blipFill>
        <p:spPr>
          <a:xfrm>
            <a:off x="8025596" y="1681488"/>
            <a:ext cx="3576685" cy="3229179"/>
          </a:xfrm>
          <a:prstGeom prst="roundRect">
            <a:avLst>
              <a:gd name="adj" fmla="val 8594"/>
            </a:avLst>
          </a:prstGeom>
          <a:solidFill>
            <a:srgbClr val="FFFFFF">
              <a:shade val="85000"/>
            </a:srgbClr>
          </a:solidFill>
          <a:ln>
            <a:noFill/>
          </a:ln>
          <a:effectLst/>
        </p:spPr>
      </p:pic>
      <p:pic>
        <p:nvPicPr>
          <p:cNvPr id="9" name="Picture 8" descr="People inside the Reichstag Building in Germany">
            <a:extLst>
              <a:ext uri="{FF2B5EF4-FFF2-40B4-BE49-F238E27FC236}">
                <a16:creationId xmlns:a16="http://schemas.microsoft.com/office/drawing/2014/main" id="{C760D703-5D30-850D-BA9B-4DB19277CFD0}"/>
              </a:ext>
              <a:ext uri="{C183D7F6-B498-43B3-948B-1728B52AA6E4}">
                <adec:decorative xmlns:adec="http://schemas.microsoft.com/office/drawing/2017/decorative" val="0"/>
              </a:ext>
            </a:extLst>
          </p:cNvPr>
          <p:cNvPicPr>
            <a:picLocks/>
          </p:cNvPicPr>
          <p:nvPr/>
        </p:nvPicPr>
        <p:blipFill rotWithShape="1">
          <a:blip r:embed="rId6">
            <a:extLst>
              <a:ext uri="{BEBA8EAE-BF5A-486C-A8C5-ECC9F3942E4B}">
                <a14:imgProps xmlns:a14="http://schemas.microsoft.com/office/drawing/2010/main">
                  <a14:imgLayer r:embed="rId7">
                    <a14:imgEffect>
                      <a14:colorTemperature colorTemp="5440"/>
                    </a14:imgEffect>
                    <a14:imgEffect>
                      <a14:brightnessContrast bright="37000"/>
                    </a14:imgEffect>
                  </a14:imgLayer>
                </a14:imgProps>
              </a:ext>
              <a:ext uri="{28A0092B-C50C-407E-A947-70E740481C1C}">
                <a14:useLocalDpi xmlns:a14="http://schemas.microsoft.com/office/drawing/2010/main" val="0"/>
              </a:ext>
            </a:extLst>
          </a:blip>
          <a:srcRect l="5961" r="5961" b="15664"/>
          <a:stretch/>
        </p:blipFill>
        <p:spPr>
          <a:xfrm>
            <a:off x="595244" y="1681488"/>
            <a:ext cx="3561712" cy="3229180"/>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84409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8"/>
                                        </p:tgtEl>
                                        <p:attrNameLst>
                                          <p:attrName>style.visibility</p:attrName>
                                        </p:attrNameLst>
                                      </p:cBhvr>
                                      <p:to>
                                        <p:strVal val="visible"/>
                                      </p:to>
                                    </p:set>
                                    <p:animEffect transition="in" filter="fade">
                                      <p:cBhvr>
                                        <p:cTn id="7" dur="500"/>
                                        <p:tgtEl>
                                          <p:spTgt spid="4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57"/>
                                        </p:tgtEl>
                                        <p:attrNameLst>
                                          <p:attrName>style.visibility</p:attrName>
                                        </p:attrNameLst>
                                      </p:cBhvr>
                                      <p:to>
                                        <p:strVal val="visible"/>
                                      </p:to>
                                    </p:set>
                                    <p:animEffect transition="in" filter="fade">
                                      <p:cBhvr>
                                        <p:cTn id="10" dur="500"/>
                                        <p:tgtEl>
                                          <p:spTgt spid="45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59"/>
                                        </p:tgtEl>
                                        <p:attrNameLst>
                                          <p:attrName>style.visibility</p:attrName>
                                        </p:attrNameLst>
                                      </p:cBhvr>
                                      <p:to>
                                        <p:strVal val="visible"/>
                                      </p:to>
                                    </p:set>
                                    <p:animEffect transition="in" filter="fade">
                                      <p:cBhvr>
                                        <p:cTn id="13" dur="500"/>
                                        <p:tgtEl>
                                          <p:spTgt spid="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8" grpId="0"/>
      <p:bldP spid="457" grpId="0"/>
      <p:bldP spid="45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itle 5">
            <a:extLst>
              <a:ext uri="{FF2B5EF4-FFF2-40B4-BE49-F238E27FC236}">
                <a16:creationId xmlns:a16="http://schemas.microsoft.com/office/drawing/2014/main" id="{1FA5EBB4-2ACC-21C8-D45F-7E94B904622D}"/>
              </a:ext>
              <a:ext uri="{C183D7F6-B498-43B3-948B-1728B52AA6E4}">
                <adec:decorative xmlns:adec="http://schemas.microsoft.com/office/drawing/2017/decorative" val="0"/>
              </a:ext>
            </a:extLst>
          </p:cNvPr>
          <p:cNvSpPr txBox="1">
            <a:spLocks noGrp="1"/>
          </p:cNvSpPr>
          <p:nvPr>
            <p:ph type="title" idx="4294967295"/>
          </p:nvPr>
        </p:nvSpPr>
        <p:spPr>
          <a:xfrm>
            <a:off x="487945" y="428170"/>
            <a:ext cx="6839877"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lgn="l" defTabSz="932742" rtl="0" eaLnBrk="1" latinLnBrk="0" hangingPunct="1">
              <a:lnSpc>
                <a:spcPct val="100000"/>
              </a:lnSpc>
              <a:spcBef>
                <a:spcPct val="0"/>
              </a:spcBef>
              <a:buNone/>
              <a:defRPr lang="en-US" sz="3200" b="0" kern="1200" cap="none" spc="-50" baseline="0">
                <a:ln w="3175">
                  <a:noFill/>
                </a:ln>
                <a:gradFill>
                  <a:gsLst>
                    <a:gs pos="0">
                      <a:srgbClr val="FFFFFF"/>
                    </a:gs>
                    <a:gs pos="100000">
                      <a:srgbClr val="FFFFFF"/>
                    </a:gs>
                  </a:gsLst>
                  <a:lin ang="5400000" scaled="1"/>
                </a:gradFill>
                <a:effectLst/>
                <a:latin typeface="+mj-lt"/>
                <a:ea typeface="+mj-lt"/>
                <a:cs typeface="Segoe UI Semibold"/>
              </a:defRPr>
            </a:lvl1pPr>
          </a:lstStyle>
          <a:p>
            <a:pPr marL="0" marR="0" lvl="0" indent="0" algn="l" defTabSz="932384"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solidFill>
                  <a:srgbClr val="FFFFFF"/>
                </a:solidFill>
                <a:effectLst/>
                <a:uLnTx/>
                <a:uFillTx/>
                <a:latin typeface="Segoe UI Semibold"/>
                <a:ea typeface="+mj-lt"/>
                <a:cs typeface="Segoe UI" pitchFamily="34" charset="0"/>
              </a:rPr>
              <a:t>Enabling AI</a:t>
            </a:r>
            <a:r>
              <a:rPr kumimoji="0" lang="en-US" sz="4000" b="0" i="0" u="none" strike="noStrike" kern="1200" cap="none" spc="-50" normalizeH="0" noProof="0" dirty="0">
                <a:ln w="3175">
                  <a:noFill/>
                </a:ln>
                <a:solidFill>
                  <a:srgbClr val="FFFFFF"/>
                </a:solidFill>
                <a:effectLst/>
                <a:uLnTx/>
                <a:uFillTx/>
                <a:latin typeface="Segoe UI Semibold"/>
                <a:ea typeface="+mj-lt"/>
                <a:cs typeface="Segoe UI" pitchFamily="34" charset="0"/>
              </a:rPr>
              <a:t> </a:t>
            </a:r>
            <a:r>
              <a:rPr lang="en-US" sz="4000" dirty="0">
                <a:gradFill>
                  <a:gsLst>
                    <a:gs pos="25000">
                      <a:srgbClr val="8DC8E8"/>
                    </a:gs>
                    <a:gs pos="75000">
                      <a:srgbClr val="CD98CF"/>
                    </a:gs>
                  </a:gsLst>
                  <a:lin ang="2700000" scaled="0"/>
                </a:gradFill>
                <a:latin typeface="Segoe UI Semibold"/>
                <a:cs typeface="Segoe UI Semibold" panose="020B0702040204020203" pitchFamily="34" charset="0"/>
              </a:rPr>
              <a:t>T</a:t>
            </a:r>
            <a:r>
              <a:rPr kumimoji="0" lang="en-US" sz="4000" b="0" i="0" u="none" strike="noStrike" kern="1200" cap="none" spc="-50" normalizeH="0" baseline="0" noProof="0" dirty="0" err="1">
                <a:ln w="3175">
                  <a:noFill/>
                </a:ln>
                <a:gradFill>
                  <a:gsLst>
                    <a:gs pos="25000">
                      <a:srgbClr val="8DC8E8"/>
                    </a:gs>
                    <a:gs pos="75000">
                      <a:srgbClr val="CD98CF"/>
                    </a:gs>
                  </a:gsLst>
                  <a:lin ang="2700000" scaled="0"/>
                </a:gradFill>
                <a:effectLst/>
                <a:uLnTx/>
                <a:uFillTx/>
                <a:latin typeface="Segoe UI Semibold"/>
                <a:ea typeface="+mj-lt"/>
                <a:cs typeface="Segoe UI Semibold" panose="020B0702040204020203" pitchFamily="34" charset="0"/>
              </a:rPr>
              <a:t>ransformation</a:t>
            </a:r>
            <a:endParaRPr kumimoji="0" lang="en-US" sz="4000" b="0" i="0" u="none" strike="noStrike" kern="1200" cap="none" spc="-50" normalizeH="0" baseline="0" noProof="0" dirty="0">
              <a:ln w="3175">
                <a:noFill/>
              </a:ln>
              <a:gradFill>
                <a:gsLst>
                  <a:gs pos="25000">
                    <a:srgbClr val="8DC8E8"/>
                  </a:gs>
                  <a:gs pos="75000">
                    <a:srgbClr val="CD98CF"/>
                  </a:gs>
                </a:gsLst>
                <a:lin ang="2700000" scaled="0"/>
              </a:gradFill>
              <a:effectLst/>
              <a:uLnTx/>
              <a:uFillTx/>
              <a:latin typeface="Segoe UI Semibold"/>
              <a:ea typeface="+mj-lt"/>
              <a:cs typeface="Segoe UI Semibold" panose="020B0702040204020203" pitchFamily="34" charset="0"/>
            </a:endParaRPr>
          </a:p>
        </p:txBody>
      </p:sp>
      <p:sp>
        <p:nvSpPr>
          <p:cNvPr id="158" name="Rectangle: Rounded Corners 157">
            <a:extLst>
              <a:ext uri="{FF2B5EF4-FFF2-40B4-BE49-F238E27FC236}">
                <a16:creationId xmlns:a16="http://schemas.microsoft.com/office/drawing/2014/main" id="{EC4106CC-AAF9-BF44-11A0-25D53D98F28F}"/>
              </a:ext>
              <a:ext uri="{C183D7F6-B498-43B3-948B-1728B52AA6E4}">
                <adec:decorative xmlns:adec="http://schemas.microsoft.com/office/drawing/2017/decorative" val="1"/>
              </a:ext>
            </a:extLst>
          </p:cNvPr>
          <p:cNvSpPr/>
          <p:nvPr/>
        </p:nvSpPr>
        <p:spPr bwMode="auto">
          <a:xfrm>
            <a:off x="362590" y="1984494"/>
            <a:ext cx="5436974" cy="4376812"/>
          </a:xfrm>
          <a:prstGeom prst="roundRect">
            <a:avLst>
              <a:gd name="adj" fmla="val 4327"/>
            </a:avLst>
          </a:prstGeom>
          <a:solidFill>
            <a:srgbClr val="D2D2D2">
              <a:alpha val="2000"/>
            </a:srgbClr>
          </a:solidFill>
          <a:ln w="1270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400" b="0" i="0" u="none" strike="noStrike" kern="0" cap="none" spc="0" normalizeH="0" baseline="0" noProof="0" err="1">
              <a:ln>
                <a:noFill/>
              </a:ln>
              <a:solidFill>
                <a:srgbClr val="0078D4"/>
              </a:solidFill>
              <a:effectLst/>
              <a:uLnTx/>
              <a:uFillTx/>
              <a:latin typeface="Segoe UI Semibold"/>
              <a:ea typeface="+mn-ea"/>
              <a:cs typeface="Segoe UI" pitchFamily="34" charset="0"/>
            </a:endParaRPr>
          </a:p>
        </p:txBody>
      </p:sp>
      <p:cxnSp>
        <p:nvCxnSpPr>
          <p:cNvPr id="159" name="Straight Connector 158">
            <a:extLst>
              <a:ext uri="{FF2B5EF4-FFF2-40B4-BE49-F238E27FC236}">
                <a16:creationId xmlns:a16="http://schemas.microsoft.com/office/drawing/2014/main" id="{639F814A-38A1-DA00-1CE1-2670D51EE5F0}"/>
              </a:ext>
              <a:ext uri="{C183D7F6-B498-43B3-948B-1728B52AA6E4}">
                <adec:decorative xmlns:adec="http://schemas.microsoft.com/office/drawing/2017/decorative" val="1"/>
              </a:ext>
            </a:extLst>
          </p:cNvPr>
          <p:cNvCxnSpPr>
            <a:cxnSpLocks/>
          </p:cNvCxnSpPr>
          <p:nvPr/>
        </p:nvCxnSpPr>
        <p:spPr>
          <a:xfrm>
            <a:off x="588963" y="3511956"/>
            <a:ext cx="4970008" cy="0"/>
          </a:xfrm>
          <a:prstGeom prst="line">
            <a:avLst/>
          </a:prstGeom>
          <a:noFill/>
          <a:ln w="6350" cap="rnd">
            <a:solidFill>
              <a:srgbClr val="FFFFFF">
                <a:alpha val="50000"/>
              </a:srgbClr>
            </a:solidFill>
            <a:prstDash val="solid"/>
            <a:round/>
          </a:ln>
          <a:effectLst/>
        </p:spPr>
      </p:cxnSp>
      <p:cxnSp>
        <p:nvCxnSpPr>
          <p:cNvPr id="160" name="Straight Connector 159">
            <a:extLst>
              <a:ext uri="{FF2B5EF4-FFF2-40B4-BE49-F238E27FC236}">
                <a16:creationId xmlns:a16="http://schemas.microsoft.com/office/drawing/2014/main" id="{8C9112BA-42A0-9D3C-11B6-BF6A6C53AC59}"/>
              </a:ext>
              <a:ext uri="{C183D7F6-B498-43B3-948B-1728B52AA6E4}">
                <adec:decorative xmlns:adec="http://schemas.microsoft.com/office/drawing/2017/decorative" val="1"/>
              </a:ext>
            </a:extLst>
          </p:cNvPr>
          <p:cNvCxnSpPr>
            <a:cxnSpLocks/>
          </p:cNvCxnSpPr>
          <p:nvPr/>
        </p:nvCxnSpPr>
        <p:spPr>
          <a:xfrm>
            <a:off x="588963" y="4970894"/>
            <a:ext cx="4970008" cy="0"/>
          </a:xfrm>
          <a:prstGeom prst="line">
            <a:avLst/>
          </a:prstGeom>
          <a:noFill/>
          <a:ln w="6350" cap="rnd">
            <a:solidFill>
              <a:srgbClr val="FFFFFF">
                <a:alpha val="50000"/>
              </a:srgbClr>
            </a:solidFill>
            <a:prstDash val="solid"/>
            <a:round/>
          </a:ln>
          <a:effectLst/>
        </p:spPr>
      </p:cxnSp>
      <p:sp>
        <p:nvSpPr>
          <p:cNvPr id="161" name="TextBox 160">
            <a:extLst>
              <a:ext uri="{FF2B5EF4-FFF2-40B4-BE49-F238E27FC236}">
                <a16:creationId xmlns:a16="http://schemas.microsoft.com/office/drawing/2014/main" id="{2720ACD3-BCF0-5FB2-6BB2-CC9C1500A471}"/>
              </a:ext>
              <a:ext uri="{C183D7F6-B498-43B3-948B-1728B52AA6E4}">
                <adec:decorative xmlns:adec="http://schemas.microsoft.com/office/drawing/2017/decorative" val="0"/>
              </a:ext>
            </a:extLst>
          </p:cNvPr>
          <p:cNvSpPr txBox="1"/>
          <p:nvPr/>
        </p:nvSpPr>
        <p:spPr>
          <a:xfrm>
            <a:off x="588963" y="2505488"/>
            <a:ext cx="4970008" cy="615553"/>
          </a:xfrm>
          <a:prstGeom prst="rect">
            <a:avLst/>
          </a:prstGeom>
          <a:noFill/>
        </p:spPr>
        <p:txBody>
          <a:bodyPr wrap="square" lIns="0" tIns="0" rIns="0" bIns="0" rtlCol="0">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Unlock productivity across your business with Microsoft Copilot </a:t>
            </a:r>
          </a:p>
        </p:txBody>
      </p:sp>
      <p:sp>
        <p:nvSpPr>
          <p:cNvPr id="162" name="TextBox 161">
            <a:extLst>
              <a:ext uri="{FF2B5EF4-FFF2-40B4-BE49-F238E27FC236}">
                <a16:creationId xmlns:a16="http://schemas.microsoft.com/office/drawing/2014/main" id="{8DA478BA-15A1-575F-90A8-C140401F4F90}"/>
              </a:ext>
              <a:ext uri="{C183D7F6-B498-43B3-948B-1728B52AA6E4}">
                <adec:decorative xmlns:adec="http://schemas.microsoft.com/office/drawing/2017/decorative" val="0"/>
              </a:ext>
            </a:extLst>
          </p:cNvPr>
          <p:cNvSpPr txBox="1"/>
          <p:nvPr/>
        </p:nvSpPr>
        <p:spPr>
          <a:xfrm>
            <a:off x="588963" y="3964426"/>
            <a:ext cx="4970008" cy="615553"/>
          </a:xfrm>
          <a:prstGeom prst="rect">
            <a:avLst/>
          </a:prstGeom>
          <a:noFill/>
        </p:spPr>
        <p:txBody>
          <a:bodyPr wrap="square" lIns="0" tIns="0" rIns="0" bIns="0" rtlCol="0">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Semibold" panose="020B0702040204020203" pitchFamily="34" charset="0"/>
              </a:rPr>
              <a:t>Build your AI capability with an open AI platform and partner ecosystem</a:t>
            </a:r>
          </a:p>
        </p:txBody>
      </p:sp>
      <p:sp>
        <p:nvSpPr>
          <p:cNvPr id="163" name="TextBox 162">
            <a:extLst>
              <a:ext uri="{FF2B5EF4-FFF2-40B4-BE49-F238E27FC236}">
                <a16:creationId xmlns:a16="http://schemas.microsoft.com/office/drawing/2014/main" id="{37AFF1D1-0D32-0865-A51D-2BD5A59D9000}"/>
              </a:ext>
              <a:ext uri="{C183D7F6-B498-43B3-948B-1728B52AA6E4}">
                <adec:decorative xmlns:adec="http://schemas.microsoft.com/office/drawing/2017/decorative" val="0"/>
              </a:ext>
            </a:extLst>
          </p:cNvPr>
          <p:cNvSpPr txBox="1"/>
          <p:nvPr/>
        </p:nvSpPr>
        <p:spPr>
          <a:xfrm>
            <a:off x="588963" y="5423364"/>
            <a:ext cx="4970008" cy="615553"/>
          </a:xfrm>
          <a:prstGeom prst="rect">
            <a:avLst/>
          </a:prstGeom>
          <a:noFill/>
        </p:spPr>
        <p:txBody>
          <a:bodyPr wrap="square" lIns="0" tIns="0" rIns="0" bIns="0" rtlCol="0">
            <a:spAutoFit/>
          </a:bodyPr>
          <a:lstStyle/>
          <a:p>
            <a:pPr marL="0" marR="0" lvl="0" indent="0" algn="l" defTabSz="860429" rtl="0" eaLnBrk="1" fontAlgn="auto" latinLnBrk="0" hangingPunct="1">
              <a:lnSpc>
                <a:spcPct val="100000"/>
              </a:lnSpc>
              <a:spcBef>
                <a:spcPts val="60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latin typeface="Segoe UI Semibold"/>
                <a:ea typeface="+mn-ea"/>
                <a:cs typeface="+mn-cs"/>
              </a:rPr>
              <a:t>Co-innovate with trust and safeguard </a:t>
            </a:r>
            <a:br>
              <a:rPr kumimoji="0" lang="en-US" sz="2000" b="1" i="0" u="none" strike="noStrike" kern="0" cap="none" spc="0" normalizeH="0" baseline="0" noProof="0">
                <a:ln>
                  <a:noFill/>
                </a:ln>
                <a:solidFill>
                  <a:srgbClr val="FFFFFF"/>
                </a:solidFill>
                <a:effectLst/>
                <a:uLnTx/>
                <a:uFillTx/>
                <a:latin typeface="Segoe UI Semibold"/>
                <a:ea typeface="+mn-ea"/>
                <a:cs typeface="+mn-cs"/>
              </a:rPr>
            </a:br>
            <a:r>
              <a:rPr kumimoji="0" lang="en-US" sz="2000" b="1" i="0" u="none" strike="noStrike" kern="0" cap="none" spc="0" normalizeH="0" baseline="0" noProof="0">
                <a:ln>
                  <a:noFill/>
                </a:ln>
                <a:solidFill>
                  <a:srgbClr val="FFFFFF"/>
                </a:solidFill>
                <a:effectLst/>
                <a:uLnTx/>
                <a:uFillTx/>
                <a:latin typeface="Segoe UI Semibold"/>
                <a:ea typeface="+mn-ea"/>
                <a:cs typeface="+mn-cs"/>
              </a:rPr>
              <a:t>your business</a:t>
            </a:r>
          </a:p>
        </p:txBody>
      </p:sp>
      <p:sp>
        <p:nvSpPr>
          <p:cNvPr id="164" name="TextBox 163" descr="A circular diagram with Microsoft Cloud at the center with Trusted and Comprehensive surrounding it. From here it breaks to six categories namely: Infrastructure, Digital and app innovation, Data and AI, Business applications, Security with Microsoft Cloud and Industry clouds at the rim">
            <a:extLst>
              <a:ext uri="{FF2B5EF4-FFF2-40B4-BE49-F238E27FC236}">
                <a16:creationId xmlns:a16="http://schemas.microsoft.com/office/drawing/2014/main" id="{86D6E3D9-CC0F-D9A3-1C72-CE15412969D3}"/>
              </a:ext>
            </a:extLst>
          </p:cNvPr>
          <p:cNvSpPr txBox="1"/>
          <p:nvPr/>
        </p:nvSpPr>
        <p:spPr>
          <a:xfrm>
            <a:off x="6296138" y="1025092"/>
            <a:ext cx="5895862" cy="5472824"/>
          </a:xfrm>
          <a:custGeom>
            <a:avLst/>
            <a:gdLst>
              <a:gd name="connsiteX0" fmla="*/ 2736412 w 5895862"/>
              <a:gd name="connsiteY0" fmla="*/ 0 h 5472824"/>
              <a:gd name="connsiteX1" fmla="*/ 5895862 w 5895862"/>
              <a:gd name="connsiteY1" fmla="*/ 0 h 5472824"/>
              <a:gd name="connsiteX2" fmla="*/ 5895862 w 5895862"/>
              <a:gd name="connsiteY2" fmla="*/ 5472824 h 5472824"/>
              <a:gd name="connsiteX3" fmla="*/ 2736412 w 5895862"/>
              <a:gd name="connsiteY3" fmla="*/ 5472824 h 5472824"/>
              <a:gd name="connsiteX4" fmla="*/ 0 w 5895862"/>
              <a:gd name="connsiteY4" fmla="*/ 2736412 h 5472824"/>
              <a:gd name="connsiteX5" fmla="*/ 2736412 w 5895862"/>
              <a:gd name="connsiteY5" fmla="*/ 0 h 5472824"/>
              <a:gd name="connsiteX0" fmla="*/ 2736412 w 5895863"/>
              <a:gd name="connsiteY0" fmla="*/ 0 h 5472824"/>
              <a:gd name="connsiteX1" fmla="*/ 5895862 w 5895863"/>
              <a:gd name="connsiteY1" fmla="*/ 0 h 5472824"/>
              <a:gd name="connsiteX2" fmla="*/ 5895863 w 5895863"/>
              <a:gd name="connsiteY2" fmla="*/ 2503714 h 5472824"/>
              <a:gd name="connsiteX3" fmla="*/ 5895862 w 5895863"/>
              <a:gd name="connsiteY3" fmla="*/ 5472824 h 5472824"/>
              <a:gd name="connsiteX4" fmla="*/ 2736412 w 5895863"/>
              <a:gd name="connsiteY4" fmla="*/ 5472824 h 5472824"/>
              <a:gd name="connsiteX5" fmla="*/ 0 w 5895863"/>
              <a:gd name="connsiteY5" fmla="*/ 2736412 h 5472824"/>
              <a:gd name="connsiteX6" fmla="*/ 2736412 w 5895863"/>
              <a:gd name="connsiteY6" fmla="*/ 0 h 5472824"/>
              <a:gd name="connsiteX0" fmla="*/ 5895863 w 5987303"/>
              <a:gd name="connsiteY0" fmla="*/ 2503714 h 5472824"/>
              <a:gd name="connsiteX1" fmla="*/ 5895862 w 5987303"/>
              <a:gd name="connsiteY1" fmla="*/ 5472824 h 5472824"/>
              <a:gd name="connsiteX2" fmla="*/ 2736412 w 5987303"/>
              <a:gd name="connsiteY2" fmla="*/ 5472824 h 5472824"/>
              <a:gd name="connsiteX3" fmla="*/ 0 w 5987303"/>
              <a:gd name="connsiteY3" fmla="*/ 2736412 h 5472824"/>
              <a:gd name="connsiteX4" fmla="*/ 2736412 w 5987303"/>
              <a:gd name="connsiteY4" fmla="*/ 0 h 5472824"/>
              <a:gd name="connsiteX5" fmla="*/ 5895862 w 5987303"/>
              <a:gd name="connsiteY5" fmla="*/ 0 h 5472824"/>
              <a:gd name="connsiteX6" fmla="*/ 5987303 w 5987303"/>
              <a:gd name="connsiteY6" fmla="*/ 2595154 h 5472824"/>
              <a:gd name="connsiteX0" fmla="*/ 5895863 w 5895863"/>
              <a:gd name="connsiteY0" fmla="*/ 2503714 h 5472824"/>
              <a:gd name="connsiteX1" fmla="*/ 5895862 w 5895863"/>
              <a:gd name="connsiteY1" fmla="*/ 5472824 h 5472824"/>
              <a:gd name="connsiteX2" fmla="*/ 2736412 w 5895863"/>
              <a:gd name="connsiteY2" fmla="*/ 5472824 h 5472824"/>
              <a:gd name="connsiteX3" fmla="*/ 0 w 5895863"/>
              <a:gd name="connsiteY3" fmla="*/ 2736412 h 5472824"/>
              <a:gd name="connsiteX4" fmla="*/ 2736412 w 5895863"/>
              <a:gd name="connsiteY4" fmla="*/ 0 h 5472824"/>
              <a:gd name="connsiteX5" fmla="*/ 5895862 w 5895863"/>
              <a:gd name="connsiteY5" fmla="*/ 0 h 5472824"/>
              <a:gd name="connsiteX0" fmla="*/ 5895862 w 5895862"/>
              <a:gd name="connsiteY0" fmla="*/ 5472824 h 5472824"/>
              <a:gd name="connsiteX1" fmla="*/ 2736412 w 5895862"/>
              <a:gd name="connsiteY1" fmla="*/ 5472824 h 5472824"/>
              <a:gd name="connsiteX2" fmla="*/ 0 w 5895862"/>
              <a:gd name="connsiteY2" fmla="*/ 2736412 h 5472824"/>
              <a:gd name="connsiteX3" fmla="*/ 2736412 w 5895862"/>
              <a:gd name="connsiteY3" fmla="*/ 0 h 5472824"/>
              <a:gd name="connsiteX4" fmla="*/ 5895862 w 5895862"/>
              <a:gd name="connsiteY4" fmla="*/ 0 h 5472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5862" h="5472824">
                <a:moveTo>
                  <a:pt x="5895862" y="5472824"/>
                </a:moveTo>
                <a:lnTo>
                  <a:pt x="2736412" y="5472824"/>
                </a:lnTo>
                <a:cubicBezTo>
                  <a:pt x="1225133" y="5472824"/>
                  <a:pt x="0" y="4247691"/>
                  <a:pt x="0" y="2736412"/>
                </a:cubicBezTo>
                <a:cubicBezTo>
                  <a:pt x="0" y="1225133"/>
                  <a:pt x="1225133" y="0"/>
                  <a:pt x="2736412" y="0"/>
                </a:cubicBezTo>
                <a:lnTo>
                  <a:pt x="5895862" y="0"/>
                </a:lnTo>
              </a:path>
            </a:pathLst>
          </a:custGeom>
          <a:noFill/>
          <a:ln w="19050" cap="rnd">
            <a:gradFill flip="none" rotWithShape="1">
              <a:gsLst>
                <a:gs pos="52000">
                  <a:srgbClr val="8DC8E8"/>
                </a:gs>
                <a:gs pos="100000">
                  <a:srgbClr val="D59ED7"/>
                </a:gs>
              </a:gsLst>
              <a:lin ang="3000000" scaled="0"/>
              <a:tileRect/>
            </a:gradFill>
            <a:headEnd type="none" w="med" len="med"/>
            <a:tailEnd type="none" w="med" len="med"/>
          </a:ln>
          <a:effectLst>
            <a:outerShdw blurRad="63500" dist="127000" dir="2700000" algn="tl" rotWithShape="0">
              <a:srgbClr val="000000">
                <a:alpha val="5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2634" rIns="0" bIns="0" numCol="1" spcCol="0" rtlCol="0" fromWordArt="0" anchor="ctr" anchorCtr="0" forceAA="0" compatLnSpc="1">
            <a:prstTxWarp prst="textNoShape">
              <a:avLst/>
            </a:prstTxWarp>
            <a:noAutofit/>
          </a:bodyPr>
          <a:lstStyle>
            <a:defPPr>
              <a:defRPr lang="en-US"/>
            </a:defPPr>
            <a:lvl1pPr algn="ctr" defTabSz="811670">
              <a:spcBef>
                <a:spcPts val="174"/>
              </a:spcBef>
              <a:defRPr sz="2400">
                <a:gradFill>
                  <a:gsLst>
                    <a:gs pos="41958">
                      <a:srgbClr val="FFFFFF"/>
                    </a:gs>
                    <a:gs pos="63000">
                      <a:srgbClr val="FFFFFF"/>
                    </a:gs>
                  </a:gsLst>
                  <a:lin ang="0" scaled="0"/>
                </a:gradFill>
                <a:latin typeface="Segoe UI Semibold"/>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11670" rtl="0" eaLnBrk="1" fontAlgn="auto" latinLnBrk="0" hangingPunct="1">
              <a:lnSpc>
                <a:spcPct val="100000"/>
              </a:lnSpc>
              <a:spcBef>
                <a:spcPts val="174"/>
              </a:spcBef>
              <a:spcAft>
                <a:spcPts val="0"/>
              </a:spcAft>
              <a:buClrTx/>
              <a:buSzTx/>
              <a:buFontTx/>
              <a:buNone/>
              <a:tabLst/>
              <a:defRPr/>
            </a:pPr>
            <a:endParaRPr kumimoji="0" lang="en-US" sz="2400" b="0" i="0" u="none" strike="noStrike" kern="1200" cap="none" spc="0" normalizeH="0" baseline="0" noProof="0">
              <a:ln>
                <a:noFill/>
              </a:ln>
              <a:gradFill>
                <a:gsLst>
                  <a:gs pos="41958">
                    <a:srgbClr val="FFFFFF"/>
                  </a:gs>
                  <a:gs pos="63000">
                    <a:srgbClr val="FFFFFF"/>
                  </a:gs>
                </a:gsLst>
                <a:lin ang="0" scaled="0"/>
              </a:gradFill>
              <a:effectLst/>
              <a:uLnTx/>
              <a:uFillTx/>
              <a:latin typeface="Segoe UI Semibold"/>
              <a:ea typeface="+mn-ea"/>
              <a:cs typeface="+mn-cs"/>
            </a:endParaRPr>
          </a:p>
        </p:txBody>
      </p:sp>
      <p:grpSp>
        <p:nvGrpSpPr>
          <p:cNvPr id="165" name="!!LLMs">
            <a:extLst>
              <a:ext uri="{FF2B5EF4-FFF2-40B4-BE49-F238E27FC236}">
                <a16:creationId xmlns:a16="http://schemas.microsoft.com/office/drawing/2014/main" id="{4D9211BB-A6A7-FEF7-7D19-C0A29336BE0E}"/>
              </a:ext>
              <a:ext uri="{C183D7F6-B498-43B3-948B-1728B52AA6E4}">
                <adec:decorative xmlns:adec="http://schemas.microsoft.com/office/drawing/2017/decorative" val="1"/>
              </a:ext>
            </a:extLst>
          </p:cNvPr>
          <p:cNvGrpSpPr/>
          <p:nvPr/>
        </p:nvGrpSpPr>
        <p:grpSpPr>
          <a:xfrm>
            <a:off x="6638327" y="3027042"/>
            <a:ext cx="4881356" cy="1700339"/>
            <a:chOff x="3655324" y="2578830"/>
            <a:chExt cx="4881356" cy="1700339"/>
          </a:xfrm>
          <a:noFill/>
          <a:scene3d>
            <a:camera prst="orthographicFront">
              <a:rot lat="600000" lon="10800000" rev="0"/>
            </a:camera>
            <a:lightRig rig="threePt" dir="t"/>
          </a:scene3d>
        </p:grpSpPr>
        <p:grpSp>
          <p:nvGrpSpPr>
            <p:cNvPr id="166" name="lines">
              <a:extLst>
                <a:ext uri="{FF2B5EF4-FFF2-40B4-BE49-F238E27FC236}">
                  <a16:creationId xmlns:a16="http://schemas.microsoft.com/office/drawing/2014/main" id="{A3195E87-A2EB-F7DF-9FA1-9EBD64FE2B60}"/>
                </a:ext>
              </a:extLst>
            </p:cNvPr>
            <p:cNvGrpSpPr/>
            <p:nvPr/>
          </p:nvGrpSpPr>
          <p:grpSpPr>
            <a:xfrm>
              <a:off x="4703248" y="2780351"/>
              <a:ext cx="2785619" cy="1297298"/>
              <a:chOff x="4703248" y="2780351"/>
              <a:chExt cx="2785619" cy="1297298"/>
            </a:xfrm>
            <a:grpFill/>
          </p:grpSpPr>
          <p:cxnSp>
            <p:nvCxnSpPr>
              <p:cNvPr id="183" name="Straight Connector 182">
                <a:extLst>
                  <a:ext uri="{FF2B5EF4-FFF2-40B4-BE49-F238E27FC236}">
                    <a16:creationId xmlns:a16="http://schemas.microsoft.com/office/drawing/2014/main" id="{D8285577-3352-68B9-0F49-FE85622D9447}"/>
                  </a:ext>
                </a:extLst>
              </p:cNvPr>
              <p:cNvCxnSpPr>
                <a:cxnSpLocks/>
              </p:cNvCxnSpPr>
              <p:nvPr/>
            </p:nvCxnSpPr>
            <p:spPr>
              <a:xfrm>
                <a:off x="5570272" y="2851928"/>
                <a:ext cx="1051561" cy="502501"/>
              </a:xfrm>
              <a:prstGeom prst="line">
                <a:avLst/>
              </a:prstGeom>
              <a:grpFill/>
              <a:ln w="19050" cap="rnd" cmpd="sng" algn="ctr">
                <a:noFill/>
                <a:prstDash val="solid"/>
                <a:headEnd type="none" w="med" len="med"/>
                <a:tailEnd type="none" w="med" len="med"/>
              </a:ln>
              <a:effectLst/>
            </p:spPr>
          </p:cxnSp>
          <p:cxnSp>
            <p:nvCxnSpPr>
              <p:cNvPr id="184" name="Straight Connector 183">
                <a:extLst>
                  <a:ext uri="{FF2B5EF4-FFF2-40B4-BE49-F238E27FC236}">
                    <a16:creationId xmlns:a16="http://schemas.microsoft.com/office/drawing/2014/main" id="{0F9E89A5-23DC-3435-A0CA-C6F2AA58D0F3}"/>
                  </a:ext>
                </a:extLst>
              </p:cNvPr>
              <p:cNvCxnSpPr>
                <a:cxnSpLocks/>
                <a:stCxn id="177" idx="6"/>
                <a:endCxn id="178" idx="2"/>
              </p:cNvCxnSpPr>
              <p:nvPr/>
            </p:nvCxnSpPr>
            <p:spPr>
              <a:xfrm>
                <a:off x="5610518" y="2780351"/>
                <a:ext cx="970963" cy="0"/>
              </a:xfrm>
              <a:prstGeom prst="line">
                <a:avLst/>
              </a:prstGeom>
              <a:grpFill/>
              <a:ln w="19050" cap="rnd" cmpd="sng" algn="ctr">
                <a:noFill/>
                <a:prstDash val="solid"/>
                <a:headEnd type="none" w="med" len="med"/>
                <a:tailEnd type="none" w="med" len="med"/>
              </a:ln>
              <a:effectLst/>
            </p:spPr>
          </p:cxnSp>
          <p:cxnSp>
            <p:nvCxnSpPr>
              <p:cNvPr id="185" name="Straight Connector 184">
                <a:extLst>
                  <a:ext uri="{FF2B5EF4-FFF2-40B4-BE49-F238E27FC236}">
                    <a16:creationId xmlns:a16="http://schemas.microsoft.com/office/drawing/2014/main" id="{562E8751-37AC-93F6-8E6F-6413689B6A8C}"/>
                  </a:ext>
                </a:extLst>
              </p:cNvPr>
              <p:cNvCxnSpPr>
                <a:cxnSpLocks/>
                <a:stCxn id="177" idx="5"/>
              </p:cNvCxnSpPr>
              <p:nvPr/>
            </p:nvCxnSpPr>
            <p:spPr>
              <a:xfrm>
                <a:off x="5551494" y="2922847"/>
                <a:ext cx="1093199" cy="1035506"/>
              </a:xfrm>
              <a:prstGeom prst="line">
                <a:avLst/>
              </a:prstGeom>
              <a:grpFill/>
              <a:ln w="19050" cap="rnd" cmpd="sng" algn="ctr">
                <a:noFill/>
                <a:prstDash val="solid"/>
                <a:headEnd type="none" w="med" len="med"/>
                <a:tailEnd type="none" w="med" len="med"/>
              </a:ln>
              <a:effectLst/>
            </p:spPr>
          </p:cxnSp>
          <p:cxnSp>
            <p:nvCxnSpPr>
              <p:cNvPr id="186" name="Straight Connector 185">
                <a:extLst>
                  <a:ext uri="{FF2B5EF4-FFF2-40B4-BE49-F238E27FC236}">
                    <a16:creationId xmlns:a16="http://schemas.microsoft.com/office/drawing/2014/main" id="{B6F1629C-E7D8-A5E1-1898-467D829008A1}"/>
                  </a:ext>
                </a:extLst>
              </p:cNvPr>
              <p:cNvCxnSpPr>
                <a:cxnSpLocks/>
              </p:cNvCxnSpPr>
              <p:nvPr/>
            </p:nvCxnSpPr>
            <p:spPr>
              <a:xfrm flipV="1">
                <a:off x="5574082" y="2847318"/>
                <a:ext cx="1051561" cy="511721"/>
              </a:xfrm>
              <a:prstGeom prst="line">
                <a:avLst/>
              </a:prstGeom>
              <a:grpFill/>
              <a:ln w="19050" cap="rnd" cmpd="sng" algn="ctr">
                <a:noFill/>
                <a:prstDash val="solid"/>
                <a:headEnd type="none" w="med" len="med"/>
                <a:tailEnd type="none" w="med" len="med"/>
              </a:ln>
              <a:effectLst/>
            </p:spPr>
          </p:cxnSp>
          <p:cxnSp>
            <p:nvCxnSpPr>
              <p:cNvPr id="187" name="Straight Connector 186">
                <a:extLst>
                  <a:ext uri="{FF2B5EF4-FFF2-40B4-BE49-F238E27FC236}">
                    <a16:creationId xmlns:a16="http://schemas.microsoft.com/office/drawing/2014/main" id="{87BDFD55-A09E-D127-6CFB-EA1DEDF6B2A8}"/>
                  </a:ext>
                </a:extLst>
              </p:cNvPr>
              <p:cNvCxnSpPr>
                <a:cxnSpLocks/>
                <a:stCxn id="179" idx="6"/>
                <a:endCxn id="180" idx="2"/>
              </p:cNvCxnSpPr>
              <p:nvPr/>
            </p:nvCxnSpPr>
            <p:spPr>
              <a:xfrm>
                <a:off x="5610518" y="3428999"/>
                <a:ext cx="970963" cy="0"/>
              </a:xfrm>
              <a:prstGeom prst="line">
                <a:avLst/>
              </a:prstGeom>
              <a:grpFill/>
              <a:ln w="19050" cap="rnd" cmpd="sng" algn="ctr">
                <a:noFill/>
                <a:prstDash val="solid"/>
                <a:headEnd type="none" w="med" len="med"/>
                <a:tailEnd type="none" w="med" len="med"/>
              </a:ln>
              <a:effectLst/>
            </p:spPr>
          </p:cxnSp>
          <p:cxnSp>
            <p:nvCxnSpPr>
              <p:cNvPr id="188" name="Straight Connector 187">
                <a:extLst>
                  <a:ext uri="{FF2B5EF4-FFF2-40B4-BE49-F238E27FC236}">
                    <a16:creationId xmlns:a16="http://schemas.microsoft.com/office/drawing/2014/main" id="{5EF6FA90-254A-0DC2-4A73-4CDCE444835B}"/>
                  </a:ext>
                </a:extLst>
              </p:cNvPr>
              <p:cNvCxnSpPr>
                <a:cxnSpLocks/>
              </p:cNvCxnSpPr>
              <p:nvPr/>
            </p:nvCxnSpPr>
            <p:spPr>
              <a:xfrm>
                <a:off x="5574082" y="3488122"/>
                <a:ext cx="1051561" cy="530162"/>
              </a:xfrm>
              <a:prstGeom prst="line">
                <a:avLst/>
              </a:prstGeom>
              <a:grpFill/>
              <a:ln w="19050" cap="rnd" cmpd="sng" algn="ctr">
                <a:noFill/>
                <a:prstDash val="solid"/>
                <a:headEnd type="none" w="med" len="med"/>
                <a:tailEnd type="none" w="med" len="med"/>
              </a:ln>
              <a:effectLst/>
            </p:spPr>
          </p:cxnSp>
          <p:cxnSp>
            <p:nvCxnSpPr>
              <p:cNvPr id="189" name="Straight Connector 188">
                <a:extLst>
                  <a:ext uri="{FF2B5EF4-FFF2-40B4-BE49-F238E27FC236}">
                    <a16:creationId xmlns:a16="http://schemas.microsoft.com/office/drawing/2014/main" id="{078D58AD-2C09-F64A-0D67-B31891CEAE41}"/>
                  </a:ext>
                </a:extLst>
              </p:cNvPr>
              <p:cNvCxnSpPr>
                <a:cxnSpLocks/>
                <a:stCxn id="181" idx="7"/>
                <a:endCxn id="178" idx="3"/>
              </p:cNvCxnSpPr>
              <p:nvPr/>
            </p:nvCxnSpPr>
            <p:spPr>
              <a:xfrm flipV="1">
                <a:off x="5551494" y="2922847"/>
                <a:ext cx="1089011" cy="1012305"/>
              </a:xfrm>
              <a:prstGeom prst="line">
                <a:avLst/>
              </a:prstGeom>
              <a:grpFill/>
              <a:ln w="19050" cap="rnd" cmpd="sng" algn="ctr">
                <a:noFill/>
                <a:prstDash val="solid"/>
                <a:headEnd type="none" w="med" len="med"/>
                <a:tailEnd type="none" w="med" len="med"/>
              </a:ln>
              <a:effectLst/>
            </p:spPr>
          </p:cxnSp>
          <p:cxnSp>
            <p:nvCxnSpPr>
              <p:cNvPr id="190" name="Straight Connector 189">
                <a:extLst>
                  <a:ext uri="{FF2B5EF4-FFF2-40B4-BE49-F238E27FC236}">
                    <a16:creationId xmlns:a16="http://schemas.microsoft.com/office/drawing/2014/main" id="{71DBF2B3-0B6A-11AA-C4F9-310EF9BCA22D}"/>
                  </a:ext>
                </a:extLst>
              </p:cNvPr>
              <p:cNvCxnSpPr>
                <a:cxnSpLocks/>
              </p:cNvCxnSpPr>
              <p:nvPr/>
            </p:nvCxnSpPr>
            <p:spPr>
              <a:xfrm flipV="1">
                <a:off x="5562652" y="3501953"/>
                <a:ext cx="1062991" cy="507111"/>
              </a:xfrm>
              <a:prstGeom prst="line">
                <a:avLst/>
              </a:prstGeom>
              <a:grpFill/>
              <a:ln w="19050" cap="rnd" cmpd="sng" algn="ctr">
                <a:noFill/>
                <a:prstDash val="solid"/>
                <a:headEnd type="none" w="med" len="med"/>
                <a:tailEnd type="none" w="med" len="med"/>
              </a:ln>
              <a:effectLst/>
            </p:spPr>
          </p:cxnSp>
          <p:cxnSp>
            <p:nvCxnSpPr>
              <p:cNvPr id="191" name="Straight Connector 190">
                <a:extLst>
                  <a:ext uri="{FF2B5EF4-FFF2-40B4-BE49-F238E27FC236}">
                    <a16:creationId xmlns:a16="http://schemas.microsoft.com/office/drawing/2014/main" id="{09303884-40CF-89C7-668F-88858BF63BD7}"/>
                  </a:ext>
                </a:extLst>
              </p:cNvPr>
              <p:cNvCxnSpPr>
                <a:cxnSpLocks/>
                <a:stCxn id="181" idx="6"/>
                <a:endCxn id="182" idx="2"/>
              </p:cNvCxnSpPr>
              <p:nvPr/>
            </p:nvCxnSpPr>
            <p:spPr>
              <a:xfrm>
                <a:off x="5610518" y="4077649"/>
                <a:ext cx="970963" cy="0"/>
              </a:xfrm>
              <a:prstGeom prst="line">
                <a:avLst/>
              </a:prstGeom>
              <a:grpFill/>
              <a:ln w="19050" cap="rnd" cmpd="sng" algn="ctr">
                <a:noFill/>
                <a:prstDash val="solid"/>
                <a:headEnd type="none" w="med" len="med"/>
                <a:tailEnd type="none" w="med" len="med"/>
              </a:ln>
              <a:effectLst/>
            </p:spPr>
          </p:cxnSp>
          <p:cxnSp>
            <p:nvCxnSpPr>
              <p:cNvPr id="192" name="Straight Connector 191">
                <a:extLst>
                  <a:ext uri="{FF2B5EF4-FFF2-40B4-BE49-F238E27FC236}">
                    <a16:creationId xmlns:a16="http://schemas.microsoft.com/office/drawing/2014/main" id="{791A82C8-9BA1-D14D-B665-FD34FCAC572A}"/>
                  </a:ext>
                </a:extLst>
              </p:cNvPr>
              <p:cNvCxnSpPr>
                <a:cxnSpLocks/>
                <a:endCxn id="177" idx="2"/>
              </p:cNvCxnSpPr>
              <p:nvPr/>
            </p:nvCxnSpPr>
            <p:spPr>
              <a:xfrm flipV="1">
                <a:off x="4703248" y="2780351"/>
                <a:ext cx="504229" cy="601812"/>
              </a:xfrm>
              <a:prstGeom prst="line">
                <a:avLst/>
              </a:prstGeom>
              <a:grpFill/>
              <a:ln w="19050" cap="rnd" cmpd="sng" algn="ctr">
                <a:noFill/>
                <a:prstDash val="solid"/>
                <a:headEnd type="none" w="med" len="med"/>
                <a:tailEnd type="none" w="med" len="med"/>
              </a:ln>
              <a:effectLst/>
            </p:spPr>
          </p:cxnSp>
          <p:cxnSp>
            <p:nvCxnSpPr>
              <p:cNvPr id="193" name="Straight Connector 192">
                <a:extLst>
                  <a:ext uri="{FF2B5EF4-FFF2-40B4-BE49-F238E27FC236}">
                    <a16:creationId xmlns:a16="http://schemas.microsoft.com/office/drawing/2014/main" id="{4FF941C3-8295-004F-ABE8-3DAFB1A33E54}"/>
                  </a:ext>
                </a:extLst>
              </p:cNvPr>
              <p:cNvCxnSpPr>
                <a:cxnSpLocks/>
                <a:stCxn id="168" idx="3"/>
                <a:endCxn id="179" idx="2"/>
              </p:cNvCxnSpPr>
              <p:nvPr/>
            </p:nvCxnSpPr>
            <p:spPr>
              <a:xfrm flipV="1">
                <a:off x="4761748" y="3428999"/>
                <a:ext cx="445729" cy="3"/>
              </a:xfrm>
              <a:prstGeom prst="line">
                <a:avLst/>
              </a:prstGeom>
              <a:grpFill/>
              <a:ln w="19050" cap="rnd" cmpd="sng" algn="ctr">
                <a:noFill/>
                <a:prstDash val="solid"/>
                <a:headEnd type="none" w="med" len="med"/>
                <a:tailEnd type="none" w="med" len="med"/>
              </a:ln>
              <a:effectLst/>
            </p:spPr>
          </p:cxnSp>
          <p:cxnSp>
            <p:nvCxnSpPr>
              <p:cNvPr id="194" name="Straight Connector 193">
                <a:extLst>
                  <a:ext uri="{FF2B5EF4-FFF2-40B4-BE49-F238E27FC236}">
                    <a16:creationId xmlns:a16="http://schemas.microsoft.com/office/drawing/2014/main" id="{76DE04FE-0996-23BC-7D9F-E6D7B4BCB1E1}"/>
                  </a:ext>
                </a:extLst>
              </p:cNvPr>
              <p:cNvCxnSpPr>
                <a:cxnSpLocks/>
                <a:endCxn id="181" idx="2"/>
              </p:cNvCxnSpPr>
              <p:nvPr/>
            </p:nvCxnSpPr>
            <p:spPr>
              <a:xfrm>
                <a:off x="4706042" y="3482748"/>
                <a:ext cx="501435" cy="594901"/>
              </a:xfrm>
              <a:prstGeom prst="line">
                <a:avLst/>
              </a:prstGeom>
              <a:grpFill/>
              <a:ln w="19050" cap="rnd" cmpd="sng" algn="ctr">
                <a:noFill/>
                <a:prstDash val="solid"/>
                <a:headEnd type="none" w="med" len="med"/>
                <a:tailEnd type="none" w="med" len="med"/>
              </a:ln>
              <a:effectLst/>
            </p:spPr>
          </p:cxnSp>
          <p:cxnSp>
            <p:nvCxnSpPr>
              <p:cNvPr id="195" name="Straight Connector 194">
                <a:extLst>
                  <a:ext uri="{FF2B5EF4-FFF2-40B4-BE49-F238E27FC236}">
                    <a16:creationId xmlns:a16="http://schemas.microsoft.com/office/drawing/2014/main" id="{9DB82248-0289-3C37-FF71-D14FB9B1E6A0}"/>
                  </a:ext>
                </a:extLst>
              </p:cNvPr>
              <p:cNvCxnSpPr>
                <a:cxnSpLocks/>
                <a:stCxn id="178" idx="6"/>
              </p:cNvCxnSpPr>
              <p:nvPr/>
            </p:nvCxnSpPr>
            <p:spPr>
              <a:xfrm>
                <a:off x="6984522" y="2780351"/>
                <a:ext cx="501551" cy="601812"/>
              </a:xfrm>
              <a:prstGeom prst="line">
                <a:avLst/>
              </a:prstGeom>
              <a:grpFill/>
              <a:ln w="19050" cap="rnd" cmpd="sng" algn="ctr">
                <a:noFill/>
                <a:prstDash val="solid"/>
                <a:headEnd type="none" w="med" len="med"/>
                <a:tailEnd type="none" w="med" len="med"/>
              </a:ln>
              <a:effectLst/>
            </p:spPr>
          </p:cxnSp>
          <p:cxnSp>
            <p:nvCxnSpPr>
              <p:cNvPr id="196" name="Straight Connector 195">
                <a:extLst>
                  <a:ext uri="{FF2B5EF4-FFF2-40B4-BE49-F238E27FC236}">
                    <a16:creationId xmlns:a16="http://schemas.microsoft.com/office/drawing/2014/main" id="{5959610A-16A4-7F24-76AE-04163005CD44}"/>
                  </a:ext>
                </a:extLst>
              </p:cNvPr>
              <p:cNvCxnSpPr>
                <a:cxnSpLocks/>
                <a:stCxn id="180" idx="6"/>
                <a:endCxn id="169" idx="1"/>
              </p:cNvCxnSpPr>
              <p:nvPr/>
            </p:nvCxnSpPr>
            <p:spPr>
              <a:xfrm>
                <a:off x="6984522" y="3428999"/>
                <a:ext cx="445734" cy="3"/>
              </a:xfrm>
              <a:prstGeom prst="line">
                <a:avLst/>
              </a:prstGeom>
              <a:grpFill/>
              <a:ln w="19050" cap="rnd" cmpd="sng" algn="ctr">
                <a:noFill/>
                <a:prstDash val="solid"/>
                <a:headEnd type="none" w="med" len="med"/>
                <a:tailEnd type="none" w="med" len="med"/>
              </a:ln>
              <a:effectLst/>
            </p:spPr>
          </p:cxnSp>
          <p:cxnSp>
            <p:nvCxnSpPr>
              <p:cNvPr id="197" name="Straight Connector 196">
                <a:extLst>
                  <a:ext uri="{FF2B5EF4-FFF2-40B4-BE49-F238E27FC236}">
                    <a16:creationId xmlns:a16="http://schemas.microsoft.com/office/drawing/2014/main" id="{826AE3A0-F9BB-EEBD-BABE-365CC29BBDB2}"/>
                  </a:ext>
                </a:extLst>
              </p:cNvPr>
              <p:cNvCxnSpPr>
                <a:cxnSpLocks/>
                <a:stCxn id="182" idx="6"/>
              </p:cNvCxnSpPr>
              <p:nvPr/>
            </p:nvCxnSpPr>
            <p:spPr>
              <a:xfrm flipV="1">
                <a:off x="6984522" y="3477160"/>
                <a:ext cx="504345" cy="600489"/>
              </a:xfrm>
              <a:prstGeom prst="line">
                <a:avLst/>
              </a:prstGeom>
              <a:grpFill/>
              <a:ln w="19050" cap="rnd" cmpd="sng" algn="ctr">
                <a:noFill/>
                <a:prstDash val="solid"/>
                <a:headEnd type="none" w="med" len="med"/>
                <a:tailEnd type="none" w="med" len="med"/>
              </a:ln>
              <a:effectLst/>
            </p:spPr>
          </p:cxnSp>
        </p:grpSp>
        <p:grpSp>
          <p:nvGrpSpPr>
            <p:cNvPr id="167" name="circles">
              <a:extLst>
                <a:ext uri="{FF2B5EF4-FFF2-40B4-BE49-F238E27FC236}">
                  <a16:creationId xmlns:a16="http://schemas.microsoft.com/office/drawing/2014/main" id="{23D811B2-EA71-306A-09A6-A3B03916779C}"/>
                </a:ext>
              </a:extLst>
            </p:cNvPr>
            <p:cNvGrpSpPr/>
            <p:nvPr/>
          </p:nvGrpSpPr>
          <p:grpSpPr>
            <a:xfrm>
              <a:off x="5207477" y="2578830"/>
              <a:ext cx="1777045" cy="1700339"/>
              <a:chOff x="5207477" y="2578830"/>
              <a:chExt cx="1777045" cy="1700339"/>
            </a:xfrm>
            <a:grpFill/>
          </p:grpSpPr>
          <p:sp>
            <p:nvSpPr>
              <p:cNvPr id="177" name="Oval 176">
                <a:extLst>
                  <a:ext uri="{FF2B5EF4-FFF2-40B4-BE49-F238E27FC236}">
                    <a16:creationId xmlns:a16="http://schemas.microsoft.com/office/drawing/2014/main" id="{AF33070C-C1AF-EB2D-B366-E08EB031BC2D}"/>
                  </a:ext>
                </a:extLst>
              </p:cNvPr>
              <p:cNvSpPr/>
              <p:nvPr/>
            </p:nvSpPr>
            <p:spPr bwMode="auto">
              <a:xfrm>
                <a:off x="5207477" y="2578830"/>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178" name="Oval 177">
                <a:extLst>
                  <a:ext uri="{FF2B5EF4-FFF2-40B4-BE49-F238E27FC236}">
                    <a16:creationId xmlns:a16="http://schemas.microsoft.com/office/drawing/2014/main" id="{5BEB5829-0E20-1B44-0F03-3CC868D464E7}"/>
                  </a:ext>
                </a:extLst>
              </p:cNvPr>
              <p:cNvSpPr/>
              <p:nvPr/>
            </p:nvSpPr>
            <p:spPr bwMode="auto">
              <a:xfrm>
                <a:off x="6581481" y="2578830"/>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179" name="Oval 178">
                <a:extLst>
                  <a:ext uri="{FF2B5EF4-FFF2-40B4-BE49-F238E27FC236}">
                    <a16:creationId xmlns:a16="http://schemas.microsoft.com/office/drawing/2014/main" id="{C17FE11B-5ACD-E56C-22D0-6968483C2DEA}"/>
                  </a:ext>
                </a:extLst>
              </p:cNvPr>
              <p:cNvSpPr/>
              <p:nvPr/>
            </p:nvSpPr>
            <p:spPr bwMode="auto">
              <a:xfrm>
                <a:off x="5207477" y="3227478"/>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180" name="Oval 179">
                <a:extLst>
                  <a:ext uri="{FF2B5EF4-FFF2-40B4-BE49-F238E27FC236}">
                    <a16:creationId xmlns:a16="http://schemas.microsoft.com/office/drawing/2014/main" id="{72175084-1396-DFEA-C807-E17E7743F9C7}"/>
                  </a:ext>
                </a:extLst>
              </p:cNvPr>
              <p:cNvSpPr/>
              <p:nvPr/>
            </p:nvSpPr>
            <p:spPr bwMode="auto">
              <a:xfrm>
                <a:off x="6581481" y="3227478"/>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181" name="Oval 180">
                <a:extLst>
                  <a:ext uri="{FF2B5EF4-FFF2-40B4-BE49-F238E27FC236}">
                    <a16:creationId xmlns:a16="http://schemas.microsoft.com/office/drawing/2014/main" id="{6D4C15D3-2ACC-1FEE-7EDB-ED1EA419CD53}"/>
                  </a:ext>
                </a:extLst>
              </p:cNvPr>
              <p:cNvSpPr/>
              <p:nvPr/>
            </p:nvSpPr>
            <p:spPr bwMode="auto">
              <a:xfrm>
                <a:off x="5207477" y="3876128"/>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182" name="Oval 181">
                <a:extLst>
                  <a:ext uri="{FF2B5EF4-FFF2-40B4-BE49-F238E27FC236}">
                    <a16:creationId xmlns:a16="http://schemas.microsoft.com/office/drawing/2014/main" id="{CE16780A-42BA-3EF7-D1F4-2C1D6877EE3E}"/>
                  </a:ext>
                </a:extLst>
              </p:cNvPr>
              <p:cNvSpPr/>
              <p:nvPr/>
            </p:nvSpPr>
            <p:spPr bwMode="auto">
              <a:xfrm>
                <a:off x="6581481" y="3876128"/>
                <a:ext cx="403041" cy="403041"/>
              </a:xfrm>
              <a:prstGeom prst="ellipse">
                <a:avLst/>
              </a:pr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grpSp>
        <p:sp>
          <p:nvSpPr>
            <p:cNvPr id="168" name="Rectangle: Rounded Corners 167">
              <a:extLst>
                <a:ext uri="{FF2B5EF4-FFF2-40B4-BE49-F238E27FC236}">
                  <a16:creationId xmlns:a16="http://schemas.microsoft.com/office/drawing/2014/main" id="{91EE8CA7-14E5-23B0-F971-475CD4428FD3}"/>
                </a:ext>
              </a:extLst>
            </p:cNvPr>
            <p:cNvSpPr/>
            <p:nvPr/>
          </p:nvSpPr>
          <p:spPr bwMode="auto">
            <a:xfrm>
              <a:off x="3655324" y="3174640"/>
              <a:ext cx="1106424" cy="508724"/>
            </a:xfrm>
            <a:prstGeom prst="roundRect">
              <a:avLst>
                <a:gd name="adj" fmla="val 50000"/>
              </a:avLst>
            </a:prstGeom>
            <a:grp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sp>
          <p:nvSpPr>
            <p:cNvPr id="169" name="Rectangle: Rounded Corners 168">
              <a:extLst>
                <a:ext uri="{FF2B5EF4-FFF2-40B4-BE49-F238E27FC236}">
                  <a16:creationId xmlns:a16="http://schemas.microsoft.com/office/drawing/2014/main" id="{A71325D4-BF1C-844D-8834-EDBE48BF949D}"/>
                </a:ext>
              </a:extLst>
            </p:cNvPr>
            <p:cNvSpPr/>
            <p:nvPr/>
          </p:nvSpPr>
          <p:spPr bwMode="auto">
            <a:xfrm>
              <a:off x="7430256" y="3174640"/>
              <a:ext cx="1106424" cy="508724"/>
            </a:xfrm>
            <a:prstGeom prst="roundRect">
              <a:avLst>
                <a:gd name="adj" fmla="val 50000"/>
              </a:avLst>
            </a:prstGeom>
            <a:grp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91F2C"/>
                </a:solidFill>
                <a:effectLst/>
                <a:uLnTx/>
                <a:uFillTx/>
                <a:latin typeface="Segoe UI"/>
                <a:ea typeface="+mn-ea"/>
                <a:cs typeface="Segoe UI" pitchFamily="34" charset="0"/>
              </a:endParaRPr>
            </a:p>
          </p:txBody>
        </p:sp>
        <p:grpSp>
          <p:nvGrpSpPr>
            <p:cNvPr id="170" name="icons">
              <a:extLst>
                <a:ext uri="{FF2B5EF4-FFF2-40B4-BE49-F238E27FC236}">
                  <a16:creationId xmlns:a16="http://schemas.microsoft.com/office/drawing/2014/main" id="{127987C2-1D28-20BF-CCD4-BA73BB146EE6}"/>
                </a:ext>
              </a:extLst>
            </p:cNvPr>
            <p:cNvGrpSpPr/>
            <p:nvPr/>
          </p:nvGrpSpPr>
          <p:grpSpPr>
            <a:xfrm>
              <a:off x="5332797" y="2691114"/>
              <a:ext cx="1536327" cy="1470075"/>
              <a:chOff x="5332797" y="2691114"/>
              <a:chExt cx="1536327" cy="1470075"/>
            </a:xfrm>
            <a:grpFill/>
          </p:grpSpPr>
          <p:sp>
            <p:nvSpPr>
              <p:cNvPr id="171" name="Graphic 27">
                <a:extLst>
                  <a:ext uri="{FF2B5EF4-FFF2-40B4-BE49-F238E27FC236}">
                    <a16:creationId xmlns:a16="http://schemas.microsoft.com/office/drawing/2014/main" id="{7A192D89-B5E7-0626-4BAA-4B46E318AA58}"/>
                  </a:ext>
                </a:extLst>
              </p:cNvPr>
              <p:cNvSpPr>
                <a:spLocks noChangeAspect="1"/>
              </p:cNvSpPr>
              <p:nvPr/>
            </p:nvSpPr>
            <p:spPr>
              <a:xfrm>
                <a:off x="6712940" y="3353857"/>
                <a:ext cx="150282" cy="150282"/>
              </a:xfrm>
              <a:custGeom>
                <a:avLst/>
                <a:gdLst>
                  <a:gd name="connsiteX0" fmla="*/ 161925 w 200025"/>
                  <a:gd name="connsiteY0" fmla="*/ 109538 h 200025"/>
                  <a:gd name="connsiteX1" fmla="*/ 168688 w 200025"/>
                  <a:gd name="connsiteY1" fmla="*/ 92869 h 200025"/>
                  <a:gd name="connsiteX2" fmla="*/ 104775 w 200025"/>
                  <a:gd name="connsiteY2" fmla="*/ 92869 h 200025"/>
                  <a:gd name="connsiteX3" fmla="*/ 88106 w 200025"/>
                  <a:gd name="connsiteY3" fmla="*/ 76200 h 200025"/>
                  <a:gd name="connsiteX4" fmla="*/ 88106 w 200025"/>
                  <a:gd name="connsiteY4" fmla="*/ 0 h 200025"/>
                  <a:gd name="connsiteX5" fmla="*/ 0 w 200025"/>
                  <a:gd name="connsiteY5" fmla="*/ 90488 h 200025"/>
                  <a:gd name="connsiteX6" fmla="*/ 85725 w 200025"/>
                  <a:gd name="connsiteY6" fmla="*/ 180880 h 200025"/>
                  <a:gd name="connsiteX7" fmla="*/ 85725 w 200025"/>
                  <a:gd name="connsiteY7" fmla="*/ 166688 h 200025"/>
                  <a:gd name="connsiteX8" fmla="*/ 109538 w 200025"/>
                  <a:gd name="connsiteY8" fmla="*/ 142875 h 200025"/>
                  <a:gd name="connsiteX9" fmla="*/ 123825 w 200025"/>
                  <a:gd name="connsiteY9" fmla="*/ 147638 h 200025"/>
                  <a:gd name="connsiteX10" fmla="*/ 123825 w 200025"/>
                  <a:gd name="connsiteY10" fmla="*/ 138113 h 200025"/>
                  <a:gd name="connsiteX11" fmla="*/ 147638 w 200025"/>
                  <a:gd name="connsiteY11" fmla="*/ 114300 h 200025"/>
                  <a:gd name="connsiteX12" fmla="*/ 161925 w 200025"/>
                  <a:gd name="connsiteY12" fmla="*/ 119063 h 200025"/>
                  <a:gd name="connsiteX13" fmla="*/ 161925 w 200025"/>
                  <a:gd name="connsiteY13" fmla="*/ 109538 h 200025"/>
                  <a:gd name="connsiteX14" fmla="*/ 102394 w 200025"/>
                  <a:gd name="connsiteY14" fmla="*/ 762 h 200025"/>
                  <a:gd name="connsiteX15" fmla="*/ 102394 w 200025"/>
                  <a:gd name="connsiteY15" fmla="*/ 76200 h 200025"/>
                  <a:gd name="connsiteX16" fmla="*/ 104775 w 200025"/>
                  <a:gd name="connsiteY16" fmla="*/ 78581 h 200025"/>
                  <a:gd name="connsiteX17" fmla="*/ 180213 w 200025"/>
                  <a:gd name="connsiteY17" fmla="*/ 78581 h 200025"/>
                  <a:gd name="connsiteX18" fmla="*/ 102394 w 200025"/>
                  <a:gd name="connsiteY18" fmla="*/ 762 h 200025"/>
                  <a:gd name="connsiteX19" fmla="*/ 185738 w 200025"/>
                  <a:gd name="connsiteY19" fmla="*/ 95250 h 200025"/>
                  <a:gd name="connsiteX20" fmla="*/ 171450 w 200025"/>
                  <a:gd name="connsiteY20" fmla="*/ 109538 h 200025"/>
                  <a:gd name="connsiteX21" fmla="*/ 171450 w 200025"/>
                  <a:gd name="connsiteY21" fmla="*/ 185738 h 200025"/>
                  <a:gd name="connsiteX22" fmla="*/ 185738 w 200025"/>
                  <a:gd name="connsiteY22" fmla="*/ 200025 h 200025"/>
                  <a:gd name="connsiteX23" fmla="*/ 200025 w 200025"/>
                  <a:gd name="connsiteY23" fmla="*/ 185738 h 200025"/>
                  <a:gd name="connsiteX24" fmla="*/ 200025 w 200025"/>
                  <a:gd name="connsiteY24" fmla="*/ 109538 h 200025"/>
                  <a:gd name="connsiteX25" fmla="*/ 185738 w 200025"/>
                  <a:gd name="connsiteY25" fmla="*/ 95250 h 200025"/>
                  <a:gd name="connsiteX26" fmla="*/ 109538 w 200025"/>
                  <a:gd name="connsiteY26" fmla="*/ 152400 h 200025"/>
                  <a:gd name="connsiteX27" fmla="*/ 95250 w 200025"/>
                  <a:gd name="connsiteY27" fmla="*/ 166688 h 200025"/>
                  <a:gd name="connsiteX28" fmla="*/ 95250 w 200025"/>
                  <a:gd name="connsiteY28" fmla="*/ 185738 h 200025"/>
                  <a:gd name="connsiteX29" fmla="*/ 109538 w 200025"/>
                  <a:gd name="connsiteY29" fmla="*/ 200025 h 200025"/>
                  <a:gd name="connsiteX30" fmla="*/ 123825 w 200025"/>
                  <a:gd name="connsiteY30" fmla="*/ 185738 h 200025"/>
                  <a:gd name="connsiteX31" fmla="*/ 123825 w 200025"/>
                  <a:gd name="connsiteY31" fmla="*/ 166688 h 200025"/>
                  <a:gd name="connsiteX32" fmla="*/ 109538 w 200025"/>
                  <a:gd name="connsiteY32" fmla="*/ 152400 h 200025"/>
                  <a:gd name="connsiteX33" fmla="*/ 133350 w 200025"/>
                  <a:gd name="connsiteY33" fmla="*/ 138113 h 200025"/>
                  <a:gd name="connsiteX34" fmla="*/ 147638 w 200025"/>
                  <a:gd name="connsiteY34" fmla="*/ 123825 h 200025"/>
                  <a:gd name="connsiteX35" fmla="*/ 161925 w 200025"/>
                  <a:gd name="connsiteY35" fmla="*/ 138113 h 200025"/>
                  <a:gd name="connsiteX36" fmla="*/ 161925 w 200025"/>
                  <a:gd name="connsiteY36" fmla="*/ 185738 h 200025"/>
                  <a:gd name="connsiteX37" fmla="*/ 147638 w 200025"/>
                  <a:gd name="connsiteY37" fmla="*/ 200025 h 200025"/>
                  <a:gd name="connsiteX38" fmla="*/ 133350 w 200025"/>
                  <a:gd name="connsiteY38" fmla="*/ 185738 h 200025"/>
                  <a:gd name="connsiteX39" fmla="*/ 133350 w 200025"/>
                  <a:gd name="connsiteY39" fmla="*/ 138113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0025" h="200025">
                    <a:moveTo>
                      <a:pt x="161925" y="109538"/>
                    </a:moveTo>
                    <a:cubicBezTo>
                      <a:pt x="161925" y="103061"/>
                      <a:pt x="164497" y="97155"/>
                      <a:pt x="168688" y="92869"/>
                    </a:cubicBezTo>
                    <a:lnTo>
                      <a:pt x="104775" y="92869"/>
                    </a:lnTo>
                    <a:cubicBezTo>
                      <a:pt x="95536" y="92869"/>
                      <a:pt x="88106" y="85439"/>
                      <a:pt x="88106" y="76200"/>
                    </a:cubicBezTo>
                    <a:lnTo>
                      <a:pt x="88106" y="0"/>
                    </a:lnTo>
                    <a:cubicBezTo>
                      <a:pt x="39243" y="1238"/>
                      <a:pt x="0" y="41243"/>
                      <a:pt x="0" y="90488"/>
                    </a:cubicBezTo>
                    <a:cubicBezTo>
                      <a:pt x="0" y="139732"/>
                      <a:pt x="38005" y="178403"/>
                      <a:pt x="85725" y="180880"/>
                    </a:cubicBezTo>
                    <a:lnTo>
                      <a:pt x="85725" y="166688"/>
                    </a:lnTo>
                    <a:cubicBezTo>
                      <a:pt x="85725" y="153543"/>
                      <a:pt x="96393" y="142875"/>
                      <a:pt x="109538" y="142875"/>
                    </a:cubicBezTo>
                    <a:cubicBezTo>
                      <a:pt x="114872" y="142875"/>
                      <a:pt x="119825" y="144685"/>
                      <a:pt x="123825" y="147638"/>
                    </a:cubicBezTo>
                    <a:lnTo>
                      <a:pt x="123825" y="138113"/>
                    </a:lnTo>
                    <a:cubicBezTo>
                      <a:pt x="123825" y="124968"/>
                      <a:pt x="134493" y="114300"/>
                      <a:pt x="147638" y="114300"/>
                    </a:cubicBezTo>
                    <a:cubicBezTo>
                      <a:pt x="152972" y="114300"/>
                      <a:pt x="157925" y="116110"/>
                      <a:pt x="161925" y="119063"/>
                    </a:cubicBezTo>
                    <a:lnTo>
                      <a:pt x="161925" y="109538"/>
                    </a:lnTo>
                    <a:close/>
                    <a:moveTo>
                      <a:pt x="102394" y="762"/>
                    </a:moveTo>
                    <a:lnTo>
                      <a:pt x="102394" y="76200"/>
                    </a:lnTo>
                    <a:cubicBezTo>
                      <a:pt x="102394" y="77534"/>
                      <a:pt x="103442" y="78581"/>
                      <a:pt x="104775" y="78581"/>
                    </a:cubicBezTo>
                    <a:lnTo>
                      <a:pt x="180213" y="78581"/>
                    </a:lnTo>
                    <a:cubicBezTo>
                      <a:pt x="174879" y="38100"/>
                      <a:pt x="142875" y="6096"/>
                      <a:pt x="102394" y="762"/>
                    </a:cubicBezTo>
                    <a:close/>
                    <a:moveTo>
                      <a:pt x="185738" y="95250"/>
                    </a:moveTo>
                    <a:cubicBezTo>
                      <a:pt x="177832" y="95250"/>
                      <a:pt x="171450" y="101632"/>
                      <a:pt x="171450" y="109538"/>
                    </a:cubicBezTo>
                    <a:lnTo>
                      <a:pt x="171450" y="185738"/>
                    </a:lnTo>
                    <a:cubicBezTo>
                      <a:pt x="171450" y="193643"/>
                      <a:pt x="177832" y="200025"/>
                      <a:pt x="185738" y="200025"/>
                    </a:cubicBezTo>
                    <a:cubicBezTo>
                      <a:pt x="193643" y="200025"/>
                      <a:pt x="200025" y="193643"/>
                      <a:pt x="200025" y="185738"/>
                    </a:cubicBezTo>
                    <a:lnTo>
                      <a:pt x="200025" y="109538"/>
                    </a:lnTo>
                    <a:cubicBezTo>
                      <a:pt x="200025" y="101632"/>
                      <a:pt x="193643" y="95250"/>
                      <a:pt x="185738" y="95250"/>
                    </a:cubicBezTo>
                    <a:close/>
                    <a:moveTo>
                      <a:pt x="109538" y="152400"/>
                    </a:moveTo>
                    <a:cubicBezTo>
                      <a:pt x="101632" y="152400"/>
                      <a:pt x="95250" y="158782"/>
                      <a:pt x="95250" y="166688"/>
                    </a:cubicBezTo>
                    <a:lnTo>
                      <a:pt x="95250" y="185738"/>
                    </a:lnTo>
                    <a:cubicBezTo>
                      <a:pt x="95250" y="193643"/>
                      <a:pt x="101632" y="200025"/>
                      <a:pt x="109538" y="200025"/>
                    </a:cubicBezTo>
                    <a:cubicBezTo>
                      <a:pt x="117443" y="200025"/>
                      <a:pt x="123825" y="193643"/>
                      <a:pt x="123825" y="185738"/>
                    </a:cubicBezTo>
                    <a:lnTo>
                      <a:pt x="123825" y="166688"/>
                    </a:lnTo>
                    <a:cubicBezTo>
                      <a:pt x="123825" y="158782"/>
                      <a:pt x="117443" y="152400"/>
                      <a:pt x="109538" y="152400"/>
                    </a:cubicBezTo>
                    <a:close/>
                    <a:moveTo>
                      <a:pt x="133350" y="138113"/>
                    </a:moveTo>
                    <a:cubicBezTo>
                      <a:pt x="133350" y="130207"/>
                      <a:pt x="139732" y="123825"/>
                      <a:pt x="147638" y="123825"/>
                    </a:cubicBezTo>
                    <a:cubicBezTo>
                      <a:pt x="155543" y="123825"/>
                      <a:pt x="161925" y="130207"/>
                      <a:pt x="161925" y="138113"/>
                    </a:cubicBezTo>
                    <a:lnTo>
                      <a:pt x="161925" y="185738"/>
                    </a:lnTo>
                    <a:cubicBezTo>
                      <a:pt x="161925" y="193643"/>
                      <a:pt x="155543" y="200025"/>
                      <a:pt x="147638" y="200025"/>
                    </a:cubicBezTo>
                    <a:cubicBezTo>
                      <a:pt x="139732" y="200025"/>
                      <a:pt x="133350" y="193643"/>
                      <a:pt x="133350" y="185738"/>
                    </a:cubicBezTo>
                    <a:lnTo>
                      <a:pt x="133350" y="1381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2" name="Graphic 43">
                <a:extLst>
                  <a:ext uri="{FF2B5EF4-FFF2-40B4-BE49-F238E27FC236}">
                    <a16:creationId xmlns:a16="http://schemas.microsoft.com/office/drawing/2014/main" id="{EEDE9FEF-22A7-A110-CAC4-2AC45A04EF7F}"/>
                  </a:ext>
                </a:extLst>
              </p:cNvPr>
              <p:cNvSpPr>
                <a:spLocks noChangeAspect="1"/>
              </p:cNvSpPr>
              <p:nvPr/>
            </p:nvSpPr>
            <p:spPr>
              <a:xfrm>
                <a:off x="5332797" y="3352798"/>
                <a:ext cx="152400" cy="152400"/>
              </a:xfrm>
              <a:custGeom>
                <a:avLst/>
                <a:gdLst>
                  <a:gd name="connsiteX0" fmla="*/ 23813 w 152400"/>
                  <a:gd name="connsiteY0" fmla="*/ 0 h 152400"/>
                  <a:gd name="connsiteX1" fmla="*/ 0 w 152400"/>
                  <a:gd name="connsiteY1" fmla="*/ 23813 h 152400"/>
                  <a:gd name="connsiteX2" fmla="*/ 0 w 152400"/>
                  <a:gd name="connsiteY2" fmla="*/ 100013 h 152400"/>
                  <a:gd name="connsiteX3" fmla="*/ 23813 w 152400"/>
                  <a:gd name="connsiteY3" fmla="*/ 123825 h 152400"/>
                  <a:gd name="connsiteX4" fmla="*/ 100013 w 152400"/>
                  <a:gd name="connsiteY4" fmla="*/ 123825 h 152400"/>
                  <a:gd name="connsiteX5" fmla="*/ 123825 w 152400"/>
                  <a:gd name="connsiteY5" fmla="*/ 100013 h 152400"/>
                  <a:gd name="connsiteX6" fmla="*/ 123825 w 152400"/>
                  <a:gd name="connsiteY6" fmla="*/ 23813 h 152400"/>
                  <a:gd name="connsiteX7" fmla="*/ 100013 w 152400"/>
                  <a:gd name="connsiteY7" fmla="*/ 0 h 152400"/>
                  <a:gd name="connsiteX8" fmla="*/ 23813 w 152400"/>
                  <a:gd name="connsiteY8" fmla="*/ 0 h 152400"/>
                  <a:gd name="connsiteX9" fmla="*/ 9525 w 152400"/>
                  <a:gd name="connsiteY9" fmla="*/ 100013 h 152400"/>
                  <a:gd name="connsiteX10" fmla="*/ 9525 w 152400"/>
                  <a:gd name="connsiteY10" fmla="*/ 38100 h 152400"/>
                  <a:gd name="connsiteX11" fmla="*/ 114300 w 152400"/>
                  <a:gd name="connsiteY11" fmla="*/ 38100 h 152400"/>
                  <a:gd name="connsiteX12" fmla="*/ 114300 w 152400"/>
                  <a:gd name="connsiteY12" fmla="*/ 100013 h 152400"/>
                  <a:gd name="connsiteX13" fmla="*/ 100013 w 152400"/>
                  <a:gd name="connsiteY13" fmla="*/ 114300 h 152400"/>
                  <a:gd name="connsiteX14" fmla="*/ 23813 w 152400"/>
                  <a:gd name="connsiteY14" fmla="*/ 114300 h 152400"/>
                  <a:gd name="connsiteX15" fmla="*/ 9525 w 152400"/>
                  <a:gd name="connsiteY15" fmla="*/ 100013 h 152400"/>
                  <a:gd name="connsiteX16" fmla="*/ 52388 w 152400"/>
                  <a:gd name="connsiteY16" fmla="*/ 152400 h 152400"/>
                  <a:gd name="connsiteX17" fmla="*/ 29051 w 152400"/>
                  <a:gd name="connsiteY17" fmla="*/ 133350 h 152400"/>
                  <a:gd name="connsiteX18" fmla="*/ 38957 w 152400"/>
                  <a:gd name="connsiteY18" fmla="*/ 133350 h 152400"/>
                  <a:gd name="connsiteX19" fmla="*/ 52388 w 152400"/>
                  <a:gd name="connsiteY19" fmla="*/ 142875 h 152400"/>
                  <a:gd name="connsiteX20" fmla="*/ 114300 w 152400"/>
                  <a:gd name="connsiteY20" fmla="*/ 142875 h 152400"/>
                  <a:gd name="connsiteX21" fmla="*/ 142875 w 152400"/>
                  <a:gd name="connsiteY21" fmla="*/ 114300 h 152400"/>
                  <a:gd name="connsiteX22" fmla="*/ 142875 w 152400"/>
                  <a:gd name="connsiteY22" fmla="*/ 52388 h 152400"/>
                  <a:gd name="connsiteX23" fmla="*/ 133350 w 152400"/>
                  <a:gd name="connsiteY23" fmla="*/ 38957 h 152400"/>
                  <a:gd name="connsiteX24" fmla="*/ 133350 w 152400"/>
                  <a:gd name="connsiteY24" fmla="*/ 29051 h 152400"/>
                  <a:gd name="connsiteX25" fmla="*/ 152400 w 152400"/>
                  <a:gd name="connsiteY25" fmla="*/ 52388 h 152400"/>
                  <a:gd name="connsiteX26" fmla="*/ 152400 w 152400"/>
                  <a:gd name="connsiteY26" fmla="*/ 114300 h 152400"/>
                  <a:gd name="connsiteX27" fmla="*/ 114300 w 152400"/>
                  <a:gd name="connsiteY27" fmla="*/ 152400 h 152400"/>
                  <a:gd name="connsiteX28" fmla="*/ 52388 w 152400"/>
                  <a:gd name="connsiteY28" fmla="*/ 152400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2400" h="152400">
                    <a:moveTo>
                      <a:pt x="23813" y="0"/>
                    </a:moveTo>
                    <a:cubicBezTo>
                      <a:pt x="10668" y="0"/>
                      <a:pt x="0" y="10668"/>
                      <a:pt x="0" y="23813"/>
                    </a:cubicBezTo>
                    <a:lnTo>
                      <a:pt x="0" y="100013"/>
                    </a:lnTo>
                    <a:cubicBezTo>
                      <a:pt x="0" y="113157"/>
                      <a:pt x="10668" y="123825"/>
                      <a:pt x="23813" y="123825"/>
                    </a:cubicBezTo>
                    <a:lnTo>
                      <a:pt x="100013" y="123825"/>
                    </a:lnTo>
                    <a:cubicBezTo>
                      <a:pt x="113157" y="123825"/>
                      <a:pt x="123825" y="113157"/>
                      <a:pt x="123825" y="100013"/>
                    </a:cubicBezTo>
                    <a:lnTo>
                      <a:pt x="123825" y="23813"/>
                    </a:lnTo>
                    <a:cubicBezTo>
                      <a:pt x="123825" y="10668"/>
                      <a:pt x="113157" y="0"/>
                      <a:pt x="100013" y="0"/>
                    </a:cubicBezTo>
                    <a:lnTo>
                      <a:pt x="23813" y="0"/>
                    </a:lnTo>
                    <a:close/>
                    <a:moveTo>
                      <a:pt x="9525" y="100013"/>
                    </a:moveTo>
                    <a:lnTo>
                      <a:pt x="9525" y="38100"/>
                    </a:lnTo>
                    <a:lnTo>
                      <a:pt x="114300" y="38100"/>
                    </a:lnTo>
                    <a:lnTo>
                      <a:pt x="114300" y="100013"/>
                    </a:lnTo>
                    <a:cubicBezTo>
                      <a:pt x="114300" y="107918"/>
                      <a:pt x="107918" y="114300"/>
                      <a:pt x="100013" y="114300"/>
                    </a:cubicBezTo>
                    <a:lnTo>
                      <a:pt x="23813" y="114300"/>
                    </a:lnTo>
                    <a:cubicBezTo>
                      <a:pt x="15907" y="114300"/>
                      <a:pt x="9525" y="107918"/>
                      <a:pt x="9525" y="100013"/>
                    </a:cubicBezTo>
                    <a:close/>
                    <a:moveTo>
                      <a:pt x="52388" y="152400"/>
                    </a:moveTo>
                    <a:cubicBezTo>
                      <a:pt x="40862" y="152400"/>
                      <a:pt x="31242" y="144209"/>
                      <a:pt x="29051" y="133350"/>
                    </a:cubicBezTo>
                    <a:lnTo>
                      <a:pt x="38957" y="133350"/>
                    </a:lnTo>
                    <a:cubicBezTo>
                      <a:pt x="40958" y="138875"/>
                      <a:pt x="46196" y="142875"/>
                      <a:pt x="52388" y="142875"/>
                    </a:cubicBezTo>
                    <a:lnTo>
                      <a:pt x="114300" y="142875"/>
                    </a:lnTo>
                    <a:cubicBezTo>
                      <a:pt x="130112" y="142875"/>
                      <a:pt x="142875" y="130112"/>
                      <a:pt x="142875" y="114300"/>
                    </a:cubicBezTo>
                    <a:lnTo>
                      <a:pt x="142875" y="52388"/>
                    </a:lnTo>
                    <a:cubicBezTo>
                      <a:pt x="142875" y="46196"/>
                      <a:pt x="138875" y="40862"/>
                      <a:pt x="133350" y="38957"/>
                    </a:cubicBezTo>
                    <a:lnTo>
                      <a:pt x="133350" y="29051"/>
                    </a:lnTo>
                    <a:cubicBezTo>
                      <a:pt x="144209" y="31242"/>
                      <a:pt x="152400" y="40862"/>
                      <a:pt x="152400" y="52388"/>
                    </a:cubicBezTo>
                    <a:lnTo>
                      <a:pt x="152400" y="114300"/>
                    </a:lnTo>
                    <a:cubicBezTo>
                      <a:pt x="152400" y="135350"/>
                      <a:pt x="135350" y="152400"/>
                      <a:pt x="114300" y="152400"/>
                    </a:cubicBezTo>
                    <a:lnTo>
                      <a:pt x="52388" y="152400"/>
                    </a:ln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3" name="Graphic 46">
                <a:extLst>
                  <a:ext uri="{FF2B5EF4-FFF2-40B4-BE49-F238E27FC236}">
                    <a16:creationId xmlns:a16="http://schemas.microsoft.com/office/drawing/2014/main" id="{EC2350E8-C861-5789-27EB-FC35B28BD042}"/>
                  </a:ext>
                </a:extLst>
              </p:cNvPr>
              <p:cNvSpPr>
                <a:spLocks noChangeAspect="1"/>
              </p:cNvSpPr>
              <p:nvPr/>
            </p:nvSpPr>
            <p:spPr>
              <a:xfrm>
                <a:off x="5346568" y="2691114"/>
                <a:ext cx="124858" cy="158153"/>
              </a:xfrm>
              <a:custGeom>
                <a:avLst/>
                <a:gdLst>
                  <a:gd name="connsiteX0" fmla="*/ 152400 w 285750"/>
                  <a:gd name="connsiteY0" fmla="*/ 92869 h 361950"/>
                  <a:gd name="connsiteX1" fmla="*/ 152400 w 285750"/>
                  <a:gd name="connsiteY1" fmla="*/ 0 h 361950"/>
                  <a:gd name="connsiteX2" fmla="*/ 88106 w 285750"/>
                  <a:gd name="connsiteY2" fmla="*/ 0 h 361950"/>
                  <a:gd name="connsiteX3" fmla="*/ 47625 w 285750"/>
                  <a:gd name="connsiteY3" fmla="*/ 40481 h 361950"/>
                  <a:gd name="connsiteX4" fmla="*/ 47625 w 285750"/>
                  <a:gd name="connsiteY4" fmla="*/ 273844 h 361950"/>
                  <a:gd name="connsiteX5" fmla="*/ 88106 w 285750"/>
                  <a:gd name="connsiteY5" fmla="*/ 314325 h 361950"/>
                  <a:gd name="connsiteX6" fmla="*/ 245269 w 285750"/>
                  <a:gd name="connsiteY6" fmla="*/ 314325 h 361950"/>
                  <a:gd name="connsiteX7" fmla="*/ 285750 w 285750"/>
                  <a:gd name="connsiteY7" fmla="*/ 273844 h 361950"/>
                  <a:gd name="connsiteX8" fmla="*/ 285750 w 285750"/>
                  <a:gd name="connsiteY8" fmla="*/ 133350 h 361950"/>
                  <a:gd name="connsiteX9" fmla="*/ 192881 w 285750"/>
                  <a:gd name="connsiteY9" fmla="*/ 133350 h 361950"/>
                  <a:gd name="connsiteX10" fmla="*/ 152400 w 285750"/>
                  <a:gd name="connsiteY10" fmla="*/ 92869 h 361950"/>
                  <a:gd name="connsiteX11" fmla="*/ 176213 w 285750"/>
                  <a:gd name="connsiteY11" fmla="*/ 92869 h 361950"/>
                  <a:gd name="connsiteX12" fmla="*/ 176213 w 285750"/>
                  <a:gd name="connsiteY12" fmla="*/ 4763 h 361950"/>
                  <a:gd name="connsiteX13" fmla="*/ 280988 w 285750"/>
                  <a:gd name="connsiteY13" fmla="*/ 109538 h 361950"/>
                  <a:gd name="connsiteX14" fmla="*/ 192881 w 285750"/>
                  <a:gd name="connsiteY14" fmla="*/ 109538 h 361950"/>
                  <a:gd name="connsiteX15" fmla="*/ 176213 w 285750"/>
                  <a:gd name="connsiteY15" fmla="*/ 92869 h 361950"/>
                  <a:gd name="connsiteX16" fmla="*/ 0 w 285750"/>
                  <a:gd name="connsiteY16" fmla="*/ 82868 h 361950"/>
                  <a:gd name="connsiteX17" fmla="*/ 23813 w 285750"/>
                  <a:gd name="connsiteY17" fmla="*/ 47530 h 361950"/>
                  <a:gd name="connsiteX18" fmla="*/ 23813 w 285750"/>
                  <a:gd name="connsiteY18" fmla="*/ 273844 h 361950"/>
                  <a:gd name="connsiteX19" fmla="*/ 88106 w 285750"/>
                  <a:gd name="connsiteY19" fmla="*/ 338138 h 361950"/>
                  <a:gd name="connsiteX20" fmla="*/ 238220 w 285750"/>
                  <a:gd name="connsiteY20" fmla="*/ 338138 h 361950"/>
                  <a:gd name="connsiteX21" fmla="*/ 202883 w 285750"/>
                  <a:gd name="connsiteY21" fmla="*/ 361950 h 361950"/>
                  <a:gd name="connsiteX22" fmla="*/ 88106 w 285750"/>
                  <a:gd name="connsiteY22" fmla="*/ 361950 h 361950"/>
                  <a:gd name="connsiteX23" fmla="*/ 0 w 285750"/>
                  <a:gd name="connsiteY23" fmla="*/ 273844 h 361950"/>
                  <a:gd name="connsiteX24" fmla="*/ 0 w 285750"/>
                  <a:gd name="connsiteY24" fmla="*/ 82868 h 36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5750" h="361950">
                    <a:moveTo>
                      <a:pt x="152400" y="92869"/>
                    </a:moveTo>
                    <a:lnTo>
                      <a:pt x="152400" y="0"/>
                    </a:lnTo>
                    <a:lnTo>
                      <a:pt x="88106" y="0"/>
                    </a:lnTo>
                    <a:cubicBezTo>
                      <a:pt x="65723" y="0"/>
                      <a:pt x="47625" y="18098"/>
                      <a:pt x="47625" y="40481"/>
                    </a:cubicBezTo>
                    <a:lnTo>
                      <a:pt x="47625" y="273844"/>
                    </a:lnTo>
                    <a:cubicBezTo>
                      <a:pt x="47625" y="296228"/>
                      <a:pt x="65723" y="314325"/>
                      <a:pt x="88106" y="314325"/>
                    </a:cubicBezTo>
                    <a:lnTo>
                      <a:pt x="245269" y="314325"/>
                    </a:lnTo>
                    <a:cubicBezTo>
                      <a:pt x="267653" y="314325"/>
                      <a:pt x="285750" y="296228"/>
                      <a:pt x="285750" y="273844"/>
                    </a:cubicBezTo>
                    <a:lnTo>
                      <a:pt x="285750" y="133350"/>
                    </a:lnTo>
                    <a:lnTo>
                      <a:pt x="192881" y="133350"/>
                    </a:lnTo>
                    <a:cubicBezTo>
                      <a:pt x="170498" y="133350"/>
                      <a:pt x="152400" y="115253"/>
                      <a:pt x="152400" y="92869"/>
                    </a:cubicBezTo>
                    <a:close/>
                    <a:moveTo>
                      <a:pt x="176213" y="92869"/>
                    </a:moveTo>
                    <a:lnTo>
                      <a:pt x="176213" y="4763"/>
                    </a:lnTo>
                    <a:lnTo>
                      <a:pt x="280988" y="109538"/>
                    </a:lnTo>
                    <a:lnTo>
                      <a:pt x="192881" y="109538"/>
                    </a:lnTo>
                    <a:cubicBezTo>
                      <a:pt x="183642" y="109538"/>
                      <a:pt x="176213" y="102108"/>
                      <a:pt x="176213" y="92869"/>
                    </a:cubicBezTo>
                    <a:close/>
                    <a:moveTo>
                      <a:pt x="0" y="82868"/>
                    </a:moveTo>
                    <a:cubicBezTo>
                      <a:pt x="0" y="66866"/>
                      <a:pt x="9811" y="53150"/>
                      <a:pt x="23813" y="47530"/>
                    </a:cubicBezTo>
                    <a:lnTo>
                      <a:pt x="23813" y="273844"/>
                    </a:lnTo>
                    <a:cubicBezTo>
                      <a:pt x="23813" y="309372"/>
                      <a:pt x="52578" y="338138"/>
                      <a:pt x="88106" y="338138"/>
                    </a:cubicBezTo>
                    <a:lnTo>
                      <a:pt x="238220" y="338138"/>
                    </a:lnTo>
                    <a:cubicBezTo>
                      <a:pt x="232601" y="352139"/>
                      <a:pt x="218885" y="361950"/>
                      <a:pt x="202883" y="361950"/>
                    </a:cubicBezTo>
                    <a:lnTo>
                      <a:pt x="88106" y="361950"/>
                    </a:lnTo>
                    <a:cubicBezTo>
                      <a:pt x="39434" y="361950"/>
                      <a:pt x="0" y="322517"/>
                      <a:pt x="0" y="273844"/>
                    </a:cubicBezTo>
                    <a:lnTo>
                      <a:pt x="0" y="82868"/>
                    </a:ln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4" name="Graphic 49">
                <a:extLst>
                  <a:ext uri="{FF2B5EF4-FFF2-40B4-BE49-F238E27FC236}">
                    <a16:creationId xmlns:a16="http://schemas.microsoft.com/office/drawing/2014/main" id="{A9AA0431-883E-7FDC-3A72-59D7D92A23C3}"/>
                  </a:ext>
                </a:extLst>
              </p:cNvPr>
              <p:cNvSpPr>
                <a:spLocks noChangeAspect="1"/>
              </p:cNvSpPr>
              <p:nvPr/>
            </p:nvSpPr>
            <p:spPr>
              <a:xfrm>
                <a:off x="6696878" y="2707317"/>
                <a:ext cx="172246" cy="115586"/>
              </a:xfrm>
              <a:custGeom>
                <a:avLst/>
                <a:gdLst>
                  <a:gd name="connsiteX0" fmla="*/ 180975 w 361950"/>
                  <a:gd name="connsiteY0" fmla="*/ 0 h 242887"/>
                  <a:gd name="connsiteX1" fmla="*/ 76581 w 361950"/>
                  <a:gd name="connsiteY1" fmla="*/ 95250 h 242887"/>
                  <a:gd name="connsiteX2" fmla="*/ 73819 w 361950"/>
                  <a:gd name="connsiteY2" fmla="*/ 95250 h 242887"/>
                  <a:gd name="connsiteX3" fmla="*/ 0 w 361950"/>
                  <a:gd name="connsiteY3" fmla="*/ 169069 h 242887"/>
                  <a:gd name="connsiteX4" fmla="*/ 73819 w 361950"/>
                  <a:gd name="connsiteY4" fmla="*/ 242888 h 242887"/>
                  <a:gd name="connsiteX5" fmla="*/ 288131 w 361950"/>
                  <a:gd name="connsiteY5" fmla="*/ 242888 h 242887"/>
                  <a:gd name="connsiteX6" fmla="*/ 361950 w 361950"/>
                  <a:gd name="connsiteY6" fmla="*/ 169069 h 242887"/>
                  <a:gd name="connsiteX7" fmla="*/ 288131 w 361950"/>
                  <a:gd name="connsiteY7" fmla="*/ 95250 h 242887"/>
                  <a:gd name="connsiteX8" fmla="*/ 285369 w 361950"/>
                  <a:gd name="connsiteY8" fmla="*/ 95250 h 242887"/>
                  <a:gd name="connsiteX9" fmla="*/ 180975 w 361950"/>
                  <a:gd name="connsiteY9" fmla="*/ 0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950" h="242887">
                    <a:moveTo>
                      <a:pt x="180975" y="0"/>
                    </a:moveTo>
                    <a:cubicBezTo>
                      <a:pt x="126302" y="0"/>
                      <a:pt x="81439" y="41815"/>
                      <a:pt x="76581" y="95250"/>
                    </a:cubicBezTo>
                    <a:lnTo>
                      <a:pt x="73819" y="95250"/>
                    </a:lnTo>
                    <a:cubicBezTo>
                      <a:pt x="33052" y="95250"/>
                      <a:pt x="0" y="128302"/>
                      <a:pt x="0" y="169069"/>
                    </a:cubicBezTo>
                    <a:cubicBezTo>
                      <a:pt x="0" y="209836"/>
                      <a:pt x="33052" y="242888"/>
                      <a:pt x="73819" y="242888"/>
                    </a:cubicBezTo>
                    <a:lnTo>
                      <a:pt x="288131" y="242888"/>
                    </a:lnTo>
                    <a:cubicBezTo>
                      <a:pt x="328898" y="242888"/>
                      <a:pt x="361950" y="209836"/>
                      <a:pt x="361950" y="169069"/>
                    </a:cubicBezTo>
                    <a:cubicBezTo>
                      <a:pt x="361950" y="128302"/>
                      <a:pt x="328898" y="95250"/>
                      <a:pt x="288131" y="95250"/>
                    </a:cubicBezTo>
                    <a:lnTo>
                      <a:pt x="285369" y="95250"/>
                    </a:lnTo>
                    <a:cubicBezTo>
                      <a:pt x="280511" y="41815"/>
                      <a:pt x="235649" y="0"/>
                      <a:pt x="180975"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5" name="Graphic 52">
                <a:extLst>
                  <a:ext uri="{FF2B5EF4-FFF2-40B4-BE49-F238E27FC236}">
                    <a16:creationId xmlns:a16="http://schemas.microsoft.com/office/drawing/2014/main" id="{4C47F9F8-B107-549B-AD63-ECC781D78221}"/>
                  </a:ext>
                </a:extLst>
              </p:cNvPr>
              <p:cNvSpPr>
                <a:spLocks noChangeAspect="1"/>
              </p:cNvSpPr>
              <p:nvPr/>
            </p:nvSpPr>
            <p:spPr>
              <a:xfrm>
                <a:off x="5344365" y="3996857"/>
                <a:ext cx="129265" cy="161582"/>
              </a:xfrm>
              <a:custGeom>
                <a:avLst/>
                <a:gdLst>
                  <a:gd name="connsiteX0" fmla="*/ 48101 w 304800"/>
                  <a:gd name="connsiteY0" fmla="*/ 19907 h 381000"/>
                  <a:gd name="connsiteX1" fmla="*/ 152400 w 304800"/>
                  <a:gd name="connsiteY1" fmla="*/ 0 h 381000"/>
                  <a:gd name="connsiteX2" fmla="*/ 256699 w 304800"/>
                  <a:gd name="connsiteY2" fmla="*/ 19907 h 381000"/>
                  <a:gd name="connsiteX3" fmla="*/ 304800 w 304800"/>
                  <a:gd name="connsiteY3" fmla="*/ 76200 h 381000"/>
                  <a:gd name="connsiteX4" fmla="*/ 256699 w 304800"/>
                  <a:gd name="connsiteY4" fmla="*/ 132493 h 381000"/>
                  <a:gd name="connsiteX5" fmla="*/ 152400 w 304800"/>
                  <a:gd name="connsiteY5" fmla="*/ 152400 h 381000"/>
                  <a:gd name="connsiteX6" fmla="*/ 48101 w 304800"/>
                  <a:gd name="connsiteY6" fmla="*/ 132493 h 381000"/>
                  <a:gd name="connsiteX7" fmla="*/ 0 w 304800"/>
                  <a:gd name="connsiteY7" fmla="*/ 76200 h 381000"/>
                  <a:gd name="connsiteX8" fmla="*/ 48101 w 304800"/>
                  <a:gd name="connsiteY8" fmla="*/ 19907 h 381000"/>
                  <a:gd name="connsiteX9" fmla="*/ 0 w 304800"/>
                  <a:gd name="connsiteY9" fmla="*/ 128778 h 381000"/>
                  <a:gd name="connsiteX10" fmla="*/ 38195 w 304800"/>
                  <a:gd name="connsiteY10" fmla="*/ 154115 h 381000"/>
                  <a:gd name="connsiteX11" fmla="*/ 152400 w 304800"/>
                  <a:gd name="connsiteY11" fmla="*/ 176213 h 381000"/>
                  <a:gd name="connsiteX12" fmla="*/ 266605 w 304800"/>
                  <a:gd name="connsiteY12" fmla="*/ 154115 h 381000"/>
                  <a:gd name="connsiteX13" fmla="*/ 304800 w 304800"/>
                  <a:gd name="connsiteY13" fmla="*/ 128778 h 381000"/>
                  <a:gd name="connsiteX14" fmla="*/ 304800 w 304800"/>
                  <a:gd name="connsiteY14" fmla="*/ 307181 h 381000"/>
                  <a:gd name="connsiteX15" fmla="*/ 304800 w 304800"/>
                  <a:gd name="connsiteY15" fmla="*/ 307181 h 381000"/>
                  <a:gd name="connsiteX16" fmla="*/ 256794 w 304800"/>
                  <a:gd name="connsiteY16" fmla="*/ 361093 h 381000"/>
                  <a:gd name="connsiteX17" fmla="*/ 152495 w 304800"/>
                  <a:gd name="connsiteY17" fmla="*/ 381000 h 381000"/>
                  <a:gd name="connsiteX18" fmla="*/ 48197 w 304800"/>
                  <a:gd name="connsiteY18" fmla="*/ 361093 h 381000"/>
                  <a:gd name="connsiteX19" fmla="*/ 0 w 304800"/>
                  <a:gd name="connsiteY19" fmla="*/ 307181 h 381000"/>
                  <a:gd name="connsiteX20" fmla="*/ 0 w 304800"/>
                  <a:gd name="connsiteY20" fmla="*/ 307181 h 381000"/>
                  <a:gd name="connsiteX21" fmla="*/ 0 w 304800"/>
                  <a:gd name="connsiteY21" fmla="*/ 128778 h 3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800" h="381000">
                    <a:moveTo>
                      <a:pt x="48101" y="19907"/>
                    </a:moveTo>
                    <a:cubicBezTo>
                      <a:pt x="75438" y="7429"/>
                      <a:pt x="112300" y="0"/>
                      <a:pt x="152400" y="0"/>
                    </a:cubicBezTo>
                    <a:cubicBezTo>
                      <a:pt x="192500" y="0"/>
                      <a:pt x="229362" y="7429"/>
                      <a:pt x="256699" y="19907"/>
                    </a:cubicBezTo>
                    <a:cubicBezTo>
                      <a:pt x="282988" y="31909"/>
                      <a:pt x="304800" y="50959"/>
                      <a:pt x="304800" y="76200"/>
                    </a:cubicBezTo>
                    <a:cubicBezTo>
                      <a:pt x="304800" y="101441"/>
                      <a:pt x="282988" y="120491"/>
                      <a:pt x="256699" y="132493"/>
                    </a:cubicBezTo>
                    <a:cubicBezTo>
                      <a:pt x="229362" y="144971"/>
                      <a:pt x="192500" y="152400"/>
                      <a:pt x="152400" y="152400"/>
                    </a:cubicBezTo>
                    <a:cubicBezTo>
                      <a:pt x="112300" y="152400"/>
                      <a:pt x="75438" y="144971"/>
                      <a:pt x="48101" y="132493"/>
                    </a:cubicBezTo>
                    <a:cubicBezTo>
                      <a:pt x="21812" y="120491"/>
                      <a:pt x="0" y="101441"/>
                      <a:pt x="0" y="76200"/>
                    </a:cubicBezTo>
                    <a:cubicBezTo>
                      <a:pt x="0" y="50959"/>
                      <a:pt x="21812" y="31909"/>
                      <a:pt x="48101" y="19907"/>
                    </a:cubicBezTo>
                    <a:close/>
                    <a:moveTo>
                      <a:pt x="0" y="128778"/>
                    </a:moveTo>
                    <a:cubicBezTo>
                      <a:pt x="11525" y="139922"/>
                      <a:pt x="25527" y="148304"/>
                      <a:pt x="38195" y="154115"/>
                    </a:cubicBezTo>
                    <a:cubicBezTo>
                      <a:pt x="69247" y="168307"/>
                      <a:pt x="109633" y="176213"/>
                      <a:pt x="152400" y="176213"/>
                    </a:cubicBezTo>
                    <a:cubicBezTo>
                      <a:pt x="195167" y="176213"/>
                      <a:pt x="235553" y="168402"/>
                      <a:pt x="266605" y="154115"/>
                    </a:cubicBezTo>
                    <a:cubicBezTo>
                      <a:pt x="279273" y="148304"/>
                      <a:pt x="293275" y="139922"/>
                      <a:pt x="304800" y="128778"/>
                    </a:cubicBezTo>
                    <a:lnTo>
                      <a:pt x="304800" y="307181"/>
                    </a:lnTo>
                    <a:lnTo>
                      <a:pt x="304800" y="307181"/>
                    </a:lnTo>
                    <a:cubicBezTo>
                      <a:pt x="303467" y="331280"/>
                      <a:pt x="282226" y="349472"/>
                      <a:pt x="256794" y="361093"/>
                    </a:cubicBezTo>
                    <a:cubicBezTo>
                      <a:pt x="229457" y="373571"/>
                      <a:pt x="192596" y="381000"/>
                      <a:pt x="152495" y="381000"/>
                    </a:cubicBezTo>
                    <a:cubicBezTo>
                      <a:pt x="112395" y="381000"/>
                      <a:pt x="75533" y="373571"/>
                      <a:pt x="48197" y="361093"/>
                    </a:cubicBezTo>
                    <a:cubicBezTo>
                      <a:pt x="22670" y="349472"/>
                      <a:pt x="1429" y="331280"/>
                      <a:pt x="0" y="307181"/>
                    </a:cubicBezTo>
                    <a:lnTo>
                      <a:pt x="0" y="307181"/>
                    </a:lnTo>
                    <a:lnTo>
                      <a:pt x="0" y="128778"/>
                    </a:ln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sp>
            <p:nvSpPr>
              <p:cNvPr id="176" name="Graphic 55">
                <a:extLst>
                  <a:ext uri="{FF2B5EF4-FFF2-40B4-BE49-F238E27FC236}">
                    <a16:creationId xmlns:a16="http://schemas.microsoft.com/office/drawing/2014/main" id="{FF5A39D0-6673-C57B-DE45-5BAA6B2DA765}"/>
                  </a:ext>
                </a:extLst>
              </p:cNvPr>
              <p:cNvSpPr>
                <a:spLocks noChangeAspect="1"/>
              </p:cNvSpPr>
              <p:nvPr/>
            </p:nvSpPr>
            <p:spPr>
              <a:xfrm>
                <a:off x="6699460" y="3994107"/>
                <a:ext cx="167082" cy="167082"/>
              </a:xfrm>
              <a:custGeom>
                <a:avLst/>
                <a:gdLst>
                  <a:gd name="connsiteX0" fmla="*/ 166568 w 190452"/>
                  <a:gd name="connsiteY0" fmla="*/ 33980 h 190452"/>
                  <a:gd name="connsiteX1" fmla="*/ 178570 w 190452"/>
                  <a:gd name="connsiteY1" fmla="*/ 69032 h 190452"/>
                  <a:gd name="connsiteX2" fmla="*/ 148566 w 190452"/>
                  <a:gd name="connsiteY2" fmla="*/ 119324 h 190452"/>
                  <a:gd name="connsiteX3" fmla="*/ 129992 w 190452"/>
                  <a:gd name="connsiteY3" fmla="*/ 115610 h 190452"/>
                  <a:gd name="connsiteX4" fmla="*/ 74843 w 190452"/>
                  <a:gd name="connsiteY4" fmla="*/ 60460 h 190452"/>
                  <a:gd name="connsiteX5" fmla="*/ 71128 w 190452"/>
                  <a:gd name="connsiteY5" fmla="*/ 41886 h 190452"/>
                  <a:gd name="connsiteX6" fmla="*/ 121420 w 190452"/>
                  <a:gd name="connsiteY6" fmla="*/ 11882 h 190452"/>
                  <a:gd name="connsiteX7" fmla="*/ 156472 w 190452"/>
                  <a:gd name="connsiteY7" fmla="*/ 23884 h 190452"/>
                  <a:gd name="connsiteX8" fmla="*/ 178284 w 190452"/>
                  <a:gd name="connsiteY8" fmla="*/ 2072 h 190452"/>
                  <a:gd name="connsiteX9" fmla="*/ 188381 w 190452"/>
                  <a:gd name="connsiteY9" fmla="*/ 2072 h 190452"/>
                  <a:gd name="connsiteX10" fmla="*/ 188381 w 190452"/>
                  <a:gd name="connsiteY10" fmla="*/ 12168 h 190452"/>
                  <a:gd name="connsiteX11" fmla="*/ 166568 w 190452"/>
                  <a:gd name="connsiteY11" fmla="*/ 33980 h 190452"/>
                  <a:gd name="connsiteX12" fmla="*/ 12168 w 190452"/>
                  <a:gd name="connsiteY12" fmla="*/ 188381 h 190452"/>
                  <a:gd name="connsiteX13" fmla="*/ 33980 w 190452"/>
                  <a:gd name="connsiteY13" fmla="*/ 166568 h 190452"/>
                  <a:gd name="connsiteX14" fmla="*/ 69032 w 190452"/>
                  <a:gd name="connsiteY14" fmla="*/ 178570 h 190452"/>
                  <a:gd name="connsiteX15" fmla="*/ 119324 w 190452"/>
                  <a:gd name="connsiteY15" fmla="*/ 148566 h 190452"/>
                  <a:gd name="connsiteX16" fmla="*/ 115610 w 190452"/>
                  <a:gd name="connsiteY16" fmla="*/ 129992 h 190452"/>
                  <a:gd name="connsiteX17" fmla="*/ 60460 w 190452"/>
                  <a:gd name="connsiteY17" fmla="*/ 74843 h 190452"/>
                  <a:gd name="connsiteX18" fmla="*/ 41886 w 190452"/>
                  <a:gd name="connsiteY18" fmla="*/ 71128 h 190452"/>
                  <a:gd name="connsiteX19" fmla="*/ 11882 w 190452"/>
                  <a:gd name="connsiteY19" fmla="*/ 121420 h 190452"/>
                  <a:gd name="connsiteX20" fmla="*/ 23884 w 190452"/>
                  <a:gd name="connsiteY20" fmla="*/ 156472 h 190452"/>
                  <a:gd name="connsiteX21" fmla="*/ 2072 w 190452"/>
                  <a:gd name="connsiteY21" fmla="*/ 178284 h 190452"/>
                  <a:gd name="connsiteX22" fmla="*/ 2072 w 190452"/>
                  <a:gd name="connsiteY22" fmla="*/ 188381 h 190452"/>
                  <a:gd name="connsiteX23" fmla="*/ 12168 w 190452"/>
                  <a:gd name="connsiteY23" fmla="*/ 188381 h 19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0452" h="190452">
                    <a:moveTo>
                      <a:pt x="166568" y="33980"/>
                    </a:moveTo>
                    <a:cubicBezTo>
                      <a:pt x="174093" y="43696"/>
                      <a:pt x="178570" y="55793"/>
                      <a:pt x="178570" y="69032"/>
                    </a:cubicBezTo>
                    <a:cubicBezTo>
                      <a:pt x="178570" y="90749"/>
                      <a:pt x="166378" y="109704"/>
                      <a:pt x="148566" y="119324"/>
                    </a:cubicBezTo>
                    <a:cubicBezTo>
                      <a:pt x="142375" y="122658"/>
                      <a:pt x="134945" y="120563"/>
                      <a:pt x="129992" y="115610"/>
                    </a:cubicBezTo>
                    <a:lnTo>
                      <a:pt x="74843" y="60460"/>
                    </a:lnTo>
                    <a:cubicBezTo>
                      <a:pt x="69890" y="55507"/>
                      <a:pt x="67794" y="48077"/>
                      <a:pt x="71128" y="41886"/>
                    </a:cubicBezTo>
                    <a:cubicBezTo>
                      <a:pt x="80748" y="23979"/>
                      <a:pt x="99703" y="11882"/>
                      <a:pt x="121420" y="11882"/>
                    </a:cubicBezTo>
                    <a:cubicBezTo>
                      <a:pt x="134660" y="11882"/>
                      <a:pt x="146756" y="16359"/>
                      <a:pt x="156472" y="23884"/>
                    </a:cubicBezTo>
                    <a:lnTo>
                      <a:pt x="178284" y="2072"/>
                    </a:lnTo>
                    <a:cubicBezTo>
                      <a:pt x="181046" y="-691"/>
                      <a:pt x="185618" y="-691"/>
                      <a:pt x="188381" y="2072"/>
                    </a:cubicBezTo>
                    <a:cubicBezTo>
                      <a:pt x="191143" y="4834"/>
                      <a:pt x="191143" y="9406"/>
                      <a:pt x="188381" y="12168"/>
                    </a:cubicBezTo>
                    <a:lnTo>
                      <a:pt x="166568" y="33980"/>
                    </a:lnTo>
                    <a:close/>
                    <a:moveTo>
                      <a:pt x="12168" y="188381"/>
                    </a:moveTo>
                    <a:lnTo>
                      <a:pt x="33980" y="166568"/>
                    </a:lnTo>
                    <a:cubicBezTo>
                      <a:pt x="43696" y="174093"/>
                      <a:pt x="55793" y="178570"/>
                      <a:pt x="69032" y="178570"/>
                    </a:cubicBezTo>
                    <a:cubicBezTo>
                      <a:pt x="90749" y="178570"/>
                      <a:pt x="109704" y="166378"/>
                      <a:pt x="119324" y="148566"/>
                    </a:cubicBezTo>
                    <a:cubicBezTo>
                      <a:pt x="122658" y="142375"/>
                      <a:pt x="120563" y="134945"/>
                      <a:pt x="115610" y="129992"/>
                    </a:cubicBezTo>
                    <a:lnTo>
                      <a:pt x="60460" y="74843"/>
                    </a:lnTo>
                    <a:cubicBezTo>
                      <a:pt x="55507" y="69890"/>
                      <a:pt x="48077" y="67794"/>
                      <a:pt x="41886" y="71128"/>
                    </a:cubicBezTo>
                    <a:cubicBezTo>
                      <a:pt x="23979" y="80748"/>
                      <a:pt x="11882" y="99703"/>
                      <a:pt x="11882" y="121420"/>
                    </a:cubicBezTo>
                    <a:cubicBezTo>
                      <a:pt x="11882" y="134660"/>
                      <a:pt x="16359" y="146756"/>
                      <a:pt x="23884" y="156472"/>
                    </a:cubicBezTo>
                    <a:lnTo>
                      <a:pt x="2072" y="178284"/>
                    </a:lnTo>
                    <a:cubicBezTo>
                      <a:pt x="-691" y="181046"/>
                      <a:pt x="-691" y="185618"/>
                      <a:pt x="2072" y="188381"/>
                    </a:cubicBezTo>
                    <a:cubicBezTo>
                      <a:pt x="4834" y="191143"/>
                      <a:pt x="9406" y="191143"/>
                      <a:pt x="12168" y="188381"/>
                    </a:cubicBezTo>
                    <a:close/>
                  </a:path>
                </a:pathLst>
              </a:custGeom>
              <a:grp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grpSp>
      <p:grpSp>
        <p:nvGrpSpPr>
          <p:cNvPr id="198" name="!!CopilotPrompt">
            <a:extLst>
              <a:ext uri="{FF2B5EF4-FFF2-40B4-BE49-F238E27FC236}">
                <a16:creationId xmlns:a16="http://schemas.microsoft.com/office/drawing/2014/main" id="{077F64E7-5197-5899-8425-71342E8FE3E3}"/>
              </a:ext>
              <a:ext uri="{C183D7F6-B498-43B3-948B-1728B52AA6E4}">
                <adec:decorative xmlns:adec="http://schemas.microsoft.com/office/drawing/2017/decorative" val="1"/>
              </a:ext>
            </a:extLst>
          </p:cNvPr>
          <p:cNvGrpSpPr/>
          <p:nvPr/>
        </p:nvGrpSpPr>
        <p:grpSpPr>
          <a:xfrm>
            <a:off x="7102786" y="3538658"/>
            <a:ext cx="3952439" cy="677108"/>
            <a:chOff x="1360940" y="3697205"/>
            <a:chExt cx="3593126" cy="615553"/>
          </a:xfrm>
          <a:noFill/>
          <a:scene3d>
            <a:camera prst="isometricLeftDown">
              <a:rot lat="600000" lon="10800000" rev="0"/>
            </a:camera>
            <a:lightRig rig="threePt" dir="t"/>
          </a:scene3d>
        </p:grpSpPr>
        <p:sp>
          <p:nvSpPr>
            <p:cNvPr id="199" name="Rectangle: Rounded Corners 198">
              <a:extLst>
                <a:ext uri="{FF2B5EF4-FFF2-40B4-BE49-F238E27FC236}">
                  <a16:creationId xmlns:a16="http://schemas.microsoft.com/office/drawing/2014/main" id="{328BC53D-B751-1ECC-D341-6CB36BE88120}"/>
                </a:ext>
              </a:extLst>
            </p:cNvPr>
            <p:cNvSpPr/>
            <p:nvPr/>
          </p:nvSpPr>
          <p:spPr bwMode="auto">
            <a:xfrm>
              <a:off x="1360940" y="3697205"/>
              <a:ext cx="3593126" cy="615553"/>
            </a:xfrm>
            <a:prstGeom prst="roundRect">
              <a:avLst>
                <a:gd name="adj" fmla="val 50000"/>
              </a:avLst>
            </a:prstGeom>
            <a:grp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noFill/>
                <a:effectLst/>
                <a:uLnTx/>
                <a:uFillTx/>
                <a:latin typeface="Segoe UI"/>
                <a:ea typeface="Segoe UI" pitchFamily="34" charset="0"/>
                <a:cs typeface="Segoe UI" pitchFamily="34" charset="0"/>
              </a:endParaRPr>
            </a:p>
          </p:txBody>
        </p:sp>
        <p:sp>
          <p:nvSpPr>
            <p:cNvPr id="200" name="Graphic 15">
              <a:extLst>
                <a:ext uri="{FF2B5EF4-FFF2-40B4-BE49-F238E27FC236}">
                  <a16:creationId xmlns:a16="http://schemas.microsoft.com/office/drawing/2014/main" id="{69474885-3936-B10B-3AA8-1FC20E6EF6C0}"/>
                </a:ext>
              </a:extLst>
            </p:cNvPr>
            <p:cNvSpPr/>
            <p:nvPr/>
          </p:nvSpPr>
          <p:spPr>
            <a:xfrm>
              <a:off x="1565518" y="3807553"/>
              <a:ext cx="381004" cy="381004"/>
            </a:xfrm>
            <a:custGeom>
              <a:avLst/>
              <a:gdLst>
                <a:gd name="connsiteX0" fmla="*/ 4 w 381004"/>
                <a:gd name="connsiteY0" fmla="*/ 190500 h 381004"/>
                <a:gd name="connsiteX1" fmla="*/ 190504 w 381004"/>
                <a:gd name="connsiteY1" fmla="*/ 0 h 381004"/>
                <a:gd name="connsiteX2" fmla="*/ 381004 w 381004"/>
                <a:gd name="connsiteY2" fmla="*/ 190500 h 381004"/>
                <a:gd name="connsiteX3" fmla="*/ 190504 w 381004"/>
                <a:gd name="connsiteY3" fmla="*/ 381000 h 381004"/>
                <a:gd name="connsiteX4" fmla="*/ 99731 w 381004"/>
                <a:gd name="connsiteY4" fmla="*/ 358045 h 381004"/>
                <a:gd name="connsiteX5" fmla="*/ 21245 w 381004"/>
                <a:gd name="connsiteY5" fmla="*/ 380333 h 381004"/>
                <a:gd name="connsiteX6" fmla="*/ 671 w 381004"/>
                <a:gd name="connsiteY6" fmla="*/ 359759 h 381004"/>
                <a:gd name="connsiteX7" fmla="*/ 22959 w 381004"/>
                <a:gd name="connsiteY7" fmla="*/ 281273 h 381004"/>
                <a:gd name="connsiteX8" fmla="*/ 4 w 381004"/>
                <a:gd name="connsiteY8" fmla="*/ 190500 h 381004"/>
                <a:gd name="connsiteX9" fmla="*/ 114304 w 381004"/>
                <a:gd name="connsiteY9" fmla="*/ 154781 h 381004"/>
                <a:gd name="connsiteX10" fmla="*/ 126210 w 381004"/>
                <a:gd name="connsiteY10" fmla="*/ 166688 h 381004"/>
                <a:gd name="connsiteX11" fmla="*/ 254798 w 381004"/>
                <a:gd name="connsiteY11" fmla="*/ 166688 h 381004"/>
                <a:gd name="connsiteX12" fmla="*/ 266704 w 381004"/>
                <a:gd name="connsiteY12" fmla="*/ 154781 h 381004"/>
                <a:gd name="connsiteX13" fmla="*/ 254798 w 381004"/>
                <a:gd name="connsiteY13" fmla="*/ 142875 h 381004"/>
                <a:gd name="connsiteX14" fmla="*/ 126210 w 381004"/>
                <a:gd name="connsiteY14" fmla="*/ 142875 h 381004"/>
                <a:gd name="connsiteX15" fmla="*/ 114304 w 381004"/>
                <a:gd name="connsiteY15" fmla="*/ 154781 h 381004"/>
                <a:gd name="connsiteX16" fmla="*/ 126210 w 381004"/>
                <a:gd name="connsiteY16" fmla="*/ 214313 h 381004"/>
                <a:gd name="connsiteX17" fmla="*/ 114304 w 381004"/>
                <a:gd name="connsiteY17" fmla="*/ 226219 h 381004"/>
                <a:gd name="connsiteX18" fmla="*/ 126210 w 381004"/>
                <a:gd name="connsiteY18" fmla="*/ 238125 h 381004"/>
                <a:gd name="connsiteX19" fmla="*/ 216698 w 381004"/>
                <a:gd name="connsiteY19" fmla="*/ 238125 h 381004"/>
                <a:gd name="connsiteX20" fmla="*/ 228604 w 381004"/>
                <a:gd name="connsiteY20" fmla="*/ 226219 h 381004"/>
                <a:gd name="connsiteX21" fmla="*/ 216698 w 381004"/>
                <a:gd name="connsiteY21" fmla="*/ 214313 h 381004"/>
                <a:gd name="connsiteX22" fmla="*/ 126210 w 381004"/>
                <a:gd name="connsiteY22" fmla="*/ 214313 h 38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1004" h="381004">
                  <a:moveTo>
                    <a:pt x="4" y="190500"/>
                  </a:moveTo>
                  <a:cubicBezTo>
                    <a:pt x="4" y="85249"/>
                    <a:pt x="85253" y="0"/>
                    <a:pt x="190504" y="0"/>
                  </a:cubicBezTo>
                  <a:cubicBezTo>
                    <a:pt x="295755" y="0"/>
                    <a:pt x="381004" y="85249"/>
                    <a:pt x="381004" y="190500"/>
                  </a:cubicBezTo>
                  <a:cubicBezTo>
                    <a:pt x="381004" y="295751"/>
                    <a:pt x="295755" y="381000"/>
                    <a:pt x="190504" y="381000"/>
                  </a:cubicBezTo>
                  <a:cubicBezTo>
                    <a:pt x="157643" y="381000"/>
                    <a:pt x="126687" y="372713"/>
                    <a:pt x="99731" y="358045"/>
                  </a:cubicBezTo>
                  <a:lnTo>
                    <a:pt x="21245" y="380333"/>
                  </a:lnTo>
                  <a:cubicBezTo>
                    <a:pt x="8672" y="383953"/>
                    <a:pt x="-2949" y="372332"/>
                    <a:pt x="671" y="359759"/>
                  </a:cubicBezTo>
                  <a:lnTo>
                    <a:pt x="22959" y="281273"/>
                  </a:lnTo>
                  <a:cubicBezTo>
                    <a:pt x="8291" y="254318"/>
                    <a:pt x="4" y="223361"/>
                    <a:pt x="4" y="190500"/>
                  </a:cubicBezTo>
                  <a:close/>
                  <a:moveTo>
                    <a:pt x="114304" y="154781"/>
                  </a:moveTo>
                  <a:cubicBezTo>
                    <a:pt x="114304" y="161354"/>
                    <a:pt x="119638" y="166688"/>
                    <a:pt x="126210" y="166688"/>
                  </a:cubicBezTo>
                  <a:lnTo>
                    <a:pt x="254798" y="166688"/>
                  </a:lnTo>
                  <a:cubicBezTo>
                    <a:pt x="261370" y="166688"/>
                    <a:pt x="266704" y="161354"/>
                    <a:pt x="266704" y="154781"/>
                  </a:cubicBezTo>
                  <a:cubicBezTo>
                    <a:pt x="266704" y="148209"/>
                    <a:pt x="261370" y="142875"/>
                    <a:pt x="254798" y="142875"/>
                  </a:cubicBezTo>
                  <a:lnTo>
                    <a:pt x="126210" y="142875"/>
                  </a:lnTo>
                  <a:cubicBezTo>
                    <a:pt x="119638" y="142875"/>
                    <a:pt x="114304" y="148209"/>
                    <a:pt x="114304" y="154781"/>
                  </a:cubicBezTo>
                  <a:close/>
                  <a:moveTo>
                    <a:pt x="126210" y="214313"/>
                  </a:moveTo>
                  <a:cubicBezTo>
                    <a:pt x="119638" y="214313"/>
                    <a:pt x="114304" y="219647"/>
                    <a:pt x="114304" y="226219"/>
                  </a:cubicBezTo>
                  <a:cubicBezTo>
                    <a:pt x="114304" y="232791"/>
                    <a:pt x="119638" y="238125"/>
                    <a:pt x="126210" y="238125"/>
                  </a:cubicBezTo>
                  <a:lnTo>
                    <a:pt x="216698" y="238125"/>
                  </a:lnTo>
                  <a:cubicBezTo>
                    <a:pt x="223270" y="238125"/>
                    <a:pt x="228604" y="232791"/>
                    <a:pt x="228604" y="226219"/>
                  </a:cubicBezTo>
                  <a:cubicBezTo>
                    <a:pt x="228604" y="219647"/>
                    <a:pt x="223270" y="214313"/>
                    <a:pt x="216698" y="214313"/>
                  </a:cubicBezTo>
                  <a:lnTo>
                    <a:pt x="126210" y="214313"/>
                  </a:lnTo>
                  <a:close/>
                </a:path>
              </a:pathLst>
            </a:custGeom>
            <a:grpFill/>
            <a:ln w="44450" cap="rnd" cmpd="sng" algn="ctr">
              <a:noFill/>
              <a:prstDash val="solid"/>
              <a:headEnd type="none" w="lg" len="med"/>
              <a:tailEnd type="none" w="lg" len="med"/>
            </a:ln>
            <a:effectLst>
              <a:outerShdw blurRad="63500" dist="127000" dir="2700000" algn="tl" rotWithShape="0">
                <a:prstClr val="black">
                  <a:alpha val="5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564085"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noFill/>
                <a:effectLst/>
                <a:uLnTx/>
                <a:uFillTx/>
                <a:latin typeface="Segoe UI Variable display Semibol" pitchFamily="2" charset="0"/>
                <a:ea typeface="Open Sans" panose="020B0606030504020204" pitchFamily="34" charset="0"/>
                <a:cs typeface="Open Sans" panose="020B0606030504020204" pitchFamily="34" charset="0"/>
              </a:endParaRPr>
            </a:p>
          </p:txBody>
        </p:sp>
        <p:sp>
          <p:nvSpPr>
            <p:cNvPr id="201" name="TextBox 200">
              <a:extLst>
                <a:ext uri="{FF2B5EF4-FFF2-40B4-BE49-F238E27FC236}">
                  <a16:creationId xmlns:a16="http://schemas.microsoft.com/office/drawing/2014/main" id="{69BA812B-BBB0-52F6-F94F-FAE7D1C473FC}"/>
                </a:ext>
              </a:extLst>
            </p:cNvPr>
            <p:cNvSpPr txBox="1"/>
            <p:nvPr/>
          </p:nvSpPr>
          <p:spPr>
            <a:xfrm>
              <a:off x="2056341" y="3851094"/>
              <a:ext cx="2137823" cy="307777"/>
            </a:xfrm>
            <a:prstGeom prst="rect">
              <a:avLst/>
            </a:prstGeom>
            <a:grpFill/>
            <a:ln>
              <a:noFill/>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0" cap="none" spc="0" normalizeH="0" baseline="0" noProof="0">
                  <a:ln>
                    <a:noFill/>
                  </a:ln>
                  <a:noFill/>
                  <a:effectLst/>
                  <a:uLnTx/>
                  <a:uFillTx/>
                  <a:latin typeface="Segoe UI Variable Display Semib" pitchFamily="2" charset="0"/>
                  <a:ea typeface="+mn-ea"/>
                  <a:cs typeface="+mn-cs"/>
                </a:rPr>
                <a:t>Ask me anything…</a:t>
              </a:r>
            </a:p>
          </p:txBody>
        </p:sp>
      </p:grpSp>
      <p:sp>
        <p:nvSpPr>
          <p:cNvPr id="202" name="Circle: Hollow 201">
            <a:extLst>
              <a:ext uri="{FF2B5EF4-FFF2-40B4-BE49-F238E27FC236}">
                <a16:creationId xmlns:a16="http://schemas.microsoft.com/office/drawing/2014/main" id="{6EF974A2-38F9-148E-10DD-2A6CFC00F2EC}"/>
              </a:ext>
              <a:ext uri="{C183D7F6-B498-43B3-948B-1728B52AA6E4}">
                <adec:decorative xmlns:adec="http://schemas.microsoft.com/office/drawing/2017/decorative" val="1"/>
              </a:ext>
            </a:extLst>
          </p:cNvPr>
          <p:cNvSpPr>
            <a:spLocks noChangeAspect="1"/>
          </p:cNvSpPr>
          <p:nvPr/>
        </p:nvSpPr>
        <p:spPr bwMode="auto">
          <a:xfrm>
            <a:off x="6482808" y="1161703"/>
            <a:ext cx="5199605" cy="5199603"/>
          </a:xfrm>
          <a:prstGeom prst="donut">
            <a:avLst>
              <a:gd name="adj" fmla="val 6844"/>
            </a:avLst>
          </a:prstGeom>
          <a:solidFill>
            <a:srgbClr val="3A4953"/>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30" normalizeH="0" baseline="0" noProof="0">
              <a:ln>
                <a:noFill/>
              </a:ln>
              <a:gradFill>
                <a:gsLst>
                  <a:gs pos="4819">
                    <a:srgbClr val="2F2F2F"/>
                  </a:gs>
                  <a:gs pos="18675">
                    <a:srgbClr val="2F2F2F"/>
                  </a:gs>
                </a:gsLst>
                <a:lin ang="2700000" scaled="0"/>
              </a:gradFill>
              <a:effectLst/>
              <a:uLnTx/>
              <a:uFillTx/>
              <a:latin typeface="Segoe UI Semibold"/>
              <a:ea typeface="+mn-ea"/>
              <a:cs typeface="+mn-cs"/>
            </a:endParaRPr>
          </a:p>
        </p:txBody>
      </p:sp>
      <p:sp>
        <p:nvSpPr>
          <p:cNvPr id="203" name="Rectangle 202">
            <a:extLst>
              <a:ext uri="{FF2B5EF4-FFF2-40B4-BE49-F238E27FC236}">
                <a16:creationId xmlns:a16="http://schemas.microsoft.com/office/drawing/2014/main" id="{8968981D-3F0C-4CFC-430F-975AE439B5EB}"/>
              </a:ext>
              <a:ext uri="{C183D7F6-B498-43B3-948B-1728B52AA6E4}">
                <adec:decorative xmlns:adec="http://schemas.microsoft.com/office/drawing/2017/decorative" val="1"/>
              </a:ext>
            </a:extLst>
          </p:cNvPr>
          <p:cNvSpPr>
            <a:spLocks noChangeAspect="1"/>
          </p:cNvSpPr>
          <p:nvPr/>
        </p:nvSpPr>
        <p:spPr bwMode="auto">
          <a:xfrm rot="1800000">
            <a:off x="9080066" y="1520133"/>
            <a:ext cx="17351" cy="4482742"/>
          </a:xfrm>
          <a:prstGeom prst="rect">
            <a:avLst/>
          </a:prstGeom>
          <a:solidFill>
            <a:srgbClr val="65707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noFill/>
                <a:effectLst/>
                <a:uLnTx/>
                <a:uFillTx/>
                <a:latin typeface="Segoe UI"/>
                <a:ea typeface="+mn-ea"/>
                <a:cs typeface="Segoe UI" pitchFamily="34" charset="0"/>
              </a:rPr>
              <a:t>b</a:t>
            </a:r>
          </a:p>
        </p:txBody>
      </p:sp>
      <p:sp>
        <p:nvSpPr>
          <p:cNvPr id="204" name="Rectangle 203">
            <a:extLst>
              <a:ext uri="{FF2B5EF4-FFF2-40B4-BE49-F238E27FC236}">
                <a16:creationId xmlns:a16="http://schemas.microsoft.com/office/drawing/2014/main" id="{4D4A4B68-3A07-F948-1982-14A81DE0E375}"/>
              </a:ext>
              <a:ext uri="{C183D7F6-B498-43B3-948B-1728B52AA6E4}">
                <adec:decorative xmlns:adec="http://schemas.microsoft.com/office/drawing/2017/decorative" val="1"/>
              </a:ext>
            </a:extLst>
          </p:cNvPr>
          <p:cNvSpPr>
            <a:spLocks noChangeAspect="1"/>
          </p:cNvSpPr>
          <p:nvPr/>
        </p:nvSpPr>
        <p:spPr bwMode="auto">
          <a:xfrm rot="19800000" flipH="1">
            <a:off x="9080066" y="1520133"/>
            <a:ext cx="17351" cy="4482742"/>
          </a:xfrm>
          <a:prstGeom prst="rect">
            <a:avLst/>
          </a:prstGeom>
          <a:solidFill>
            <a:srgbClr val="65707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noFill/>
                <a:effectLst/>
                <a:uLnTx/>
                <a:uFillTx/>
                <a:latin typeface="Segoe UI"/>
                <a:ea typeface="Segoe UI" pitchFamily="34" charset="0"/>
                <a:cs typeface="Segoe UI" pitchFamily="34" charset="0"/>
              </a:rPr>
              <a:t>a</a:t>
            </a:r>
          </a:p>
        </p:txBody>
      </p:sp>
      <p:sp>
        <p:nvSpPr>
          <p:cNvPr id="205" name="Rectangle 204">
            <a:extLst>
              <a:ext uri="{FF2B5EF4-FFF2-40B4-BE49-F238E27FC236}">
                <a16:creationId xmlns:a16="http://schemas.microsoft.com/office/drawing/2014/main" id="{F312E19A-91C7-0AEA-A8E2-1F154885279E}"/>
              </a:ext>
              <a:ext uri="{C183D7F6-B498-43B3-948B-1728B52AA6E4}">
                <adec:decorative xmlns:adec="http://schemas.microsoft.com/office/drawing/2017/decorative" val="1"/>
              </a:ext>
            </a:extLst>
          </p:cNvPr>
          <p:cNvSpPr>
            <a:spLocks noChangeAspect="1"/>
          </p:cNvSpPr>
          <p:nvPr/>
        </p:nvSpPr>
        <p:spPr bwMode="auto">
          <a:xfrm rot="5400000" flipH="1">
            <a:off x="9072433" y="1520133"/>
            <a:ext cx="17351" cy="4482742"/>
          </a:xfrm>
          <a:prstGeom prst="rect">
            <a:avLst/>
          </a:prstGeom>
          <a:solidFill>
            <a:srgbClr val="65707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noFill/>
                <a:effectLst/>
                <a:uLnTx/>
                <a:uFillTx/>
                <a:latin typeface="Segoe UI"/>
                <a:ea typeface="Segoe UI" pitchFamily="34" charset="0"/>
                <a:cs typeface="Segoe UI" pitchFamily="34" charset="0"/>
              </a:rPr>
              <a:t>c</a:t>
            </a:r>
          </a:p>
        </p:txBody>
      </p:sp>
      <p:sp>
        <p:nvSpPr>
          <p:cNvPr id="206" name="TextBox 205">
            <a:extLst>
              <a:ext uri="{FF2B5EF4-FFF2-40B4-BE49-F238E27FC236}">
                <a16:creationId xmlns:a16="http://schemas.microsoft.com/office/drawing/2014/main" id="{8F2FA570-7132-C595-18A3-FC0B79230083}"/>
              </a:ext>
              <a:ext uri="{C183D7F6-B498-43B3-948B-1728B52AA6E4}">
                <adec:decorative xmlns:adec="http://schemas.microsoft.com/office/drawing/2017/decorative" val="1"/>
              </a:ext>
            </a:extLst>
          </p:cNvPr>
          <p:cNvSpPr txBox="1">
            <a:spLocks noChangeAspect="1"/>
          </p:cNvSpPr>
          <p:nvPr/>
        </p:nvSpPr>
        <p:spPr>
          <a:xfrm>
            <a:off x="6668468" y="1323581"/>
            <a:ext cx="4828284" cy="4875843"/>
          </a:xfrm>
          <a:prstGeom prst="rect">
            <a:avLst/>
          </a:prstGeom>
          <a:noFill/>
        </p:spPr>
        <p:txBody>
          <a:bodyPr wrap="none" lIns="0" tIns="0" rIns="0" bIns="0" rtlCol="0">
            <a:prstTxWarp prst="textArchDown">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gradFill>
                  <a:gsLst>
                    <a:gs pos="20280">
                      <a:srgbClr val="FFFFFF"/>
                    </a:gs>
                    <a:gs pos="39000">
                      <a:srgbClr val="FFFFFF"/>
                    </a:gs>
                  </a:gsLst>
                  <a:lin ang="2700000" scaled="0"/>
                </a:gradFill>
                <a:effectLst/>
                <a:uLnTx/>
                <a:uFillTx/>
                <a:latin typeface="Segoe UI Variable Small Semibold" pitchFamily="2" charset="0"/>
                <a:ea typeface="+mn-ea"/>
                <a:cs typeface="Segoe UI" panose="020B0502040204020203" pitchFamily="34" charset="0"/>
              </a:rPr>
              <a:t>Industry clouds</a:t>
            </a:r>
          </a:p>
        </p:txBody>
      </p:sp>
      <p:sp>
        <p:nvSpPr>
          <p:cNvPr id="207" name="Oval 206">
            <a:extLst>
              <a:ext uri="{FF2B5EF4-FFF2-40B4-BE49-F238E27FC236}">
                <a16:creationId xmlns:a16="http://schemas.microsoft.com/office/drawing/2014/main" id="{395926A7-BA28-A09A-AA5B-09390AB86B4F}"/>
              </a:ext>
              <a:ext uri="{C183D7F6-B498-43B3-948B-1728B52AA6E4}">
                <adec:decorative xmlns:adec="http://schemas.microsoft.com/office/drawing/2017/decorative" val="1"/>
              </a:ext>
            </a:extLst>
          </p:cNvPr>
          <p:cNvSpPr>
            <a:spLocks noChangeAspect="1"/>
          </p:cNvSpPr>
          <p:nvPr/>
        </p:nvSpPr>
        <p:spPr bwMode="auto">
          <a:xfrm>
            <a:off x="6841239" y="1520133"/>
            <a:ext cx="4482742" cy="4482742"/>
          </a:xfrm>
          <a:prstGeom prst="ellipse">
            <a:avLst/>
          </a:prstGeom>
          <a:gradFill>
            <a:gsLst>
              <a:gs pos="0">
                <a:srgbClr val="657076">
                  <a:alpha val="10000"/>
                </a:srgbClr>
              </a:gs>
              <a:gs pos="100000">
                <a:srgbClr val="657076">
                  <a:alpha val="10000"/>
                </a:srgbClr>
              </a:gs>
            </a:gsLst>
            <a:lin ang="2700000" scaled="0"/>
          </a:gradFill>
          <a:ln w="19050" cap="flat" cmpd="sng" algn="ctr">
            <a:solidFill>
              <a:srgbClr val="657076"/>
            </a:solidFill>
            <a:prstDash val="solid"/>
            <a:headEnd type="none" w="med" len="med"/>
            <a:tailEnd type="none" w="med" len="med"/>
          </a:ln>
          <a:effectLst>
            <a:outerShdw blurRad="63500" dist="63500" dir="2700000" algn="tl" rotWithShape="0">
              <a:srgbClr val="D2D2D2">
                <a:lumMod val="50000"/>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208" name="Oval 207">
            <a:extLst>
              <a:ext uri="{FF2B5EF4-FFF2-40B4-BE49-F238E27FC236}">
                <a16:creationId xmlns:a16="http://schemas.microsoft.com/office/drawing/2014/main" id="{AE59DDFB-5499-D0D3-EE4C-991433DCD82B}"/>
              </a:ext>
              <a:ext uri="{C183D7F6-B498-43B3-948B-1728B52AA6E4}">
                <adec:decorative xmlns:adec="http://schemas.microsoft.com/office/drawing/2017/decorative" val="1"/>
              </a:ext>
            </a:extLst>
          </p:cNvPr>
          <p:cNvSpPr>
            <a:spLocks noChangeAspect="1"/>
          </p:cNvSpPr>
          <p:nvPr/>
        </p:nvSpPr>
        <p:spPr bwMode="auto">
          <a:xfrm>
            <a:off x="8145926" y="2826322"/>
            <a:ext cx="1870364" cy="1870364"/>
          </a:xfrm>
          <a:prstGeom prst="ellipse">
            <a:avLst/>
          </a:prstGeom>
          <a:gradFill flip="none" rotWithShape="1">
            <a:gsLst>
              <a:gs pos="81000">
                <a:srgbClr val="8DC8E8"/>
              </a:gs>
              <a:gs pos="16000">
                <a:srgbClr val="D59ED7"/>
              </a:gs>
            </a:gsLst>
            <a:path path="circle">
              <a:fillToRect l="100000" t="100000"/>
            </a:path>
            <a:tileRect r="-100000" b="-100000"/>
          </a:gradFill>
          <a:ln w="9525" cap="flat" cmpd="sng" algn="ctr">
            <a:noFill/>
            <a:prstDash val="solid"/>
            <a:headEnd type="none" w="med" len="med"/>
            <a:tailEnd type="none" w="med" len="med"/>
          </a:ln>
          <a:effectLst>
            <a:outerShdw blurRad="63500" dist="127000" dir="2700000" algn="tl" rotWithShape="0">
              <a:srgbClr val="000000">
                <a:alpha val="50000"/>
              </a:srgb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noFill/>
              <a:effectLst/>
              <a:uLnTx/>
              <a:uFillTx/>
              <a:latin typeface="Segoe UI Semibold"/>
              <a:ea typeface="+mn-ea"/>
              <a:cs typeface="Segoe UI" panose="020B0502040204020203" pitchFamily="34" charset="0"/>
            </a:endParaRPr>
          </a:p>
        </p:txBody>
      </p:sp>
      <p:sp>
        <p:nvSpPr>
          <p:cNvPr id="209" name="TextBox 208">
            <a:extLst>
              <a:ext uri="{FF2B5EF4-FFF2-40B4-BE49-F238E27FC236}">
                <a16:creationId xmlns:a16="http://schemas.microsoft.com/office/drawing/2014/main" id="{6D4F7FD8-A24D-D212-4625-E1067C88694B}"/>
              </a:ext>
              <a:ext uri="{C183D7F6-B498-43B3-948B-1728B52AA6E4}">
                <adec:decorative xmlns:adec="http://schemas.microsoft.com/office/drawing/2017/decorative" val="1"/>
              </a:ext>
            </a:extLst>
          </p:cNvPr>
          <p:cNvSpPr txBox="1">
            <a:spLocks noChangeAspect="1"/>
          </p:cNvSpPr>
          <p:nvPr/>
        </p:nvSpPr>
        <p:spPr>
          <a:xfrm>
            <a:off x="8302558" y="2982955"/>
            <a:ext cx="1557101" cy="1557099"/>
          </a:xfrm>
          <a:prstGeom prst="rect">
            <a:avLst/>
          </a:prstGeom>
          <a:noFill/>
        </p:spPr>
        <p:txBody>
          <a:bodyPr wrap="non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a:ln>
                  <a:noFill/>
                </a:ln>
                <a:solidFill>
                  <a:srgbClr val="091F2C"/>
                </a:solidFill>
                <a:effectLst/>
                <a:uLnTx/>
                <a:uFillTx/>
                <a:latin typeface="Segoe UI Semibold"/>
                <a:ea typeface="+mn-ea"/>
                <a:cs typeface="+mn-cs"/>
              </a:rPr>
              <a:t>Trusted</a:t>
            </a:r>
          </a:p>
        </p:txBody>
      </p:sp>
      <p:sp>
        <p:nvSpPr>
          <p:cNvPr id="210" name="TextBox 209">
            <a:extLst>
              <a:ext uri="{FF2B5EF4-FFF2-40B4-BE49-F238E27FC236}">
                <a16:creationId xmlns:a16="http://schemas.microsoft.com/office/drawing/2014/main" id="{AD39DE8A-0CC3-61D0-1736-717D45AD2322}"/>
              </a:ext>
              <a:ext uri="{C183D7F6-B498-43B3-948B-1728B52AA6E4}">
                <adec:decorative xmlns:adec="http://schemas.microsoft.com/office/drawing/2017/decorative" val="1"/>
              </a:ext>
            </a:extLst>
          </p:cNvPr>
          <p:cNvSpPr txBox="1">
            <a:spLocks noChangeAspect="1"/>
          </p:cNvSpPr>
          <p:nvPr/>
        </p:nvSpPr>
        <p:spPr>
          <a:xfrm>
            <a:off x="8270617" y="2943029"/>
            <a:ext cx="1620982" cy="1636950"/>
          </a:xfrm>
          <a:prstGeom prst="rect">
            <a:avLst/>
          </a:prstGeom>
          <a:noFill/>
        </p:spPr>
        <p:txBody>
          <a:bodyPr wrap="none" lIns="0" tIns="0" rIns="0" bIns="0" rtlCol="0">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30" normalizeH="0" baseline="0" noProof="0">
                <a:ln>
                  <a:noFill/>
                </a:ln>
                <a:solidFill>
                  <a:srgbClr val="091F2C"/>
                </a:solidFill>
                <a:effectLst/>
                <a:uLnTx/>
                <a:uFillTx/>
                <a:latin typeface="Segoe UI Semibold"/>
                <a:ea typeface="+mn-ea"/>
                <a:cs typeface="+mn-cs"/>
              </a:rPr>
              <a:t>Comprehensive</a:t>
            </a:r>
          </a:p>
        </p:txBody>
      </p:sp>
      <p:sp>
        <p:nvSpPr>
          <p:cNvPr id="211" name="Rectangle 210">
            <a:extLst>
              <a:ext uri="{FF2B5EF4-FFF2-40B4-BE49-F238E27FC236}">
                <a16:creationId xmlns:a16="http://schemas.microsoft.com/office/drawing/2014/main" id="{00B364EE-A1F7-1D91-76FE-244787727708}"/>
              </a:ext>
              <a:ext uri="{C183D7F6-B498-43B3-948B-1728B52AA6E4}">
                <adec:decorative xmlns:adec="http://schemas.microsoft.com/office/drawing/2017/decorative" val="1"/>
              </a:ext>
            </a:extLst>
          </p:cNvPr>
          <p:cNvSpPr>
            <a:spLocks noChangeAspect="1"/>
          </p:cNvSpPr>
          <p:nvPr/>
        </p:nvSpPr>
        <p:spPr bwMode="auto">
          <a:xfrm>
            <a:off x="8587597" y="3540220"/>
            <a:ext cx="987022" cy="44256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it-IT" sz="1600" b="0" i="0" u="none" strike="noStrike" kern="0" cap="none" spc="0" normalizeH="0" baseline="0" noProof="0">
                <a:ln>
                  <a:noFill/>
                </a:ln>
                <a:solidFill>
                  <a:srgbClr val="091F2C"/>
                </a:solidFill>
                <a:effectLst/>
                <a:uLnTx/>
                <a:uFillTx/>
                <a:latin typeface="Segoe UI Semibold"/>
                <a:ea typeface="+mn-ea"/>
                <a:cs typeface="Segoe UI" panose="020B0502040204020203" pitchFamily="34" charset="0"/>
              </a:rPr>
              <a:t>Microsoft </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it-IT" sz="1600" b="0" i="0" u="none" strike="noStrike" kern="0" cap="none" spc="0" normalizeH="0" baseline="0" noProof="0">
                <a:ln>
                  <a:noFill/>
                </a:ln>
                <a:solidFill>
                  <a:srgbClr val="091F2C"/>
                </a:solidFill>
                <a:effectLst/>
                <a:uLnTx/>
                <a:uFillTx/>
                <a:latin typeface="Segoe UI Semibold"/>
                <a:ea typeface="+mn-ea"/>
                <a:cs typeface="Segoe UI" panose="020B0502040204020203" pitchFamily="34" charset="0"/>
              </a:rPr>
              <a:t>Cloud</a:t>
            </a:r>
          </a:p>
        </p:txBody>
      </p:sp>
      <p:sp>
        <p:nvSpPr>
          <p:cNvPr id="212" name="Oval 211">
            <a:extLst>
              <a:ext uri="{FF2B5EF4-FFF2-40B4-BE49-F238E27FC236}">
                <a16:creationId xmlns:a16="http://schemas.microsoft.com/office/drawing/2014/main" id="{0FD1AB0B-F5F2-B45C-7E94-6D61B85166DB}"/>
              </a:ext>
              <a:ext uri="{C183D7F6-B498-43B3-948B-1728B52AA6E4}">
                <adec:decorative xmlns:adec="http://schemas.microsoft.com/office/drawing/2017/decorative" val="1"/>
              </a:ext>
            </a:extLst>
          </p:cNvPr>
          <p:cNvSpPr>
            <a:spLocks noChangeAspect="1"/>
          </p:cNvSpPr>
          <p:nvPr/>
        </p:nvSpPr>
        <p:spPr bwMode="auto">
          <a:xfrm>
            <a:off x="8395307" y="3075704"/>
            <a:ext cx="1371602" cy="1371600"/>
          </a:xfrm>
          <a:prstGeom prst="ellipse">
            <a:avLst/>
          </a:prstGeom>
          <a:noFill/>
          <a:ln w="6350" cap="flat" cmpd="sng" algn="ctr">
            <a:solidFill>
              <a:srgbClr val="3A4953"/>
            </a:solidFill>
            <a:prstDash val="solid"/>
            <a:headEnd type="none" w="med" len="med"/>
            <a:tailEnd type="none" w="med" len="med"/>
          </a:ln>
          <a:effectLst>
            <a:outerShdw blurRad="63500" dist="63500" dir="2700000" algn="tl" rotWithShape="0">
              <a:srgbClr val="737373">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FFFFFF"/>
              </a:solidFill>
              <a:effectLst/>
              <a:uLnTx/>
              <a:uFillTx/>
              <a:latin typeface="Segoe UI"/>
              <a:ea typeface="+mn-ea"/>
              <a:cs typeface="Segoe UI" pitchFamily="34" charset="0"/>
            </a:endParaRPr>
          </a:p>
        </p:txBody>
      </p:sp>
      <p:grpSp>
        <p:nvGrpSpPr>
          <p:cNvPr id="213" name="Group 212">
            <a:extLst>
              <a:ext uri="{FF2B5EF4-FFF2-40B4-BE49-F238E27FC236}">
                <a16:creationId xmlns:a16="http://schemas.microsoft.com/office/drawing/2014/main" id="{C6AA4372-334B-CCAA-BC28-CC749CAB4592}"/>
              </a:ext>
              <a:ext uri="{C183D7F6-B498-43B3-948B-1728B52AA6E4}">
                <adec:decorative xmlns:adec="http://schemas.microsoft.com/office/drawing/2017/decorative" val="1"/>
              </a:ext>
            </a:extLst>
          </p:cNvPr>
          <p:cNvGrpSpPr/>
          <p:nvPr/>
        </p:nvGrpSpPr>
        <p:grpSpPr>
          <a:xfrm>
            <a:off x="7360695" y="1891163"/>
            <a:ext cx="3728089" cy="3761396"/>
            <a:chOff x="1789311" y="1641786"/>
            <a:chExt cx="3547147" cy="3578838"/>
          </a:xfrm>
        </p:grpSpPr>
        <p:grpSp>
          <p:nvGrpSpPr>
            <p:cNvPr id="214" name="Group 213">
              <a:extLst>
                <a:ext uri="{FF2B5EF4-FFF2-40B4-BE49-F238E27FC236}">
                  <a16:creationId xmlns:a16="http://schemas.microsoft.com/office/drawing/2014/main" id="{4988FEAA-C19D-0B1E-9AB8-75694B0233A9}"/>
                </a:ext>
              </a:extLst>
            </p:cNvPr>
            <p:cNvGrpSpPr/>
            <p:nvPr/>
          </p:nvGrpSpPr>
          <p:grpSpPr>
            <a:xfrm>
              <a:off x="4281018" y="2330947"/>
              <a:ext cx="1055440" cy="790705"/>
              <a:chOff x="4281018" y="2330947"/>
              <a:chExt cx="1055440" cy="790705"/>
            </a:xfrm>
          </p:grpSpPr>
          <p:sp>
            <p:nvSpPr>
              <p:cNvPr id="230" name="Rectangle 229">
                <a:extLst>
                  <a:ext uri="{FF2B5EF4-FFF2-40B4-BE49-F238E27FC236}">
                    <a16:creationId xmlns:a16="http://schemas.microsoft.com/office/drawing/2014/main" id="{9610B6EF-C2EF-D556-F392-04E627B765AC}"/>
                  </a:ext>
                  <a:ext uri="{C183D7F6-B498-43B3-948B-1728B52AA6E4}">
                    <adec:decorative xmlns:adec="http://schemas.microsoft.com/office/drawing/2017/decorative" val="1"/>
                  </a:ext>
                </a:extLst>
              </p:cNvPr>
              <p:cNvSpPr/>
              <p:nvPr/>
            </p:nvSpPr>
            <p:spPr bwMode="auto">
              <a:xfrm>
                <a:off x="4281018" y="2805386"/>
                <a:ext cx="1055440" cy="3162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igital and app</a:t>
                </a:r>
                <a:b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novation</a:t>
                </a:r>
              </a:p>
            </p:txBody>
          </p:sp>
          <p:pic>
            <p:nvPicPr>
              <p:cNvPr id="231" name="Picture 230">
                <a:extLst>
                  <a:ext uri="{FF2B5EF4-FFF2-40B4-BE49-F238E27FC236}">
                    <a16:creationId xmlns:a16="http://schemas.microsoft.com/office/drawing/2014/main" id="{87F72314-7A76-FFBB-80FA-0B1EC5C2BC5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8299" y="2330947"/>
                <a:ext cx="440879" cy="440877"/>
              </a:xfrm>
              <a:prstGeom prst="rect">
                <a:avLst/>
              </a:prstGeom>
            </p:spPr>
          </p:pic>
        </p:grpSp>
        <p:grpSp>
          <p:nvGrpSpPr>
            <p:cNvPr id="215" name="Group 214">
              <a:extLst>
                <a:ext uri="{FF2B5EF4-FFF2-40B4-BE49-F238E27FC236}">
                  <a16:creationId xmlns:a16="http://schemas.microsoft.com/office/drawing/2014/main" id="{629461A0-2E5E-6B58-85A7-D921B7D66A9A}"/>
                </a:ext>
              </a:extLst>
            </p:cNvPr>
            <p:cNvGrpSpPr/>
            <p:nvPr/>
          </p:nvGrpSpPr>
          <p:grpSpPr>
            <a:xfrm>
              <a:off x="4295354" y="3785025"/>
              <a:ext cx="803782" cy="642375"/>
              <a:chOff x="4295354" y="3785025"/>
              <a:chExt cx="803782" cy="642375"/>
            </a:xfrm>
          </p:grpSpPr>
          <p:sp>
            <p:nvSpPr>
              <p:cNvPr id="228" name="Rectangle 227">
                <a:extLst>
                  <a:ext uri="{FF2B5EF4-FFF2-40B4-BE49-F238E27FC236}">
                    <a16:creationId xmlns:a16="http://schemas.microsoft.com/office/drawing/2014/main" id="{59CDD0C5-BC90-6247-020A-6BF94A4EB254}"/>
                  </a:ext>
                  <a:ext uri="{C183D7F6-B498-43B3-948B-1728B52AA6E4}">
                    <adec:decorative xmlns:adec="http://schemas.microsoft.com/office/drawing/2017/decorative" val="1"/>
                  </a:ext>
                </a:extLst>
              </p:cNvPr>
              <p:cNvSpPr/>
              <p:nvPr/>
            </p:nvSpPr>
            <p:spPr bwMode="auto">
              <a:xfrm>
                <a:off x="4295354" y="4269267"/>
                <a:ext cx="803782" cy="158133"/>
              </a:xfrm>
              <a:prstGeom prst="rect">
                <a:avLst/>
              </a:prstGeom>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ata and AI</a:t>
                </a:r>
              </a:p>
            </p:txBody>
          </p:sp>
          <p:pic>
            <p:nvPicPr>
              <p:cNvPr id="229" name="Picture 228">
                <a:extLst>
                  <a:ext uri="{FF2B5EF4-FFF2-40B4-BE49-F238E27FC236}">
                    <a16:creationId xmlns:a16="http://schemas.microsoft.com/office/drawing/2014/main" id="{32E909FA-67A2-ABCD-C8D4-8A6DC81AAF5D}"/>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6305" y="3785025"/>
                <a:ext cx="440877" cy="440877"/>
              </a:xfrm>
              <a:prstGeom prst="rect">
                <a:avLst/>
              </a:prstGeom>
            </p:spPr>
          </p:pic>
        </p:grpSp>
        <p:grpSp>
          <p:nvGrpSpPr>
            <p:cNvPr id="216" name="Group 215">
              <a:extLst>
                <a:ext uri="{FF2B5EF4-FFF2-40B4-BE49-F238E27FC236}">
                  <a16:creationId xmlns:a16="http://schemas.microsoft.com/office/drawing/2014/main" id="{6A280E75-807B-7A5E-59C1-A00166DD9C06}"/>
                </a:ext>
              </a:extLst>
            </p:cNvPr>
            <p:cNvGrpSpPr/>
            <p:nvPr/>
          </p:nvGrpSpPr>
          <p:grpSpPr>
            <a:xfrm>
              <a:off x="1789311" y="3719577"/>
              <a:ext cx="800731" cy="796105"/>
              <a:chOff x="1789311" y="3719577"/>
              <a:chExt cx="800731" cy="796105"/>
            </a:xfrm>
          </p:grpSpPr>
          <p:sp>
            <p:nvSpPr>
              <p:cNvPr id="226" name="Rectangle 225">
                <a:extLst>
                  <a:ext uri="{FF2B5EF4-FFF2-40B4-BE49-F238E27FC236}">
                    <a16:creationId xmlns:a16="http://schemas.microsoft.com/office/drawing/2014/main" id="{63419ADB-EE18-3D02-3708-637029078475}"/>
                  </a:ext>
                  <a:ext uri="{C183D7F6-B498-43B3-948B-1728B52AA6E4}">
                    <adec:decorative xmlns:adec="http://schemas.microsoft.com/office/drawing/2017/decorative" val="1"/>
                  </a:ext>
                </a:extLst>
              </p:cNvPr>
              <p:cNvSpPr/>
              <p:nvPr/>
            </p:nvSpPr>
            <p:spPr bwMode="auto">
              <a:xfrm>
                <a:off x="1789311" y="4199416"/>
                <a:ext cx="800731" cy="31626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Business</a:t>
                </a:r>
                <a:b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b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pplications</a:t>
                </a:r>
              </a:p>
            </p:txBody>
          </p:sp>
          <p:pic>
            <p:nvPicPr>
              <p:cNvPr id="227" name="Picture 226">
                <a:extLst>
                  <a:ext uri="{FF2B5EF4-FFF2-40B4-BE49-F238E27FC236}">
                    <a16:creationId xmlns:a16="http://schemas.microsoft.com/office/drawing/2014/main" id="{900F7D0C-B7EC-8F98-6DF8-CA0B592A964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5185" y="3719577"/>
                <a:ext cx="440877" cy="440879"/>
              </a:xfrm>
              <a:prstGeom prst="rect">
                <a:avLst/>
              </a:prstGeom>
            </p:spPr>
          </p:pic>
        </p:grpSp>
        <p:grpSp>
          <p:nvGrpSpPr>
            <p:cNvPr id="217" name="Group 216">
              <a:extLst>
                <a:ext uri="{FF2B5EF4-FFF2-40B4-BE49-F238E27FC236}">
                  <a16:creationId xmlns:a16="http://schemas.microsoft.com/office/drawing/2014/main" id="{209CF135-7413-7EF0-378C-15CC08808A44}"/>
                </a:ext>
              </a:extLst>
            </p:cNvPr>
            <p:cNvGrpSpPr/>
            <p:nvPr/>
          </p:nvGrpSpPr>
          <p:grpSpPr>
            <a:xfrm>
              <a:off x="1839340" y="2382989"/>
              <a:ext cx="532296" cy="631618"/>
              <a:chOff x="1839340" y="2382989"/>
              <a:chExt cx="532296" cy="631618"/>
            </a:xfrm>
          </p:grpSpPr>
          <p:sp>
            <p:nvSpPr>
              <p:cNvPr id="224" name="Rectangle 223">
                <a:extLst>
                  <a:ext uri="{FF2B5EF4-FFF2-40B4-BE49-F238E27FC236}">
                    <a16:creationId xmlns:a16="http://schemas.microsoft.com/office/drawing/2014/main" id="{EA613AFC-2E0D-9CA5-98D8-A123E99F3F5C}"/>
                  </a:ext>
                  <a:ext uri="{C183D7F6-B498-43B3-948B-1728B52AA6E4}">
                    <adec:decorative xmlns:adec="http://schemas.microsoft.com/office/drawing/2017/decorative" val="1"/>
                  </a:ext>
                </a:extLst>
              </p:cNvPr>
              <p:cNvSpPr/>
              <p:nvPr/>
            </p:nvSpPr>
            <p:spPr bwMode="auto">
              <a:xfrm>
                <a:off x="1839340" y="2856474"/>
                <a:ext cx="532296" cy="158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Security</a:t>
                </a:r>
              </a:p>
            </p:txBody>
          </p:sp>
          <p:pic>
            <p:nvPicPr>
              <p:cNvPr id="225" name="Picture 224">
                <a:extLst>
                  <a:ext uri="{FF2B5EF4-FFF2-40B4-BE49-F238E27FC236}">
                    <a16:creationId xmlns:a16="http://schemas.microsoft.com/office/drawing/2014/main" id="{512D5DC5-E9AE-9DBB-300A-FA90CED5FB5D}"/>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87004" y="2382989"/>
                <a:ext cx="440877" cy="440876"/>
              </a:xfrm>
              <a:prstGeom prst="rect">
                <a:avLst/>
              </a:prstGeom>
            </p:spPr>
          </p:pic>
        </p:grpSp>
        <p:grpSp>
          <p:nvGrpSpPr>
            <p:cNvPr id="218" name="Group 217">
              <a:extLst>
                <a:ext uri="{FF2B5EF4-FFF2-40B4-BE49-F238E27FC236}">
                  <a16:creationId xmlns:a16="http://schemas.microsoft.com/office/drawing/2014/main" id="{F1CC1C19-B1B1-601F-8C4D-C8CFEE216C25}"/>
                </a:ext>
              </a:extLst>
            </p:cNvPr>
            <p:cNvGrpSpPr/>
            <p:nvPr/>
          </p:nvGrpSpPr>
          <p:grpSpPr>
            <a:xfrm>
              <a:off x="2962087" y="4584512"/>
              <a:ext cx="924272" cy="636112"/>
              <a:chOff x="2962087" y="4584512"/>
              <a:chExt cx="924272" cy="636112"/>
            </a:xfrm>
          </p:grpSpPr>
          <p:sp>
            <p:nvSpPr>
              <p:cNvPr id="222" name="Rectangle 221">
                <a:extLst>
                  <a:ext uri="{FF2B5EF4-FFF2-40B4-BE49-F238E27FC236}">
                    <a16:creationId xmlns:a16="http://schemas.microsoft.com/office/drawing/2014/main" id="{7E8C4E50-238A-22B1-C6E9-F1F0213E0B68}"/>
                  </a:ext>
                  <a:ext uri="{C183D7F6-B498-43B3-948B-1728B52AA6E4}">
                    <adec:decorative xmlns:adec="http://schemas.microsoft.com/office/drawing/2017/decorative" val="1"/>
                  </a:ext>
                </a:extLst>
              </p:cNvPr>
              <p:cNvSpPr/>
              <p:nvPr/>
            </p:nvSpPr>
            <p:spPr bwMode="auto">
              <a:xfrm>
                <a:off x="2962087" y="5062491"/>
                <a:ext cx="924272" cy="158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Modern work</a:t>
                </a:r>
              </a:p>
            </p:txBody>
          </p:sp>
          <p:pic>
            <p:nvPicPr>
              <p:cNvPr id="223" name="Picture 222">
                <a:extLst>
                  <a:ext uri="{FF2B5EF4-FFF2-40B4-BE49-F238E27FC236}">
                    <a16:creationId xmlns:a16="http://schemas.microsoft.com/office/drawing/2014/main" id="{7C5BB5A7-A636-7641-AD1B-6FA5E27B03B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03785" y="4584512"/>
                <a:ext cx="440876" cy="440874"/>
              </a:xfrm>
              <a:prstGeom prst="rect">
                <a:avLst/>
              </a:prstGeom>
            </p:spPr>
          </p:pic>
        </p:grpSp>
        <p:grpSp>
          <p:nvGrpSpPr>
            <p:cNvPr id="219" name="Group 218">
              <a:extLst>
                <a:ext uri="{FF2B5EF4-FFF2-40B4-BE49-F238E27FC236}">
                  <a16:creationId xmlns:a16="http://schemas.microsoft.com/office/drawing/2014/main" id="{01374918-93DD-6C5C-17FA-0F4F2EA4E250}"/>
                </a:ext>
              </a:extLst>
            </p:cNvPr>
            <p:cNvGrpSpPr/>
            <p:nvPr/>
          </p:nvGrpSpPr>
          <p:grpSpPr>
            <a:xfrm>
              <a:off x="2954461" y="1641786"/>
              <a:ext cx="939524" cy="636120"/>
              <a:chOff x="2954461" y="1641786"/>
              <a:chExt cx="939524" cy="636120"/>
            </a:xfrm>
          </p:grpSpPr>
          <p:sp>
            <p:nvSpPr>
              <p:cNvPr id="220" name="Rectangle 219">
                <a:extLst>
                  <a:ext uri="{FF2B5EF4-FFF2-40B4-BE49-F238E27FC236}">
                    <a16:creationId xmlns:a16="http://schemas.microsoft.com/office/drawing/2014/main" id="{AD95DD76-7851-8674-D7AE-E5D2D91385D6}"/>
                  </a:ext>
                  <a:ext uri="{C183D7F6-B498-43B3-948B-1728B52AA6E4}">
                    <adec:decorative xmlns:adec="http://schemas.microsoft.com/office/drawing/2017/decorative" val="1"/>
                  </a:ext>
                </a:extLst>
              </p:cNvPr>
              <p:cNvSpPr/>
              <p:nvPr/>
            </p:nvSpPr>
            <p:spPr bwMode="auto">
              <a:xfrm>
                <a:off x="2954461" y="2119773"/>
                <a:ext cx="939524" cy="15813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frastructure</a:t>
                </a:r>
              </a:p>
            </p:txBody>
          </p:sp>
          <p:pic>
            <p:nvPicPr>
              <p:cNvPr id="221" name="Picture 220">
                <a:extLst>
                  <a:ext uri="{FF2B5EF4-FFF2-40B4-BE49-F238E27FC236}">
                    <a16:creationId xmlns:a16="http://schemas.microsoft.com/office/drawing/2014/main" id="{D50752D5-2471-40DF-60BD-E77462B3E9CD}"/>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03784" y="1641786"/>
                <a:ext cx="440878" cy="440877"/>
              </a:xfrm>
              <a:prstGeom prst="rect">
                <a:avLst/>
              </a:prstGeom>
            </p:spPr>
          </p:pic>
        </p:grpSp>
      </p:grpSp>
      <p:sp>
        <p:nvSpPr>
          <p:cNvPr id="232" name="TextBox 231">
            <a:extLst>
              <a:ext uri="{FF2B5EF4-FFF2-40B4-BE49-F238E27FC236}">
                <a16:creationId xmlns:a16="http://schemas.microsoft.com/office/drawing/2014/main" id="{0DF13F99-FCC2-85B5-5183-218C55546D6D}"/>
              </a:ext>
              <a:ext uri="{C183D7F6-B498-43B3-948B-1728B52AA6E4}">
                <adec:decorative xmlns:adec="http://schemas.microsoft.com/office/drawing/2017/decorative" val="1"/>
              </a:ext>
            </a:extLst>
          </p:cNvPr>
          <p:cNvSpPr txBox="1"/>
          <p:nvPr/>
        </p:nvSpPr>
        <p:spPr>
          <a:xfrm>
            <a:off x="8497664" y="1374506"/>
            <a:ext cx="1158972" cy="166199"/>
          </a:xfrm>
          <a:prstGeom prst="rect">
            <a:avLst/>
          </a:prstGeom>
          <a:noFill/>
        </p:spPr>
        <p:txBody>
          <a:bodyPr wrap="none" lIns="0" tIns="0" rIns="0" bIns="0" rtlCol="0">
            <a:prstTxWarp prst="textArchUp">
              <a:avLst/>
            </a:prstTxWarp>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Microsoft Cloud</a:t>
            </a:r>
          </a:p>
        </p:txBody>
      </p:sp>
      <p:sp>
        <p:nvSpPr>
          <p:cNvPr id="233" name="Rectangle 232" descr="A circular graphic illustrating Microsoft Cloud as trusted and comprehensive across security, digital app and innovation, data and AI, modern work, business applications and security">
            <a:extLst>
              <a:ext uri="{FF2B5EF4-FFF2-40B4-BE49-F238E27FC236}">
                <a16:creationId xmlns:a16="http://schemas.microsoft.com/office/drawing/2014/main" id="{2F88410C-D899-8768-721F-8D905E7064C3}"/>
              </a:ext>
              <a:ext uri="{C183D7F6-B498-43B3-948B-1728B52AA6E4}">
                <adec:decorative xmlns:adec="http://schemas.microsoft.com/office/drawing/2017/decorative" val="0"/>
              </a:ext>
            </a:extLst>
          </p:cNvPr>
          <p:cNvSpPr/>
          <p:nvPr/>
        </p:nvSpPr>
        <p:spPr bwMode="auto">
          <a:xfrm>
            <a:off x="9626601" y="6906416"/>
            <a:ext cx="419100" cy="76200"/>
          </a:xfrm>
          <a:prstGeom prst="rect">
            <a:avLst/>
          </a:prstGeom>
          <a:solidFill>
            <a:srgbClr val="091F2C"/>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err="1">
              <a:ln>
                <a:noFill/>
              </a:ln>
              <a:solidFill>
                <a:srgbClr val="091F2C"/>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847898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7"/>
                                        </p:tgtEl>
                                        <p:attrNameLst>
                                          <p:attrName>style.visibility</p:attrName>
                                        </p:attrNameLst>
                                      </p:cBhvr>
                                      <p:to>
                                        <p:strVal val="visible"/>
                                      </p:to>
                                    </p:set>
                                    <p:animEffect transition="in" filter="fade">
                                      <p:cBhvr>
                                        <p:cTn id="7" dur="500"/>
                                        <p:tgtEl>
                                          <p:spTgt spid="157"/>
                                        </p:tgtEl>
                                      </p:cBhvr>
                                    </p:animEffect>
                                  </p:childTnLst>
                                </p:cTn>
                              </p:par>
                              <p:par>
                                <p:cTn id="8" presetID="42" presetClass="path" presetSubtype="0" decel="100000" fill="hold" grpId="1" nodeType="withEffect">
                                  <p:stCondLst>
                                    <p:cond delay="0"/>
                                  </p:stCondLst>
                                  <p:childTnLst>
                                    <p:animMotion origin="layout" path="M -3.33333E-6 1.48148E-6 L -3.33333E-6 0.03542 " pathEditMode="relative" rAng="0" ptsTypes="AA">
                                      <p:cBhvr>
                                        <p:cTn id="9" dur="700" spd="-100000" fill="hold"/>
                                        <p:tgtEl>
                                          <p:spTgt spid="157"/>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161"/>
                                        </p:tgtEl>
                                        <p:attrNameLst>
                                          <p:attrName>style.visibility</p:attrName>
                                        </p:attrNameLst>
                                      </p:cBhvr>
                                      <p:to>
                                        <p:strVal val="visible"/>
                                      </p:to>
                                    </p:set>
                                    <p:animEffect transition="in" filter="fade">
                                      <p:cBhvr>
                                        <p:cTn id="12" dur="500"/>
                                        <p:tgtEl>
                                          <p:spTgt spid="161"/>
                                        </p:tgtEl>
                                      </p:cBhvr>
                                    </p:animEffect>
                                  </p:childTnLst>
                                </p:cTn>
                              </p:par>
                              <p:par>
                                <p:cTn id="13" presetID="42" presetClass="path" presetSubtype="0" decel="100000" fill="hold" grpId="1" nodeType="withEffect">
                                  <p:stCondLst>
                                    <p:cond delay="0"/>
                                  </p:stCondLst>
                                  <p:childTnLst>
                                    <p:animMotion origin="layout" path="M -3.33333E-6 4.44444E-6 L -3.33333E-6 0.03541 " pathEditMode="relative" rAng="0" ptsTypes="AA">
                                      <p:cBhvr>
                                        <p:cTn id="14" dur="700" spd="-100000" fill="hold"/>
                                        <p:tgtEl>
                                          <p:spTgt spid="161"/>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62"/>
                                        </p:tgtEl>
                                        <p:attrNameLst>
                                          <p:attrName>style.visibility</p:attrName>
                                        </p:attrNameLst>
                                      </p:cBhvr>
                                      <p:to>
                                        <p:strVal val="visible"/>
                                      </p:to>
                                    </p:set>
                                    <p:animEffect transition="in" filter="fade">
                                      <p:cBhvr>
                                        <p:cTn id="17" dur="500"/>
                                        <p:tgtEl>
                                          <p:spTgt spid="162"/>
                                        </p:tgtEl>
                                      </p:cBhvr>
                                    </p:animEffect>
                                  </p:childTnLst>
                                </p:cTn>
                              </p:par>
                              <p:par>
                                <p:cTn id="18" presetID="42" presetClass="path" presetSubtype="0" decel="100000" fill="hold" grpId="1" nodeType="withEffect">
                                  <p:stCondLst>
                                    <p:cond delay="100"/>
                                  </p:stCondLst>
                                  <p:childTnLst>
                                    <p:animMotion origin="layout" path="M -3.33333E-6 2.96296E-6 L -3.33333E-6 0.03541 " pathEditMode="relative" rAng="0" ptsTypes="AA">
                                      <p:cBhvr>
                                        <p:cTn id="19" dur="700" spd="-100000" fill="hold"/>
                                        <p:tgtEl>
                                          <p:spTgt spid="162"/>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163"/>
                                        </p:tgtEl>
                                        <p:attrNameLst>
                                          <p:attrName>style.visibility</p:attrName>
                                        </p:attrNameLst>
                                      </p:cBhvr>
                                      <p:to>
                                        <p:strVal val="visible"/>
                                      </p:to>
                                    </p:set>
                                    <p:animEffect transition="in" filter="fade">
                                      <p:cBhvr>
                                        <p:cTn id="22" dur="500"/>
                                        <p:tgtEl>
                                          <p:spTgt spid="163"/>
                                        </p:tgtEl>
                                      </p:cBhvr>
                                    </p:animEffect>
                                  </p:childTnLst>
                                </p:cTn>
                              </p:par>
                              <p:par>
                                <p:cTn id="23" presetID="42" presetClass="path" presetSubtype="0" decel="100000" fill="hold" grpId="1" nodeType="withEffect">
                                  <p:stCondLst>
                                    <p:cond delay="200"/>
                                  </p:stCondLst>
                                  <p:childTnLst>
                                    <p:animMotion origin="layout" path="M -3.33333E-6 1.48148E-6 L -3.33333E-6 0.03542 " pathEditMode="relative" rAng="0" ptsTypes="AA">
                                      <p:cBhvr>
                                        <p:cTn id="24" dur="700" spd="-100000" fill="hold"/>
                                        <p:tgtEl>
                                          <p:spTgt spid="163"/>
                                        </p:tgtEl>
                                        <p:attrNameLst>
                                          <p:attrName>ppt_x</p:attrName>
                                          <p:attrName>ppt_y</p:attrName>
                                        </p:attrNameLst>
                                      </p:cBhvr>
                                      <p:rCtr x="0" y="1759"/>
                                    </p:animMotion>
                                  </p:childTnLst>
                                </p:cTn>
                              </p:par>
                              <p:par>
                                <p:cTn id="25" presetID="10" presetClass="entr" presetSubtype="0" fill="hold" nodeType="withEffect">
                                  <p:stCondLst>
                                    <p:cond delay="0"/>
                                  </p:stCondLst>
                                  <p:childTnLst>
                                    <p:set>
                                      <p:cBhvr>
                                        <p:cTn id="26" dur="1" fill="hold">
                                          <p:stCondLst>
                                            <p:cond delay="0"/>
                                          </p:stCondLst>
                                        </p:cTn>
                                        <p:tgtEl>
                                          <p:spTgt spid="159"/>
                                        </p:tgtEl>
                                        <p:attrNameLst>
                                          <p:attrName>style.visibility</p:attrName>
                                        </p:attrNameLst>
                                      </p:cBhvr>
                                      <p:to>
                                        <p:strVal val="visible"/>
                                      </p:to>
                                    </p:set>
                                    <p:animEffect transition="in" filter="fade">
                                      <p:cBhvr>
                                        <p:cTn id="27" dur="500"/>
                                        <p:tgtEl>
                                          <p:spTgt spid="159"/>
                                        </p:tgtEl>
                                      </p:cBhvr>
                                    </p:animEffect>
                                  </p:childTnLst>
                                </p:cTn>
                              </p:par>
                              <p:par>
                                <p:cTn id="28" presetID="42" presetClass="path" presetSubtype="0" decel="100000" fill="hold" nodeType="withEffect">
                                  <p:stCondLst>
                                    <p:cond delay="0"/>
                                  </p:stCondLst>
                                  <p:childTnLst>
                                    <p:animMotion origin="layout" path="M -3.33333E-6 2.96296E-6 L -3.33333E-6 0.03541 " pathEditMode="relative" rAng="0" ptsTypes="AA">
                                      <p:cBhvr>
                                        <p:cTn id="29" dur="700" spd="-100000" fill="hold"/>
                                        <p:tgtEl>
                                          <p:spTgt spid="159"/>
                                        </p:tgtEl>
                                        <p:attrNameLst>
                                          <p:attrName>ppt_x</p:attrName>
                                          <p:attrName>ppt_y</p:attrName>
                                        </p:attrNameLst>
                                      </p:cBhvr>
                                      <p:rCtr x="0" y="1759"/>
                                    </p:animMotion>
                                  </p:childTnLst>
                                </p:cTn>
                              </p:par>
                              <p:par>
                                <p:cTn id="30" presetID="10" presetClass="entr" presetSubtype="0" fill="hold" nodeType="withEffect">
                                  <p:stCondLst>
                                    <p:cond delay="0"/>
                                  </p:stCondLst>
                                  <p:childTnLst>
                                    <p:set>
                                      <p:cBhvr>
                                        <p:cTn id="31" dur="1" fill="hold">
                                          <p:stCondLst>
                                            <p:cond delay="0"/>
                                          </p:stCondLst>
                                        </p:cTn>
                                        <p:tgtEl>
                                          <p:spTgt spid="160"/>
                                        </p:tgtEl>
                                        <p:attrNameLst>
                                          <p:attrName>style.visibility</p:attrName>
                                        </p:attrNameLst>
                                      </p:cBhvr>
                                      <p:to>
                                        <p:strVal val="visible"/>
                                      </p:to>
                                    </p:set>
                                    <p:animEffect transition="in" filter="fade">
                                      <p:cBhvr>
                                        <p:cTn id="32" dur="500"/>
                                        <p:tgtEl>
                                          <p:spTgt spid="160"/>
                                        </p:tgtEl>
                                      </p:cBhvr>
                                    </p:animEffect>
                                  </p:childTnLst>
                                </p:cTn>
                              </p:par>
                              <p:par>
                                <p:cTn id="33" presetID="42" presetClass="path" presetSubtype="0" decel="100000" fill="hold" nodeType="withEffect">
                                  <p:stCondLst>
                                    <p:cond delay="0"/>
                                  </p:stCondLst>
                                  <p:childTnLst>
                                    <p:animMotion origin="layout" path="M -3.33333E-6 1.48148E-6 L -3.33333E-6 0.03542 " pathEditMode="relative" rAng="0" ptsTypes="AA">
                                      <p:cBhvr>
                                        <p:cTn id="34" dur="700" spd="-100000" fill="hold"/>
                                        <p:tgtEl>
                                          <p:spTgt spid="160"/>
                                        </p:tgtEl>
                                        <p:attrNameLst>
                                          <p:attrName>ppt_x</p:attrName>
                                          <p:attrName>ppt_y</p:attrName>
                                        </p:attrNameLst>
                                      </p:cBhvr>
                                      <p:rCtr x="0" y="1759"/>
                                    </p:animMotion>
                                  </p:childTnLst>
                                </p:cTn>
                              </p:par>
                              <p:par>
                                <p:cTn id="35" presetID="10" presetClass="entr" presetSubtype="0" fill="hold" grpId="0" nodeType="withEffect">
                                  <p:stCondLst>
                                    <p:cond delay="500"/>
                                  </p:stCondLst>
                                  <p:childTnLst>
                                    <p:set>
                                      <p:cBhvr>
                                        <p:cTn id="36" dur="1" fill="hold">
                                          <p:stCondLst>
                                            <p:cond delay="0"/>
                                          </p:stCondLst>
                                        </p:cTn>
                                        <p:tgtEl>
                                          <p:spTgt spid="207"/>
                                        </p:tgtEl>
                                        <p:attrNameLst>
                                          <p:attrName>style.visibility</p:attrName>
                                        </p:attrNameLst>
                                      </p:cBhvr>
                                      <p:to>
                                        <p:strVal val="visible"/>
                                      </p:to>
                                    </p:set>
                                    <p:animEffect transition="in" filter="fade">
                                      <p:cBhvr>
                                        <p:cTn id="37" dur="500"/>
                                        <p:tgtEl>
                                          <p:spTgt spid="207"/>
                                        </p:tgtEl>
                                      </p:cBhvr>
                                    </p:animEffect>
                                  </p:childTnLst>
                                </p:cTn>
                              </p:par>
                              <p:par>
                                <p:cTn id="38" presetID="6" presetClass="emph" presetSubtype="0" accel="100000" autoRev="1" fill="hold" grpId="1" nodeType="withEffect">
                                  <p:stCondLst>
                                    <p:cond delay="0"/>
                                  </p:stCondLst>
                                  <p:childTnLst>
                                    <p:animScale>
                                      <p:cBhvr>
                                        <p:cTn id="39" dur="500" fill="hold"/>
                                        <p:tgtEl>
                                          <p:spTgt spid="207"/>
                                        </p:tgtEl>
                                      </p:cBhvr>
                                      <p:by x="80000" y="80000"/>
                                    </p:animScale>
                                  </p:childTnLst>
                                </p:cTn>
                              </p:par>
                              <p:par>
                                <p:cTn id="40" presetID="10" presetClass="entr" presetSubtype="0" fill="hold" grpId="0" nodeType="withEffect">
                                  <p:stCondLst>
                                    <p:cond delay="100"/>
                                  </p:stCondLst>
                                  <p:childTnLst>
                                    <p:set>
                                      <p:cBhvr>
                                        <p:cTn id="41" dur="1" fill="hold">
                                          <p:stCondLst>
                                            <p:cond delay="0"/>
                                          </p:stCondLst>
                                        </p:cTn>
                                        <p:tgtEl>
                                          <p:spTgt spid="211"/>
                                        </p:tgtEl>
                                        <p:attrNameLst>
                                          <p:attrName>style.visibility</p:attrName>
                                        </p:attrNameLst>
                                      </p:cBhvr>
                                      <p:to>
                                        <p:strVal val="visible"/>
                                      </p:to>
                                    </p:set>
                                    <p:animEffect transition="in" filter="fade">
                                      <p:cBhvr>
                                        <p:cTn id="42" dur="500"/>
                                        <p:tgtEl>
                                          <p:spTgt spid="211"/>
                                        </p:tgtEl>
                                      </p:cBhvr>
                                    </p:animEffect>
                                  </p:childTnLst>
                                </p:cTn>
                              </p:par>
                              <p:par>
                                <p:cTn id="43" presetID="42" presetClass="path" presetSubtype="0" decel="100000" fill="hold" grpId="1" nodeType="withEffect">
                                  <p:stCondLst>
                                    <p:cond delay="100"/>
                                  </p:stCondLst>
                                  <p:childTnLst>
                                    <p:animMotion origin="layout" path="M -1.66667E-6 -2.59259E-6 L -1.66667E-6 0.03542 " pathEditMode="relative" rAng="0" ptsTypes="AA">
                                      <p:cBhvr>
                                        <p:cTn id="44" dur="700" spd="-100000" fill="hold"/>
                                        <p:tgtEl>
                                          <p:spTgt spid="211"/>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208"/>
                                        </p:tgtEl>
                                        <p:attrNameLst>
                                          <p:attrName>style.visibility</p:attrName>
                                        </p:attrNameLst>
                                      </p:cBhvr>
                                      <p:to>
                                        <p:strVal val="visible"/>
                                      </p:to>
                                    </p:set>
                                    <p:animEffect transition="in" filter="fade">
                                      <p:cBhvr>
                                        <p:cTn id="47" dur="500"/>
                                        <p:tgtEl>
                                          <p:spTgt spid="208"/>
                                        </p:tgtEl>
                                      </p:cBhvr>
                                    </p:animEffect>
                                  </p:childTnLst>
                                </p:cTn>
                              </p:par>
                              <p:par>
                                <p:cTn id="48" presetID="42" presetClass="path" presetSubtype="0" decel="100000" fill="hold" grpId="1" nodeType="withEffect">
                                  <p:stCondLst>
                                    <p:cond delay="100"/>
                                  </p:stCondLst>
                                  <p:childTnLst>
                                    <p:animMotion origin="layout" path="M -1.66667E-6 -2.59259E-6 L -1.66667E-6 0.03542 " pathEditMode="relative" rAng="0" ptsTypes="AA">
                                      <p:cBhvr>
                                        <p:cTn id="49" dur="700" spd="-100000" fill="hold"/>
                                        <p:tgtEl>
                                          <p:spTgt spid="208"/>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210"/>
                                        </p:tgtEl>
                                        <p:attrNameLst>
                                          <p:attrName>style.visibility</p:attrName>
                                        </p:attrNameLst>
                                      </p:cBhvr>
                                      <p:to>
                                        <p:strVal val="visible"/>
                                      </p:to>
                                    </p:set>
                                    <p:animEffect transition="in" filter="fade">
                                      <p:cBhvr>
                                        <p:cTn id="52" dur="500"/>
                                        <p:tgtEl>
                                          <p:spTgt spid="210"/>
                                        </p:tgtEl>
                                      </p:cBhvr>
                                    </p:animEffect>
                                  </p:childTnLst>
                                </p:cTn>
                              </p:par>
                              <p:par>
                                <p:cTn id="53" presetID="42" presetClass="path" presetSubtype="0" decel="100000" fill="hold" grpId="1" nodeType="withEffect">
                                  <p:stCondLst>
                                    <p:cond delay="100"/>
                                  </p:stCondLst>
                                  <p:childTnLst>
                                    <p:animMotion origin="layout" path="M -1.66667E-6 -2.59259E-6 L -1.66667E-6 0.03542 " pathEditMode="relative" rAng="0" ptsTypes="AA">
                                      <p:cBhvr>
                                        <p:cTn id="54" dur="700" spd="-100000" fill="hold"/>
                                        <p:tgtEl>
                                          <p:spTgt spid="210"/>
                                        </p:tgtEl>
                                        <p:attrNameLst>
                                          <p:attrName>ppt_x</p:attrName>
                                          <p:attrName>ppt_y</p:attrName>
                                        </p:attrNameLst>
                                      </p:cBhvr>
                                      <p:rCtr x="0" y="1759"/>
                                    </p:animMotion>
                                  </p:childTnLst>
                                </p:cTn>
                              </p:par>
                              <p:par>
                                <p:cTn id="55" presetID="10" presetClass="entr" presetSubtype="0" fill="hold" grpId="0" nodeType="withEffect">
                                  <p:stCondLst>
                                    <p:cond delay="100"/>
                                  </p:stCondLst>
                                  <p:childTnLst>
                                    <p:set>
                                      <p:cBhvr>
                                        <p:cTn id="56" dur="1" fill="hold">
                                          <p:stCondLst>
                                            <p:cond delay="0"/>
                                          </p:stCondLst>
                                        </p:cTn>
                                        <p:tgtEl>
                                          <p:spTgt spid="209"/>
                                        </p:tgtEl>
                                        <p:attrNameLst>
                                          <p:attrName>style.visibility</p:attrName>
                                        </p:attrNameLst>
                                      </p:cBhvr>
                                      <p:to>
                                        <p:strVal val="visible"/>
                                      </p:to>
                                    </p:set>
                                    <p:animEffect transition="in" filter="fade">
                                      <p:cBhvr>
                                        <p:cTn id="57" dur="500"/>
                                        <p:tgtEl>
                                          <p:spTgt spid="209"/>
                                        </p:tgtEl>
                                      </p:cBhvr>
                                    </p:animEffect>
                                  </p:childTnLst>
                                </p:cTn>
                              </p:par>
                              <p:par>
                                <p:cTn id="58" presetID="42" presetClass="path" presetSubtype="0" decel="100000" fill="hold" grpId="1" nodeType="withEffect">
                                  <p:stCondLst>
                                    <p:cond delay="100"/>
                                  </p:stCondLst>
                                  <p:childTnLst>
                                    <p:animMotion origin="layout" path="M -1.66667E-6 -2.59259E-6 L -1.66667E-6 0.03542 " pathEditMode="relative" rAng="0" ptsTypes="AA">
                                      <p:cBhvr>
                                        <p:cTn id="59" dur="700" spd="-100000" fill="hold"/>
                                        <p:tgtEl>
                                          <p:spTgt spid="209"/>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212"/>
                                        </p:tgtEl>
                                        <p:attrNameLst>
                                          <p:attrName>style.visibility</p:attrName>
                                        </p:attrNameLst>
                                      </p:cBhvr>
                                      <p:to>
                                        <p:strVal val="visible"/>
                                      </p:to>
                                    </p:set>
                                    <p:animEffect transition="in" filter="fade">
                                      <p:cBhvr>
                                        <p:cTn id="62" dur="500"/>
                                        <p:tgtEl>
                                          <p:spTgt spid="212"/>
                                        </p:tgtEl>
                                      </p:cBhvr>
                                    </p:animEffect>
                                  </p:childTnLst>
                                </p:cTn>
                              </p:par>
                              <p:par>
                                <p:cTn id="63" presetID="42" presetClass="path" presetSubtype="0" decel="100000" fill="hold" grpId="1" nodeType="withEffect">
                                  <p:stCondLst>
                                    <p:cond delay="100"/>
                                  </p:stCondLst>
                                  <p:childTnLst>
                                    <p:animMotion origin="layout" path="M -1.66667E-6 -2.59259E-6 L -1.66667E-6 0.03542 " pathEditMode="relative" rAng="0" ptsTypes="AA">
                                      <p:cBhvr>
                                        <p:cTn id="64" dur="700" spd="-100000" fill="hold"/>
                                        <p:tgtEl>
                                          <p:spTgt spid="212"/>
                                        </p:tgtEl>
                                        <p:attrNameLst>
                                          <p:attrName>ppt_x</p:attrName>
                                          <p:attrName>ppt_y</p:attrName>
                                        </p:attrNameLst>
                                      </p:cBhvr>
                                      <p:rCtr x="0" y="1759"/>
                                    </p:animMotion>
                                  </p:childTnLst>
                                </p:cTn>
                              </p:par>
                              <p:par>
                                <p:cTn id="65" presetID="16" presetClass="entr" presetSubtype="42" fill="hold" grpId="0" nodeType="withEffect">
                                  <p:stCondLst>
                                    <p:cond delay="500"/>
                                  </p:stCondLst>
                                  <p:childTnLst>
                                    <p:set>
                                      <p:cBhvr>
                                        <p:cTn id="66" dur="1" fill="hold">
                                          <p:stCondLst>
                                            <p:cond delay="0"/>
                                          </p:stCondLst>
                                        </p:cTn>
                                        <p:tgtEl>
                                          <p:spTgt spid="203"/>
                                        </p:tgtEl>
                                        <p:attrNameLst>
                                          <p:attrName>style.visibility</p:attrName>
                                        </p:attrNameLst>
                                      </p:cBhvr>
                                      <p:to>
                                        <p:strVal val="visible"/>
                                      </p:to>
                                    </p:set>
                                    <p:animEffect transition="in" filter="barn(outHorizontal)">
                                      <p:cBhvr>
                                        <p:cTn id="67" dur="500"/>
                                        <p:tgtEl>
                                          <p:spTgt spid="203"/>
                                        </p:tgtEl>
                                      </p:cBhvr>
                                    </p:animEffect>
                                  </p:childTnLst>
                                </p:cTn>
                              </p:par>
                              <p:par>
                                <p:cTn id="68" presetID="16" presetClass="entr" presetSubtype="42" fill="hold" grpId="0" nodeType="withEffect">
                                  <p:stCondLst>
                                    <p:cond delay="500"/>
                                  </p:stCondLst>
                                  <p:childTnLst>
                                    <p:set>
                                      <p:cBhvr>
                                        <p:cTn id="69" dur="1" fill="hold">
                                          <p:stCondLst>
                                            <p:cond delay="0"/>
                                          </p:stCondLst>
                                        </p:cTn>
                                        <p:tgtEl>
                                          <p:spTgt spid="204"/>
                                        </p:tgtEl>
                                        <p:attrNameLst>
                                          <p:attrName>style.visibility</p:attrName>
                                        </p:attrNameLst>
                                      </p:cBhvr>
                                      <p:to>
                                        <p:strVal val="visible"/>
                                      </p:to>
                                    </p:set>
                                    <p:animEffect transition="in" filter="barn(outHorizontal)">
                                      <p:cBhvr>
                                        <p:cTn id="70" dur="500"/>
                                        <p:tgtEl>
                                          <p:spTgt spid="204"/>
                                        </p:tgtEl>
                                      </p:cBhvr>
                                    </p:animEffect>
                                  </p:childTnLst>
                                </p:cTn>
                              </p:par>
                              <p:par>
                                <p:cTn id="71" presetID="16" presetClass="entr" presetSubtype="37" fill="hold" grpId="0" nodeType="withEffect">
                                  <p:stCondLst>
                                    <p:cond delay="500"/>
                                  </p:stCondLst>
                                  <p:childTnLst>
                                    <p:set>
                                      <p:cBhvr>
                                        <p:cTn id="72" dur="1" fill="hold">
                                          <p:stCondLst>
                                            <p:cond delay="0"/>
                                          </p:stCondLst>
                                        </p:cTn>
                                        <p:tgtEl>
                                          <p:spTgt spid="205"/>
                                        </p:tgtEl>
                                        <p:attrNameLst>
                                          <p:attrName>style.visibility</p:attrName>
                                        </p:attrNameLst>
                                      </p:cBhvr>
                                      <p:to>
                                        <p:strVal val="visible"/>
                                      </p:to>
                                    </p:set>
                                    <p:animEffect transition="in" filter="barn(outVertical)">
                                      <p:cBhvr>
                                        <p:cTn id="73" dur="500"/>
                                        <p:tgtEl>
                                          <p:spTgt spid="205"/>
                                        </p:tgtEl>
                                      </p:cBhvr>
                                    </p:animEffect>
                                  </p:childTnLst>
                                </p:cTn>
                              </p:par>
                              <p:par>
                                <p:cTn id="74" presetID="10" presetClass="entr" presetSubtype="0" fill="hold" grpId="0" nodeType="withEffect">
                                  <p:stCondLst>
                                    <p:cond delay="500"/>
                                  </p:stCondLst>
                                  <p:childTnLst>
                                    <p:set>
                                      <p:cBhvr>
                                        <p:cTn id="75" dur="1" fill="hold">
                                          <p:stCondLst>
                                            <p:cond delay="0"/>
                                          </p:stCondLst>
                                        </p:cTn>
                                        <p:tgtEl>
                                          <p:spTgt spid="206"/>
                                        </p:tgtEl>
                                        <p:attrNameLst>
                                          <p:attrName>style.visibility</p:attrName>
                                        </p:attrNameLst>
                                      </p:cBhvr>
                                      <p:to>
                                        <p:strVal val="visible"/>
                                      </p:to>
                                    </p:set>
                                    <p:animEffect transition="in" filter="fade">
                                      <p:cBhvr>
                                        <p:cTn id="76" dur="500"/>
                                        <p:tgtEl>
                                          <p:spTgt spid="206"/>
                                        </p:tgtEl>
                                      </p:cBhvr>
                                    </p:animEffect>
                                  </p:childTnLst>
                                </p:cTn>
                              </p:par>
                              <p:par>
                                <p:cTn id="77" presetID="6" presetClass="emph" presetSubtype="0" accel="100000" autoRev="1" fill="hold" grpId="1" nodeType="withEffect">
                                  <p:stCondLst>
                                    <p:cond delay="0"/>
                                  </p:stCondLst>
                                  <p:childTnLst>
                                    <p:animScale>
                                      <p:cBhvr>
                                        <p:cTn id="78" dur="500" fill="hold"/>
                                        <p:tgtEl>
                                          <p:spTgt spid="206"/>
                                        </p:tgtEl>
                                      </p:cBhvr>
                                      <p:by x="80000" y="80000"/>
                                    </p:animScale>
                                  </p:childTnLst>
                                </p:cTn>
                              </p:par>
                              <p:par>
                                <p:cTn id="79" presetID="10" presetClass="entr" presetSubtype="0" fill="hold" grpId="0" nodeType="withEffect">
                                  <p:stCondLst>
                                    <p:cond delay="500"/>
                                  </p:stCondLst>
                                  <p:childTnLst>
                                    <p:set>
                                      <p:cBhvr>
                                        <p:cTn id="80" dur="1" fill="hold">
                                          <p:stCondLst>
                                            <p:cond delay="0"/>
                                          </p:stCondLst>
                                        </p:cTn>
                                        <p:tgtEl>
                                          <p:spTgt spid="202"/>
                                        </p:tgtEl>
                                        <p:attrNameLst>
                                          <p:attrName>style.visibility</p:attrName>
                                        </p:attrNameLst>
                                      </p:cBhvr>
                                      <p:to>
                                        <p:strVal val="visible"/>
                                      </p:to>
                                    </p:set>
                                    <p:animEffect transition="in" filter="fade">
                                      <p:cBhvr>
                                        <p:cTn id="81" dur="500"/>
                                        <p:tgtEl>
                                          <p:spTgt spid="202"/>
                                        </p:tgtEl>
                                      </p:cBhvr>
                                    </p:animEffect>
                                  </p:childTnLst>
                                </p:cTn>
                              </p:par>
                              <p:par>
                                <p:cTn id="82" presetID="6" presetClass="emph" presetSubtype="0" accel="100000" autoRev="1" fill="hold" grpId="1" nodeType="withEffect">
                                  <p:stCondLst>
                                    <p:cond delay="0"/>
                                  </p:stCondLst>
                                  <p:childTnLst>
                                    <p:animScale>
                                      <p:cBhvr>
                                        <p:cTn id="83" dur="500" fill="hold"/>
                                        <p:tgtEl>
                                          <p:spTgt spid="202"/>
                                        </p:tgtEl>
                                      </p:cBhvr>
                                      <p:by x="80000" y="80000"/>
                                    </p:animScale>
                                  </p:childTnLst>
                                </p:cTn>
                              </p:par>
                              <p:par>
                                <p:cTn id="84" presetID="10" presetClass="entr" presetSubtype="0" fill="hold" nodeType="withEffect">
                                  <p:stCondLst>
                                    <p:cond delay="500"/>
                                  </p:stCondLst>
                                  <p:childTnLst>
                                    <p:set>
                                      <p:cBhvr>
                                        <p:cTn id="85" dur="1" fill="hold">
                                          <p:stCondLst>
                                            <p:cond delay="0"/>
                                          </p:stCondLst>
                                        </p:cTn>
                                        <p:tgtEl>
                                          <p:spTgt spid="213"/>
                                        </p:tgtEl>
                                        <p:attrNameLst>
                                          <p:attrName>style.visibility</p:attrName>
                                        </p:attrNameLst>
                                      </p:cBhvr>
                                      <p:to>
                                        <p:strVal val="visible"/>
                                      </p:to>
                                    </p:set>
                                    <p:animEffect transition="in" filter="fade">
                                      <p:cBhvr>
                                        <p:cTn id="86" dur="500"/>
                                        <p:tgtEl>
                                          <p:spTgt spid="213"/>
                                        </p:tgtEl>
                                      </p:cBhvr>
                                    </p:animEffect>
                                  </p:childTnLst>
                                </p:cTn>
                              </p:par>
                              <p:par>
                                <p:cTn id="87" presetID="6" presetClass="emph" presetSubtype="0" accel="100000" autoRev="1" fill="hold" nodeType="withEffect">
                                  <p:stCondLst>
                                    <p:cond delay="0"/>
                                  </p:stCondLst>
                                  <p:childTnLst>
                                    <p:animScale>
                                      <p:cBhvr>
                                        <p:cTn id="88" dur="500" fill="hold"/>
                                        <p:tgtEl>
                                          <p:spTgt spid="213"/>
                                        </p:tgtEl>
                                      </p:cBhvr>
                                      <p:by x="80000" y="80000"/>
                                    </p:animScale>
                                  </p:childTnLst>
                                </p:cTn>
                              </p:par>
                              <p:par>
                                <p:cTn id="89" presetID="10" presetClass="entr" presetSubtype="0" fill="hold" grpId="0" nodeType="withEffect">
                                  <p:stCondLst>
                                    <p:cond delay="500"/>
                                  </p:stCondLst>
                                  <p:childTnLst>
                                    <p:set>
                                      <p:cBhvr>
                                        <p:cTn id="90" dur="1" fill="hold">
                                          <p:stCondLst>
                                            <p:cond delay="0"/>
                                          </p:stCondLst>
                                        </p:cTn>
                                        <p:tgtEl>
                                          <p:spTgt spid="232"/>
                                        </p:tgtEl>
                                        <p:attrNameLst>
                                          <p:attrName>style.visibility</p:attrName>
                                        </p:attrNameLst>
                                      </p:cBhvr>
                                      <p:to>
                                        <p:strVal val="visible"/>
                                      </p:to>
                                    </p:set>
                                    <p:animEffect transition="in" filter="fade">
                                      <p:cBhvr>
                                        <p:cTn id="91" dur="500"/>
                                        <p:tgtEl>
                                          <p:spTgt spid="232"/>
                                        </p:tgtEl>
                                      </p:cBhvr>
                                    </p:animEffect>
                                  </p:childTnLst>
                                </p:cTn>
                              </p:par>
                              <p:par>
                                <p:cTn id="92" presetID="6" presetClass="emph" presetSubtype="0" accel="100000" autoRev="1" fill="hold" grpId="1" nodeType="withEffect">
                                  <p:stCondLst>
                                    <p:cond delay="0"/>
                                  </p:stCondLst>
                                  <p:childTnLst>
                                    <p:animScale>
                                      <p:cBhvr>
                                        <p:cTn id="93" dur="500" fill="hold"/>
                                        <p:tgtEl>
                                          <p:spTgt spid="232"/>
                                        </p:tgtEl>
                                      </p:cBhvr>
                                      <p:by x="80000" y="80000"/>
                                    </p:animScale>
                                  </p:childTnLst>
                                </p:cTn>
                              </p:par>
                              <p:par>
                                <p:cTn id="94" presetID="10" presetClass="entr" presetSubtype="0" fill="hold" grpId="0" nodeType="withEffect">
                                  <p:stCondLst>
                                    <p:cond delay="0"/>
                                  </p:stCondLst>
                                  <p:childTnLst>
                                    <p:set>
                                      <p:cBhvr>
                                        <p:cTn id="95" dur="1" fill="hold">
                                          <p:stCondLst>
                                            <p:cond delay="0"/>
                                          </p:stCondLst>
                                        </p:cTn>
                                        <p:tgtEl>
                                          <p:spTgt spid="164"/>
                                        </p:tgtEl>
                                        <p:attrNameLst>
                                          <p:attrName>style.visibility</p:attrName>
                                        </p:attrNameLst>
                                      </p:cBhvr>
                                      <p:to>
                                        <p:strVal val="visible"/>
                                      </p:to>
                                    </p:set>
                                    <p:animEffect transition="in" filter="fade">
                                      <p:cBhvr>
                                        <p:cTn id="96" dur="500"/>
                                        <p:tgtEl>
                                          <p:spTgt spid="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7" grpId="0"/>
      <p:bldP spid="157" grpId="1"/>
      <p:bldP spid="161" grpId="0"/>
      <p:bldP spid="161" grpId="1"/>
      <p:bldP spid="162" grpId="0"/>
      <p:bldP spid="162" grpId="1"/>
      <p:bldP spid="163" grpId="0"/>
      <p:bldP spid="163" grpId="1"/>
      <p:bldP spid="164" grpId="0" animBg="1"/>
      <p:bldP spid="202" grpId="0" animBg="1"/>
      <p:bldP spid="202" grpId="1" animBg="1"/>
      <p:bldP spid="203" grpId="0" animBg="1"/>
      <p:bldP spid="204" grpId="0" animBg="1"/>
      <p:bldP spid="205" grpId="0" animBg="1"/>
      <p:bldP spid="206" grpId="0"/>
      <p:bldP spid="206" grpId="1"/>
      <p:bldP spid="207" grpId="0" animBg="1"/>
      <p:bldP spid="207" grpId="1" animBg="1"/>
      <p:bldP spid="208" grpId="0" animBg="1"/>
      <p:bldP spid="208" grpId="1" animBg="1"/>
      <p:bldP spid="209" grpId="0"/>
      <p:bldP spid="209" grpId="1"/>
      <p:bldP spid="210" grpId="0"/>
      <p:bldP spid="210" grpId="1"/>
      <p:bldP spid="211" grpId="0"/>
      <p:bldP spid="211" grpId="1"/>
      <p:bldP spid="212" grpId="0" animBg="1"/>
      <p:bldP spid="212" grpId="1" animBg="1"/>
      <p:bldP spid="232" grpId="0"/>
      <p:bldP spid="232" grpId="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LREADY-CHECKED" val="TRUE"/>
</p:tagLst>
</file>

<file path=ppt/tags/tag7.xml><?xml version="1.0" encoding="utf-8"?>
<p:tagLst xmlns:a="http://schemas.openxmlformats.org/drawingml/2006/main" xmlns:r="http://schemas.openxmlformats.org/officeDocument/2006/relationships" xmlns:p="http://schemas.openxmlformats.org/presentationml/2006/main">
  <p:tag name="ALREADY-CHECKED" val="TRUE"/>
</p:tagLst>
</file>

<file path=ppt/tags/tag8.xml><?xml version="1.0" encoding="utf-8"?>
<p:tagLst xmlns:a="http://schemas.openxmlformats.org/drawingml/2006/main" xmlns:r="http://schemas.openxmlformats.org/officeDocument/2006/relationships" xmlns:p="http://schemas.openxmlformats.org/presentationml/2006/main">
  <p:tag name="ALREADY-CHECKED" val="TRUE"/>
</p:tagLst>
</file>

<file path=ppt/tags/tag9.xml><?xml version="1.0" encoding="utf-8"?>
<p:tagLst xmlns:a="http://schemas.openxmlformats.org/drawingml/2006/main" xmlns:r="http://schemas.openxmlformats.org/officeDocument/2006/relationships" xmlns:p="http://schemas.openxmlformats.org/presentationml/2006/main">
  <p:tag name="ALREADY-CHECKED" val="TRUE"/>
</p:tagLst>
</file>

<file path=ppt/theme/theme1.xml><?xml version="1.0" encoding="utf-8"?>
<a:theme xmlns:a="http://schemas.openxmlformats.org/drawingml/2006/main" name="1_Industry Leader Summit">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2.xml><?xml version="1.0" encoding="utf-8"?>
<a:theme xmlns:a="http://schemas.openxmlformats.org/drawingml/2006/main" name="Microsoft Inspire 16:9 Template Light">
  <a:themeElements>
    <a:clrScheme name="Custom 114">
      <a:dk1>
        <a:srgbClr val="000000"/>
      </a:dk1>
      <a:lt1>
        <a:srgbClr val="FFFFFF"/>
      </a:lt1>
      <a:dk2>
        <a:srgbClr val="225B62"/>
      </a:dk2>
      <a:lt2>
        <a:srgbClr val="E8E6DF"/>
      </a:lt2>
      <a:accent1>
        <a:srgbClr val="225B62"/>
      </a:accent1>
      <a:accent2>
        <a:srgbClr val="49C5B1"/>
      </a:accent2>
      <a:accent3>
        <a:srgbClr val="FFB900"/>
      </a:accent3>
      <a:accent4>
        <a:srgbClr val="8C8279"/>
      </a:accent4>
      <a:accent5>
        <a:srgbClr val="C03BC4"/>
      </a:accent5>
      <a:accent6>
        <a:srgbClr val="D7D2CB"/>
      </a:accent6>
      <a:hlink>
        <a:srgbClr val="C03BC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S_Inspire2023_16-9 Event-template.potx" id="{2089AACE-E4B1-47A3-8F13-2BC4454FDB3F}" vid="{6884EAFB-3568-475A-AE8C-E0CEEA7FF1F6}"/>
    </a:ext>
  </a:extLst>
</a:theme>
</file>

<file path=ppt/theme/theme3.xml><?xml version="1.0" encoding="utf-8"?>
<a:theme xmlns:a="http://schemas.openxmlformats.org/drawingml/2006/main" name="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4.xml><?xml version="1.0" encoding="utf-8"?>
<a:theme xmlns:a="http://schemas.openxmlformats.org/drawingml/2006/main" name="1_Industry Leader Summit White template">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Segoe sans">
      <a:majorFont>
        <a:latin typeface="Segoe Sans Display Semibold"/>
        <a:ea typeface=""/>
        <a:cs typeface=""/>
      </a:majorFont>
      <a:minorFont>
        <a:latin typeface="Segoe Sans Tex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5.xml><?xml version="1.0" encoding="utf-8"?>
<a:theme xmlns:a="http://schemas.openxmlformats.org/drawingml/2006/main" name="MCfS Template">
  <a:themeElements>
    <a:clrScheme name="Custom 4">
      <a:dk1>
        <a:srgbClr val="000000"/>
      </a:dk1>
      <a:lt1>
        <a:srgbClr val="FFFFFF"/>
      </a:lt1>
      <a:dk2>
        <a:srgbClr val="243A5E"/>
      </a:dk2>
      <a:lt2>
        <a:srgbClr val="E6E6E6"/>
      </a:lt2>
      <a:accent1>
        <a:srgbClr val="0078D4"/>
      </a:accent1>
      <a:accent2>
        <a:srgbClr val="243A5E"/>
      </a:accent2>
      <a:accent3>
        <a:srgbClr val="C73ECC"/>
      </a:accent3>
      <a:accent4>
        <a:srgbClr val="C5B4E3"/>
      </a:accent4>
      <a:accent5>
        <a:srgbClr val="FFB900"/>
      </a:accent5>
      <a:accent6>
        <a:srgbClr val="B1B3B3"/>
      </a:accent6>
      <a:hlink>
        <a:srgbClr val="4CB1FE"/>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Dark.pptx" id="{10A40F30-2146-432C-8CFF-5D94208BA98A}" vid="{7BCA1354-6A42-460C-8589-A49E277BE24A}"/>
    </a:ext>
  </a:extLst>
</a:theme>
</file>

<file path=ppt/theme/theme6.xml><?xml version="1.0" encoding="utf-8"?>
<a:theme xmlns:a="http://schemas.openxmlformats.org/drawingml/2006/main" name="2_Industry Leader Summit">
  <a:themeElements>
    <a:clrScheme name="Theme Colors Dark">
      <a:dk1>
        <a:srgbClr val="091F2C"/>
      </a:dk1>
      <a:lt1>
        <a:srgbClr val="FFFFFF"/>
      </a:lt1>
      <a:dk2>
        <a:srgbClr val="463668"/>
      </a:dk2>
      <a:lt2>
        <a:srgbClr val="E8E6DF"/>
      </a:lt2>
      <a:accent1>
        <a:srgbClr val="C5B4E3"/>
      </a:accent1>
      <a:accent2>
        <a:srgbClr val="8661C5"/>
      </a:accent2>
      <a:accent3>
        <a:srgbClr val="0078D4"/>
      </a:accent3>
      <a:accent4>
        <a:srgbClr val="D7D2CB"/>
      </a:accent4>
      <a:accent5>
        <a:srgbClr val="D59ED7"/>
      </a:accent5>
      <a:accent6>
        <a:srgbClr val="D2D2D2"/>
      </a:accent6>
      <a:hlink>
        <a:srgbClr val="D59ED7"/>
      </a:hlink>
      <a:folHlink>
        <a:srgbClr val="D59E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chemeClr val="bg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Industry Leader Summit" id="{F72972EE-8539-4F6B-95B3-B9EDE7F62884}" vid="{9C08EBE9-3C5D-4CC2-9DC2-4A0FCE8BE87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853</TotalTime>
  <Words>5355</Words>
  <Application>Microsoft Office PowerPoint</Application>
  <PresentationFormat>Widescreen</PresentationFormat>
  <Paragraphs>447</Paragraphs>
  <Slides>25</Slides>
  <Notes>21</Notes>
  <HiddenSlides>0</HiddenSlides>
  <MMClips>0</MMClips>
  <ScaleCrop>false</ScaleCrop>
  <HeadingPairs>
    <vt:vector size="4" baseType="variant">
      <vt:variant>
        <vt:lpstr>Theme</vt:lpstr>
      </vt:variant>
      <vt:variant>
        <vt:i4>6</vt:i4>
      </vt:variant>
      <vt:variant>
        <vt:lpstr>Slide Titles</vt:lpstr>
      </vt:variant>
      <vt:variant>
        <vt:i4>25</vt:i4>
      </vt:variant>
    </vt:vector>
  </HeadingPairs>
  <TitlesOfParts>
    <vt:vector size="31" baseType="lpstr">
      <vt:lpstr>1_Industry Leader Summit</vt:lpstr>
      <vt:lpstr>Microsoft Inspire 16:9 Template Light</vt:lpstr>
      <vt:lpstr>Industry Leader Summit White template</vt:lpstr>
      <vt:lpstr>1_Industry Leader Summit White template</vt:lpstr>
      <vt:lpstr>MCfS Template</vt:lpstr>
      <vt:lpstr>2_Industry Leader Summit</vt:lpstr>
      <vt:lpstr>PowerPoint Presentation</vt:lpstr>
      <vt:lpstr>What leaders want from AI</vt:lpstr>
      <vt:lpstr>What employees want from AI</vt:lpstr>
      <vt:lpstr>Where do we see AI?</vt:lpstr>
      <vt:lpstr>AI Transforming Healthcare Ecosystem</vt:lpstr>
      <vt:lpstr>AI is Reinventing Financial Services</vt:lpstr>
      <vt:lpstr>AI Transforming Retail</vt:lpstr>
      <vt:lpstr>AI Transforming Government Sector </vt:lpstr>
      <vt:lpstr>Enabling AI Transformation</vt:lpstr>
      <vt:lpstr>PowerPoint Presentation</vt:lpstr>
      <vt:lpstr>Choosing a Copilot</vt:lpstr>
      <vt:lpstr>Microsoft AI Services</vt:lpstr>
      <vt:lpstr>Microsoft Fabric: The data platform for the era of AI</vt:lpstr>
      <vt:lpstr>Top Use Cases for Generative AI</vt:lpstr>
      <vt:lpstr>Becoming a Data and AI Driven company – The Journey</vt:lpstr>
      <vt:lpstr>AI Business School</vt:lpstr>
      <vt:lpstr>PowerPoint Presentation</vt:lpstr>
      <vt:lpstr>Are you ready to join the era of AI?  Pivoting to a proactive AI strategy (Access, Devices, and Data)  </vt:lpstr>
      <vt:lpstr>Microsoft  protects your data and enables you to control it</vt:lpstr>
      <vt:lpstr>PowerPoint Presentation</vt:lpstr>
      <vt:lpstr>Ethical Considerations and Challenges</vt:lpstr>
      <vt:lpstr>Microsoft is putting responsible AI into action</vt:lpstr>
      <vt:lpstr>Swift </vt:lpstr>
      <vt:lpstr>PowerPoint Presentation</vt:lpstr>
      <vt:lpstr>Thank you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dalina Popa</dc:creator>
  <cp:lastModifiedBy>Madalina Popa</cp:lastModifiedBy>
  <cp:revision>4</cp:revision>
  <dcterms:created xsi:type="dcterms:W3CDTF">2024-10-07T08:26:08Z</dcterms:created>
  <dcterms:modified xsi:type="dcterms:W3CDTF">2024-10-16T08:41:39Z</dcterms:modified>
</cp:coreProperties>
</file>